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3.xml" ContentType="application/vnd.openxmlformats-officedocument.presentationml.tags+xml"/>
  <Override PartName="/ppt/notesSlides/notesSlide17.xml" ContentType="application/vnd.openxmlformats-officedocument.presentationml.notesSlide+xml"/>
  <Override PartName="/ppt/tags/tag4.xml" ContentType="application/vnd.openxmlformats-officedocument.presentationml.tags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71" r:id="rId1"/>
    <p:sldMasterId id="2147484084" r:id="rId2"/>
  </p:sldMasterIdLst>
  <p:notesMasterIdLst>
    <p:notesMasterId r:id="rId21"/>
  </p:notesMasterIdLst>
  <p:sldIdLst>
    <p:sldId id="2147483373" r:id="rId3"/>
    <p:sldId id="2147483364" r:id="rId4"/>
    <p:sldId id="2147483369" r:id="rId5"/>
    <p:sldId id="2147483375" r:id="rId6"/>
    <p:sldId id="2147482404" r:id="rId7"/>
    <p:sldId id="2147483382" r:id="rId8"/>
    <p:sldId id="2147483383" r:id="rId9"/>
    <p:sldId id="2147483385" r:id="rId10"/>
    <p:sldId id="2147483384" r:id="rId11"/>
    <p:sldId id="2147471724" r:id="rId12"/>
    <p:sldId id="2147483361" r:id="rId13"/>
    <p:sldId id="2147483388" r:id="rId14"/>
    <p:sldId id="2147483372" r:id="rId15"/>
    <p:sldId id="2147483386" r:id="rId16"/>
    <p:sldId id="2147483387" r:id="rId17"/>
    <p:sldId id="2147483368" r:id="rId18"/>
    <p:sldId id="2147479223" r:id="rId19"/>
    <p:sldId id="2147479229" r:id="rId20"/>
  </p:sldIdLst>
  <p:sldSz cx="12192000" cy="6858000"/>
  <p:notesSz cx="6858000" cy="9144000"/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0F11A49B-1570-4793-B418-0787AF6F5609}">
          <p14:sldIdLst>
            <p14:sldId id="2147483373"/>
            <p14:sldId id="2147483364"/>
            <p14:sldId id="2147483369"/>
            <p14:sldId id="2147483375"/>
            <p14:sldId id="2147482404"/>
            <p14:sldId id="2147483382"/>
            <p14:sldId id="2147483383"/>
            <p14:sldId id="2147483385"/>
            <p14:sldId id="2147483384"/>
            <p14:sldId id="2147471724"/>
            <p14:sldId id="2147483361"/>
            <p14:sldId id="2147483388"/>
            <p14:sldId id="2147483372"/>
            <p14:sldId id="2147483386"/>
            <p14:sldId id="2147483387"/>
            <p14:sldId id="2147483368"/>
            <p14:sldId id="2147479223"/>
            <p14:sldId id="2147479229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2160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orient="horz" pos="1056" userDrawn="1">
          <p15:clr>
            <a:srgbClr val="A4A3A4"/>
          </p15:clr>
        </p15:guide>
        <p15:guide id="7" orient="horz" pos="4104" userDrawn="1">
          <p15:clr>
            <a:srgbClr val="A4A3A4"/>
          </p15:clr>
        </p15:guide>
        <p15:guide id="8" orient="horz" pos="2232" userDrawn="1">
          <p15:clr>
            <a:srgbClr val="9FCC3B"/>
          </p15:clr>
        </p15:guide>
        <p15:guide id="9" orient="horz" pos="1320" userDrawn="1">
          <p15:clr>
            <a:srgbClr val="9FCC3B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FD20210-B3F8-2E08-CEFB-19ACF676E80D}" name="Mary Wire (Contractor)" initials="MW(" userId="S::mary.wire@gilead.com::27653f47-8f19-48d6-9b4b-0f7809c3a2ff" providerId="AD"/>
  <p188:author id="{5121D420-E6BE-91C7-085E-6B620C7C2CF3}" name="Daina Lim" initials="DL" userId="S::Daina.Lim@gilead.com::76a2cc2c-7f00-43b2-afa1-366a87bdf8b4" providerId="AD"/>
  <p188:author id="{687D0921-A678-C062-C3E0-7764E1B19765}" name="Lawrence Hargett" initials="LH" userId="Lawrence Hargett" providerId="None"/>
  <p188:author id="{01D75E2F-FEE7-CFA9-5225-0C0EEA3A7478}" name="Roderick Gedey" initials="RG" userId="S::Roderick.Gedey@gilead.com::ab9bfadb-c7a5-4388-95d3-b1e49a62b910" providerId="AD"/>
  <p188:author id="{B3521537-C8F2-3AC8-667C-5A2431185371}" name="Kemmerer, Rick" initials="RK" userId="S::Rick.Kemmerer@parexel.com::5c0fbe68-19d7-4dc3-a15f-c5d1cf90c4a3" providerId="AD"/>
  <p188:author id="{A0E3C037-078C-7449-9A19-81B6957B2057}" name="Megha Mehrotra" initials="MM" userId="S::Megha.Mehrotra@gilead.com::5457c22f-eabf-4f63-b562-49b41e8e6da1" providerId="AD"/>
  <p188:author id="{01F36E3A-DD7B-1BED-219B-A307F6CDAEF1}" name="Keuylian, Zela" initials="ZK" userId="S::Zela.Keuylian@parexel.com::9da7ea7a-0917-4de8-865f-6f8ce82f9eca" providerId="AD"/>
  <p188:author id="{F2567F59-9BB8-C62A-CFB9-DD38D91E70E2}" name="Devi SenGupta" initials="DS" userId="S::devi.sengupta@gilead.com::08e20df0-657e-48a0-be8c-3c67d965531b" providerId="AD"/>
  <p188:author id="{93371A60-A409-1CB7-6B0D-D52D0D5A0E8C}" name="Xiaopeng Liu" initials="XL" userId="S::xiaopeng.liu3@gilead.com::49d9faff-e26c-4613-94c3-676f9a6aec69" providerId="AD"/>
  <p188:author id="{C8474F7E-44B4-E1F4-14D7-9A96683FB732}" name="Parexel" initials="P" userId="Parexel" providerId="None"/>
  <p188:author id="{B9717D7E-87CF-556C-15DB-4E88001B295F}" name="Misukonis, Megan" initials="MM" userId="Misukonis, Megan" providerId="None"/>
  <p188:author id="{DA803794-3325-8A68-2279-5AFBA76E5188}" name="Turner, Jean" initials="JT" userId="S::jean.turner@parexel.com::831511a4-8557-4285-a417-709184947f03" providerId="AD"/>
  <p188:author id="{8EF06FAA-4EDE-1CA7-357A-223715C606D9}" name="Lisa Selzer" initials="LS" userId="S::lisa.selzer1@gilead.com::142493d7-5e03-4d48-aa1a-e50431b3d731" providerId="AD"/>
  <p188:author id="{256854CD-B1F7-A756-8C0E-E672FC457A42}" name="Jenny Cai" initials="JC" userId="S::jenny.cai1@gilead.com::547d169f-6de1-431f-9e71-ebf70411d7b6" providerId="AD"/>
  <p188:author id="{262316D1-CAA4-9D23-E098-E465A9090C3B}" name="Yanan Zheng" initials="YZ" userId="S::yanan.zheng5@gilead.com::d7d2b71c-3209-446c-81bc-1e9459c07054" providerId="AD"/>
  <p188:author id="{1E4264D9-4B77-7184-B153-54DE408CD89F}" name="Mandakini Singh" initials="PXL" userId="Mandakini Singh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A2A8"/>
    <a:srgbClr val="BBDADC"/>
    <a:srgbClr val="F4F4F4"/>
    <a:srgbClr val="E8F3F3"/>
    <a:srgbClr val="D1E6E8"/>
    <a:srgbClr val="3C587F"/>
    <a:srgbClr val="396C70"/>
    <a:srgbClr val="FFC000"/>
    <a:srgbClr val="7B98C1"/>
    <a:srgbClr val="688C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BDEF0B8-376D-4EEA-AAED-9931E387BD80}" v="8" dt="2025-03-09T18:52:29.3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605" autoAdjust="0"/>
    <p:restoredTop sz="93557" autoAdjust="0"/>
  </p:normalViewPr>
  <p:slideViewPr>
    <p:cSldViewPr snapToGrid="0">
      <p:cViewPr>
        <p:scale>
          <a:sx n="70" d="100"/>
          <a:sy n="70" d="100"/>
        </p:scale>
        <p:origin x="477" y="126"/>
      </p:cViewPr>
      <p:guideLst>
        <p:guide orient="horz" pos="2160"/>
        <p:guide pos="3840"/>
        <p:guide orient="horz" pos="1056"/>
        <p:guide orient="horz" pos="4104"/>
        <p:guide orient="horz" pos="2232"/>
        <p:guide orient="horz" pos="13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4939" y="122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microsoft.com/office/2016/11/relationships/changesInfo" Target="changesInfos/changesInfo1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28" Type="http://schemas.microsoft.com/office/2018/10/relationships/authors" Target="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customXml" Target="../customXml/item3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Relationship Id="rId27" Type="http://schemas.microsoft.com/office/2015/10/relationships/revisionInfo" Target="revisionInfo.xml"/><Relationship Id="rId30" Type="http://schemas.openxmlformats.org/officeDocument/2006/relationships/customXml" Target="../customXml/item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uylian, Zela" userId="9da7ea7a-0917-4de8-865f-6f8ce82f9eca" providerId="ADAL" clId="{D12E0ADF-36FF-403C-9C6F-E88CAC8D5307}"/>
    <pc:docChg chg="modSld">
      <pc:chgData name="Keuylian, Zela" userId="9da7ea7a-0917-4de8-865f-6f8ce82f9eca" providerId="ADAL" clId="{D12E0ADF-36FF-403C-9C6F-E88CAC8D5307}" dt="2025-03-06T16:46:28.443" v="55" actId="20577"/>
      <pc:docMkLst>
        <pc:docMk/>
      </pc:docMkLst>
      <pc:sldChg chg="modSp mod">
        <pc:chgData name="Keuylian, Zela" userId="9da7ea7a-0917-4de8-865f-6f8ce82f9eca" providerId="ADAL" clId="{D12E0ADF-36FF-403C-9C6F-E88CAC8D5307}" dt="2025-03-06T16:46:28.443" v="55" actId="20577"/>
        <pc:sldMkLst>
          <pc:docMk/>
          <pc:sldMk cId="1912878187" sldId="2147483373"/>
        </pc:sldMkLst>
        <pc:spChg chg="mod">
          <ac:chgData name="Keuylian, Zela" userId="9da7ea7a-0917-4de8-865f-6f8ce82f9eca" providerId="ADAL" clId="{D12E0ADF-36FF-403C-9C6F-E88CAC8D5307}" dt="2025-03-06T16:46:28.443" v="55" actId="20577"/>
          <ac:spMkLst>
            <pc:docMk/>
            <pc:sldMk cId="1912878187" sldId="2147483373"/>
            <ac:spMk id="9" creationId="{338CE134-EFF0-B607-E93E-5EF07F7EC1AB}"/>
          </ac:spMkLst>
        </pc:spChg>
      </pc:sldChg>
    </pc:docChg>
  </pc:docChgLst>
  <pc:docChgLst>
    <pc:chgData name="Keuylian, Zela" userId="9da7ea7a-0917-4de8-865f-6f8ce82f9eca" providerId="ADAL" clId="{3D4D2D2C-E0CC-47A0-A947-6A259ABF0325}"/>
    <pc:docChg chg="undo custSel modSld">
      <pc:chgData name="Keuylian, Zela" userId="9da7ea7a-0917-4de8-865f-6f8ce82f9eca" providerId="ADAL" clId="{3D4D2D2C-E0CC-47A0-A947-6A259ABF0325}" dt="2025-03-06T18:21:58.395" v="420"/>
      <pc:docMkLst>
        <pc:docMk/>
      </pc:docMkLst>
      <pc:sldChg chg="addSp modSp mod">
        <pc:chgData name="Keuylian, Zela" userId="9da7ea7a-0917-4de8-865f-6f8ce82f9eca" providerId="ADAL" clId="{3D4D2D2C-E0CC-47A0-A947-6A259ABF0325}" dt="2025-03-06T18:21:58.395" v="420"/>
        <pc:sldMkLst>
          <pc:docMk/>
          <pc:sldMk cId="1983532178" sldId="2147471724"/>
        </pc:sldMkLst>
        <pc:spChg chg="mod">
          <ac:chgData name="Keuylian, Zela" userId="9da7ea7a-0917-4de8-865f-6f8ce82f9eca" providerId="ADAL" clId="{3D4D2D2C-E0CC-47A0-A947-6A259ABF0325}" dt="2025-03-06T18:01:13.069" v="273" actId="20577"/>
          <ac:spMkLst>
            <pc:docMk/>
            <pc:sldMk cId="1983532178" sldId="2147471724"/>
            <ac:spMk id="8" creationId="{79962A06-55C8-F395-6310-C43038A2C29D}"/>
          </ac:spMkLst>
        </pc:spChg>
        <pc:graphicFrameChg chg="add mod">
          <ac:chgData name="Keuylian, Zela" userId="9da7ea7a-0917-4de8-865f-6f8ce82f9eca" providerId="ADAL" clId="{3D4D2D2C-E0CC-47A0-A947-6A259ABF0325}" dt="2025-03-06T18:10:25.615" v="383" actId="1076"/>
          <ac:graphicFrameMkLst>
            <pc:docMk/>
            <pc:sldMk cId="1983532178" sldId="2147471724"/>
            <ac:graphicFrameMk id="3" creationId="{44CB08BE-5B61-FFE1-BB7D-E899224E774F}"/>
          </ac:graphicFrameMkLst>
        </pc:graphicFrameChg>
        <pc:graphicFrameChg chg="mod modGraphic">
          <ac:chgData name="Keuylian, Zela" userId="9da7ea7a-0917-4de8-865f-6f8ce82f9eca" providerId="ADAL" clId="{3D4D2D2C-E0CC-47A0-A947-6A259ABF0325}" dt="2025-03-06T18:21:58.395" v="420"/>
          <ac:graphicFrameMkLst>
            <pc:docMk/>
            <pc:sldMk cId="1983532178" sldId="2147471724"/>
            <ac:graphicFrameMk id="6" creationId="{142B26DA-2993-7AFE-B5CF-62EB31AB38B4}"/>
          </ac:graphicFrameMkLst>
        </pc:graphicFrameChg>
      </pc:sldChg>
      <pc:sldChg chg="modSp mod modCm">
        <pc:chgData name="Keuylian, Zela" userId="9da7ea7a-0917-4de8-865f-6f8ce82f9eca" providerId="ADAL" clId="{3D4D2D2C-E0CC-47A0-A947-6A259ABF0325}" dt="2025-03-06T18:13:05.751" v="387" actId="2085"/>
        <pc:sldMkLst>
          <pc:docMk/>
          <pc:sldMk cId="621750287" sldId="2147479223"/>
        </pc:sldMkLst>
        <pc:spChg chg="mod">
          <ac:chgData name="Keuylian, Zela" userId="9da7ea7a-0917-4de8-865f-6f8ce82f9eca" providerId="ADAL" clId="{3D4D2D2C-E0CC-47A0-A947-6A259ABF0325}" dt="2025-03-06T18:13:05.751" v="387" actId="2085"/>
          <ac:spMkLst>
            <pc:docMk/>
            <pc:sldMk cId="621750287" sldId="2147479223"/>
            <ac:spMk id="2" creationId="{71606BA7-C2F3-F995-8710-BC0770F5FB4F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Keuylian, Zela" userId="9da7ea7a-0917-4de8-865f-6f8ce82f9eca" providerId="ADAL" clId="{3D4D2D2C-E0CC-47A0-A947-6A259ABF0325}" dt="2025-03-06T17:44:12.916" v="94" actId="20577"/>
              <pc2:cmMkLst xmlns:pc2="http://schemas.microsoft.com/office/powerpoint/2019/9/main/command">
                <pc:docMk/>
                <pc:sldMk cId="621750287" sldId="2147479223"/>
                <pc2:cmMk id="{5229E4E3-0025-4CF1-B2B3-52410B6252E9}"/>
              </pc2:cmMkLst>
            </pc226:cmChg>
          </p:ext>
        </pc:extLst>
      </pc:sldChg>
      <pc:sldChg chg="modSp mod">
        <pc:chgData name="Keuylian, Zela" userId="9da7ea7a-0917-4de8-865f-6f8ce82f9eca" providerId="ADAL" clId="{3D4D2D2C-E0CC-47A0-A947-6A259ABF0325}" dt="2025-03-06T16:54:21.240" v="24" actId="13926"/>
        <pc:sldMkLst>
          <pc:docMk/>
          <pc:sldMk cId="2146114254" sldId="2147479229"/>
        </pc:sldMkLst>
        <pc:spChg chg="mod">
          <ac:chgData name="Keuylian, Zela" userId="9da7ea7a-0917-4de8-865f-6f8ce82f9eca" providerId="ADAL" clId="{3D4D2D2C-E0CC-47A0-A947-6A259ABF0325}" dt="2025-03-06T16:54:21.240" v="24" actId="13926"/>
          <ac:spMkLst>
            <pc:docMk/>
            <pc:sldMk cId="2146114254" sldId="2147479229"/>
            <ac:spMk id="5" creationId="{4B8D3EE0-7E74-F512-692E-34D19BF03CD2}"/>
          </ac:spMkLst>
        </pc:spChg>
      </pc:sldChg>
      <pc:sldChg chg="modSp mod">
        <pc:chgData name="Keuylian, Zela" userId="9da7ea7a-0917-4de8-865f-6f8ce82f9eca" providerId="ADAL" clId="{3D4D2D2C-E0CC-47A0-A947-6A259ABF0325}" dt="2025-03-06T16:53:23.522" v="6" actId="13926"/>
        <pc:sldMkLst>
          <pc:docMk/>
          <pc:sldMk cId="3913441025" sldId="2147482404"/>
        </pc:sldMkLst>
        <pc:spChg chg="mod">
          <ac:chgData name="Keuylian, Zela" userId="9da7ea7a-0917-4de8-865f-6f8ce82f9eca" providerId="ADAL" clId="{3D4D2D2C-E0CC-47A0-A947-6A259ABF0325}" dt="2025-03-06T16:53:23.522" v="6" actId="13926"/>
          <ac:spMkLst>
            <pc:docMk/>
            <pc:sldMk cId="3913441025" sldId="2147482404"/>
            <ac:spMk id="224" creationId="{48E57096-02F5-D2E3-4305-DD0131A17C9B}"/>
          </ac:spMkLst>
        </pc:spChg>
      </pc:sldChg>
      <pc:sldChg chg="modSp mod">
        <pc:chgData name="Keuylian, Zela" userId="9da7ea7a-0917-4de8-865f-6f8ce82f9eca" providerId="ADAL" clId="{3D4D2D2C-E0CC-47A0-A947-6A259ABF0325}" dt="2025-03-06T18:02:33.688" v="365" actId="20577"/>
        <pc:sldMkLst>
          <pc:docMk/>
          <pc:sldMk cId="1993063241" sldId="2147483361"/>
        </pc:sldMkLst>
        <pc:spChg chg="mod">
          <ac:chgData name="Keuylian, Zela" userId="9da7ea7a-0917-4de8-865f-6f8ce82f9eca" providerId="ADAL" clId="{3D4D2D2C-E0CC-47A0-A947-6A259ABF0325}" dt="2025-03-06T18:02:33.688" v="365" actId="20577"/>
          <ac:spMkLst>
            <pc:docMk/>
            <pc:sldMk cId="1993063241" sldId="2147483361"/>
            <ac:spMk id="2" creationId="{2779B830-AB91-C92E-4D21-07BA60097304}"/>
          </ac:spMkLst>
        </pc:spChg>
        <pc:spChg chg="mod">
          <ac:chgData name="Keuylian, Zela" userId="9da7ea7a-0917-4de8-865f-6f8ce82f9eca" providerId="ADAL" clId="{3D4D2D2C-E0CC-47A0-A947-6A259ABF0325}" dt="2025-03-06T16:53:48.392" v="13" actId="13926"/>
          <ac:spMkLst>
            <pc:docMk/>
            <pc:sldMk cId="1993063241" sldId="2147483361"/>
            <ac:spMk id="40" creationId="{A86EA506-9D82-05BB-DC61-CC46CEDC5941}"/>
          </ac:spMkLst>
        </pc:spChg>
        <pc:graphicFrameChg chg="modGraphic">
          <ac:chgData name="Keuylian, Zela" userId="9da7ea7a-0917-4de8-865f-6f8ce82f9eca" providerId="ADAL" clId="{3D4D2D2C-E0CC-47A0-A947-6A259ABF0325}" dt="2025-03-06T17:30:14.202" v="27" actId="13926"/>
          <ac:graphicFrameMkLst>
            <pc:docMk/>
            <pc:sldMk cId="1993063241" sldId="2147483361"/>
            <ac:graphicFrameMk id="5" creationId="{138210CD-71FA-BAB3-1B84-3E24C5F4C396}"/>
          </ac:graphicFrameMkLst>
        </pc:graphicFrameChg>
      </pc:sldChg>
      <pc:sldChg chg="modSp mod">
        <pc:chgData name="Keuylian, Zela" userId="9da7ea7a-0917-4de8-865f-6f8ce82f9eca" providerId="ADAL" clId="{3D4D2D2C-E0CC-47A0-A947-6A259ABF0325}" dt="2025-03-06T16:53:54.448" v="16" actId="13926"/>
        <pc:sldMkLst>
          <pc:docMk/>
          <pc:sldMk cId="2485260676" sldId="2147483366"/>
        </pc:sldMkLst>
        <pc:spChg chg="mod">
          <ac:chgData name="Keuylian, Zela" userId="9da7ea7a-0917-4de8-865f-6f8ce82f9eca" providerId="ADAL" clId="{3D4D2D2C-E0CC-47A0-A947-6A259ABF0325}" dt="2025-03-06T16:53:52.589" v="15" actId="13926"/>
          <ac:spMkLst>
            <pc:docMk/>
            <pc:sldMk cId="2485260676" sldId="2147483366"/>
            <ac:spMk id="4" creationId="{C1B40CD2-01D3-3349-F8EE-1998B60DB516}"/>
          </ac:spMkLst>
        </pc:spChg>
        <pc:spChg chg="mod">
          <ac:chgData name="Keuylian, Zela" userId="9da7ea7a-0917-4de8-865f-6f8ce82f9eca" providerId="ADAL" clId="{3D4D2D2C-E0CC-47A0-A947-6A259ABF0325}" dt="2025-03-06T16:53:54.448" v="16" actId="13926"/>
          <ac:spMkLst>
            <pc:docMk/>
            <pc:sldMk cId="2485260676" sldId="2147483366"/>
            <ac:spMk id="7" creationId="{9861EC39-42FF-27BC-FE2F-305FDF4E008D}"/>
          </ac:spMkLst>
        </pc:spChg>
      </pc:sldChg>
      <pc:sldChg chg="modSp mod">
        <pc:chgData name="Keuylian, Zela" userId="9da7ea7a-0917-4de8-865f-6f8ce82f9eca" providerId="ADAL" clId="{3D4D2D2C-E0CC-47A0-A947-6A259ABF0325}" dt="2025-03-06T16:54:15.198" v="22" actId="13926"/>
        <pc:sldMkLst>
          <pc:docMk/>
          <pc:sldMk cId="3393961644" sldId="2147483368"/>
        </pc:sldMkLst>
        <pc:spChg chg="mod">
          <ac:chgData name="Keuylian, Zela" userId="9da7ea7a-0917-4de8-865f-6f8ce82f9eca" providerId="ADAL" clId="{3D4D2D2C-E0CC-47A0-A947-6A259ABF0325}" dt="2025-03-06T16:54:15.198" v="22" actId="13926"/>
          <ac:spMkLst>
            <pc:docMk/>
            <pc:sldMk cId="3393961644" sldId="2147483368"/>
            <ac:spMk id="19" creationId="{67FC7047-E069-FEDC-ABEC-E0BA0BE2B948}"/>
          </ac:spMkLst>
        </pc:spChg>
        <pc:spChg chg="mod">
          <ac:chgData name="Keuylian, Zela" userId="9da7ea7a-0917-4de8-865f-6f8ce82f9eca" providerId="ADAL" clId="{3D4D2D2C-E0CC-47A0-A947-6A259ABF0325}" dt="2025-03-06T16:54:10.519" v="21" actId="13926"/>
          <ac:spMkLst>
            <pc:docMk/>
            <pc:sldMk cId="3393961644" sldId="2147483368"/>
            <ac:spMk id="40" creationId="{B6FAA5EF-9270-1336-D816-84E8618E37D9}"/>
          </ac:spMkLst>
        </pc:spChg>
      </pc:sldChg>
      <pc:sldChg chg="modSp mod">
        <pc:chgData name="Keuylian, Zela" userId="9da7ea7a-0917-4de8-865f-6f8ce82f9eca" providerId="ADAL" clId="{3D4D2D2C-E0CC-47A0-A947-6A259ABF0325}" dt="2025-03-06T16:53:12.414" v="2" actId="13926"/>
        <pc:sldMkLst>
          <pc:docMk/>
          <pc:sldMk cId="3535554021" sldId="2147483369"/>
        </pc:sldMkLst>
        <pc:spChg chg="mod">
          <ac:chgData name="Keuylian, Zela" userId="9da7ea7a-0917-4de8-865f-6f8ce82f9eca" providerId="ADAL" clId="{3D4D2D2C-E0CC-47A0-A947-6A259ABF0325}" dt="2025-03-06T16:53:01.797" v="0" actId="13926"/>
          <ac:spMkLst>
            <pc:docMk/>
            <pc:sldMk cId="3535554021" sldId="2147483369"/>
            <ac:spMk id="5" creationId="{D60200E1-7B34-50F0-5807-640702337B9A}"/>
          </ac:spMkLst>
        </pc:spChg>
        <pc:spChg chg="mod">
          <ac:chgData name="Keuylian, Zela" userId="9da7ea7a-0917-4de8-865f-6f8ce82f9eca" providerId="ADAL" clId="{3D4D2D2C-E0CC-47A0-A947-6A259ABF0325}" dt="2025-03-06T16:53:07.942" v="1" actId="13926"/>
          <ac:spMkLst>
            <pc:docMk/>
            <pc:sldMk cId="3535554021" sldId="2147483369"/>
            <ac:spMk id="20" creationId="{29775832-DFF0-3185-8268-89797A4FE756}"/>
          </ac:spMkLst>
        </pc:spChg>
        <pc:spChg chg="mod">
          <ac:chgData name="Keuylian, Zela" userId="9da7ea7a-0917-4de8-865f-6f8ce82f9eca" providerId="ADAL" clId="{3D4D2D2C-E0CC-47A0-A947-6A259ABF0325}" dt="2025-03-06T16:53:12.414" v="2" actId="13926"/>
          <ac:spMkLst>
            <pc:docMk/>
            <pc:sldMk cId="3535554021" sldId="2147483369"/>
            <ac:spMk id="21" creationId="{4FB1402A-814F-18D0-FCE3-E2CB7780AAA2}"/>
          </ac:spMkLst>
        </pc:spChg>
      </pc:sldChg>
      <pc:sldChg chg="modSp mod">
        <pc:chgData name="Keuylian, Zela" userId="9da7ea7a-0917-4de8-865f-6f8ce82f9eca" providerId="ADAL" clId="{3D4D2D2C-E0CC-47A0-A947-6A259ABF0325}" dt="2025-03-06T16:53:58.224" v="17" actId="13926"/>
        <pc:sldMkLst>
          <pc:docMk/>
          <pc:sldMk cId="2026877963" sldId="2147483372"/>
        </pc:sldMkLst>
        <pc:spChg chg="mod">
          <ac:chgData name="Keuylian, Zela" userId="9da7ea7a-0917-4de8-865f-6f8ce82f9eca" providerId="ADAL" clId="{3D4D2D2C-E0CC-47A0-A947-6A259ABF0325}" dt="2025-03-06T16:53:58.224" v="17" actId="13926"/>
          <ac:spMkLst>
            <pc:docMk/>
            <pc:sldMk cId="2026877963" sldId="2147483372"/>
            <ac:spMk id="40" creationId="{FB333FB0-824F-2ED5-FB59-77D2D68E4535}"/>
          </ac:spMkLst>
        </pc:spChg>
      </pc:sldChg>
      <pc:sldChg chg="modSp mod">
        <pc:chgData name="Keuylian, Zela" userId="9da7ea7a-0917-4de8-865f-6f8ce82f9eca" providerId="ADAL" clId="{3D4D2D2C-E0CC-47A0-A947-6A259ABF0325}" dt="2025-03-06T16:53:19.741" v="5" actId="13926"/>
        <pc:sldMkLst>
          <pc:docMk/>
          <pc:sldMk cId="1461337877" sldId="2147483375"/>
        </pc:sldMkLst>
        <pc:spChg chg="mod">
          <ac:chgData name="Keuylian, Zela" userId="9da7ea7a-0917-4de8-865f-6f8ce82f9eca" providerId="ADAL" clId="{3D4D2D2C-E0CC-47A0-A947-6A259ABF0325}" dt="2025-03-06T16:53:16.163" v="3" actId="13926"/>
          <ac:spMkLst>
            <pc:docMk/>
            <pc:sldMk cId="1461337877" sldId="2147483375"/>
            <ac:spMk id="29" creationId="{4F1167F7-7E24-BD22-C4CE-DA4972B3422C}"/>
          </ac:spMkLst>
        </pc:spChg>
        <pc:spChg chg="mod">
          <ac:chgData name="Keuylian, Zela" userId="9da7ea7a-0917-4de8-865f-6f8ce82f9eca" providerId="ADAL" clId="{3D4D2D2C-E0CC-47A0-A947-6A259ABF0325}" dt="2025-03-06T16:53:18" v="4" actId="13926"/>
          <ac:spMkLst>
            <pc:docMk/>
            <pc:sldMk cId="1461337877" sldId="2147483375"/>
            <ac:spMk id="67" creationId="{FFC50483-0E62-3756-8028-A0B310D91660}"/>
          </ac:spMkLst>
        </pc:spChg>
        <pc:spChg chg="mod">
          <ac:chgData name="Keuylian, Zela" userId="9da7ea7a-0917-4de8-865f-6f8ce82f9eca" providerId="ADAL" clId="{3D4D2D2C-E0CC-47A0-A947-6A259ABF0325}" dt="2025-03-06T16:53:19.741" v="5" actId="13926"/>
          <ac:spMkLst>
            <pc:docMk/>
            <pc:sldMk cId="1461337877" sldId="2147483375"/>
            <ac:spMk id="70" creationId="{2694BB48-81FF-0A09-E68F-F2ECA9E6F9E9}"/>
          </ac:spMkLst>
        </pc:spChg>
      </pc:sldChg>
      <pc:sldChg chg="addSp delSp modSp mod">
        <pc:chgData name="Keuylian, Zela" userId="9da7ea7a-0917-4de8-865f-6f8ce82f9eca" providerId="ADAL" clId="{3D4D2D2C-E0CC-47A0-A947-6A259ABF0325}" dt="2025-03-06T18:15:11.112" v="393" actId="478"/>
        <pc:sldMkLst>
          <pc:docMk/>
          <pc:sldMk cId="4227274637" sldId="2147483382"/>
        </pc:sldMkLst>
        <pc:spChg chg="add mod">
          <ac:chgData name="Keuylian, Zela" userId="9da7ea7a-0917-4de8-865f-6f8ce82f9eca" providerId="ADAL" clId="{3D4D2D2C-E0CC-47A0-A947-6A259ABF0325}" dt="2025-03-06T18:15:10.804" v="392" actId="571"/>
          <ac:spMkLst>
            <pc:docMk/>
            <pc:sldMk cId="4227274637" sldId="2147483382"/>
            <ac:spMk id="6" creationId="{4F1F7BB1-1E24-3DA8-CBD2-689A2BF4938F}"/>
          </ac:spMkLst>
        </pc:spChg>
        <pc:spChg chg="mod">
          <ac:chgData name="Keuylian, Zela" userId="9da7ea7a-0917-4de8-865f-6f8ce82f9eca" providerId="ADAL" clId="{3D4D2D2C-E0CC-47A0-A947-6A259ABF0325}" dt="2025-03-06T16:53:28.130" v="7" actId="13926"/>
          <ac:spMkLst>
            <pc:docMk/>
            <pc:sldMk cId="4227274637" sldId="2147483382"/>
            <ac:spMk id="14" creationId="{BFF75AC0-2763-0C0F-2F3A-706D97874A98}"/>
          </ac:spMkLst>
        </pc:spChg>
        <pc:spChg chg="mod">
          <ac:chgData name="Keuylian, Zela" userId="9da7ea7a-0917-4de8-865f-6f8ce82f9eca" providerId="ADAL" clId="{3D4D2D2C-E0CC-47A0-A947-6A259ABF0325}" dt="2025-03-06T18:15:00.922" v="389" actId="1076"/>
          <ac:spMkLst>
            <pc:docMk/>
            <pc:sldMk cId="4227274637" sldId="2147483382"/>
            <ac:spMk id="175" creationId="{C0341DE2-8A0A-ED82-FD68-357FE763A5A9}"/>
          </ac:spMkLst>
        </pc:spChg>
        <pc:spChg chg="add del">
          <ac:chgData name="Keuylian, Zela" userId="9da7ea7a-0917-4de8-865f-6f8ce82f9eca" providerId="ADAL" clId="{3D4D2D2C-E0CC-47A0-A947-6A259ABF0325}" dt="2025-03-06T18:15:11.112" v="393" actId="478"/>
          <ac:spMkLst>
            <pc:docMk/>
            <pc:sldMk cId="4227274637" sldId="2147483382"/>
            <ac:spMk id="219" creationId="{17FB4603-9265-B998-715D-01FF98904CEB}"/>
          </ac:spMkLst>
        </pc:spChg>
      </pc:sldChg>
      <pc:sldChg chg="addSp delSp modSp mod">
        <pc:chgData name="Keuylian, Zela" userId="9da7ea7a-0917-4de8-865f-6f8ce82f9eca" providerId="ADAL" clId="{3D4D2D2C-E0CC-47A0-A947-6A259ABF0325}" dt="2025-03-06T18:16:19.779" v="394"/>
        <pc:sldMkLst>
          <pc:docMk/>
          <pc:sldMk cId="3357602204" sldId="2147483383"/>
        </pc:sldMkLst>
        <pc:spChg chg="del">
          <ac:chgData name="Keuylian, Zela" userId="9da7ea7a-0917-4de8-865f-6f8ce82f9eca" providerId="ADAL" clId="{3D4D2D2C-E0CC-47A0-A947-6A259ABF0325}" dt="2025-03-06T17:57:27.452" v="99" actId="478"/>
          <ac:spMkLst>
            <pc:docMk/>
            <pc:sldMk cId="3357602204" sldId="2147483383"/>
            <ac:spMk id="3" creationId="{C4808A2D-99B7-9C27-1EAE-663CB57EA2DA}"/>
          </ac:spMkLst>
        </pc:spChg>
        <pc:spChg chg="add mod">
          <ac:chgData name="Keuylian, Zela" userId="9da7ea7a-0917-4de8-865f-6f8ce82f9eca" providerId="ADAL" clId="{3D4D2D2C-E0CC-47A0-A947-6A259ABF0325}" dt="2025-03-06T18:16:19.779" v="394"/>
          <ac:spMkLst>
            <pc:docMk/>
            <pc:sldMk cId="3357602204" sldId="2147483383"/>
            <ac:spMk id="6" creationId="{39245B34-636E-D581-7F83-7ED04156A5C3}"/>
          </ac:spMkLst>
        </pc:spChg>
        <pc:spChg chg="mod">
          <ac:chgData name="Keuylian, Zela" userId="9da7ea7a-0917-4de8-865f-6f8ce82f9eca" providerId="ADAL" clId="{3D4D2D2C-E0CC-47A0-A947-6A259ABF0325}" dt="2025-03-06T16:53:31.337" v="8" actId="13926"/>
          <ac:spMkLst>
            <pc:docMk/>
            <pc:sldMk cId="3357602204" sldId="2147483383"/>
            <ac:spMk id="23" creationId="{77BE1E78-B6E1-7B3A-A2E9-70CEDC055C22}"/>
          </ac:spMkLst>
        </pc:spChg>
      </pc:sldChg>
      <pc:sldChg chg="modSp mod">
        <pc:chgData name="Keuylian, Zela" userId="9da7ea7a-0917-4de8-865f-6f8ce82f9eca" providerId="ADAL" clId="{3D4D2D2C-E0CC-47A0-A947-6A259ABF0325}" dt="2025-03-06T16:53:43.772" v="12" actId="13926"/>
        <pc:sldMkLst>
          <pc:docMk/>
          <pc:sldMk cId="2173412431" sldId="2147483384"/>
        </pc:sldMkLst>
        <pc:spChg chg="mod">
          <ac:chgData name="Keuylian, Zela" userId="9da7ea7a-0917-4de8-865f-6f8ce82f9eca" providerId="ADAL" clId="{3D4D2D2C-E0CC-47A0-A947-6A259ABF0325}" dt="2025-03-06T16:53:43.772" v="12" actId="13926"/>
          <ac:spMkLst>
            <pc:docMk/>
            <pc:sldMk cId="2173412431" sldId="2147483384"/>
            <ac:spMk id="6" creationId="{C52D1CC4-7831-8965-3A59-18954B4AB3C4}"/>
          </ac:spMkLst>
        </pc:spChg>
        <pc:spChg chg="mod">
          <ac:chgData name="Keuylian, Zela" userId="9da7ea7a-0917-4de8-865f-6f8ce82f9eca" providerId="ADAL" clId="{3D4D2D2C-E0CC-47A0-A947-6A259ABF0325}" dt="2025-03-06T16:53:41.731" v="11" actId="13926"/>
          <ac:spMkLst>
            <pc:docMk/>
            <pc:sldMk cId="2173412431" sldId="2147483384"/>
            <ac:spMk id="24" creationId="{21E17AE5-F879-809F-E8BD-9718193207CC}"/>
          </ac:spMkLst>
        </pc:spChg>
      </pc:sldChg>
      <pc:sldChg chg="modSp mod">
        <pc:chgData name="Keuylian, Zela" userId="9da7ea7a-0917-4de8-865f-6f8ce82f9eca" providerId="ADAL" clId="{3D4D2D2C-E0CC-47A0-A947-6A259ABF0325}" dt="2025-03-06T16:53:37.937" v="10" actId="13926"/>
        <pc:sldMkLst>
          <pc:docMk/>
          <pc:sldMk cId="2307102356" sldId="2147483385"/>
        </pc:sldMkLst>
        <pc:spChg chg="mod">
          <ac:chgData name="Keuylian, Zela" userId="9da7ea7a-0917-4de8-865f-6f8ce82f9eca" providerId="ADAL" clId="{3D4D2D2C-E0CC-47A0-A947-6A259ABF0325}" dt="2025-03-06T16:53:37.937" v="10" actId="13926"/>
          <ac:spMkLst>
            <pc:docMk/>
            <pc:sldMk cId="2307102356" sldId="2147483385"/>
            <ac:spMk id="24" creationId="{FB06E5F4-6D01-D707-CAB3-D6CAFF1CD1EA}"/>
          </ac:spMkLst>
        </pc:spChg>
        <pc:spChg chg="mod">
          <ac:chgData name="Keuylian, Zela" userId="9da7ea7a-0917-4de8-865f-6f8ce82f9eca" providerId="ADAL" clId="{3D4D2D2C-E0CC-47A0-A947-6A259ABF0325}" dt="2025-03-06T16:53:35.063" v="9" actId="13926"/>
          <ac:spMkLst>
            <pc:docMk/>
            <pc:sldMk cId="2307102356" sldId="2147483385"/>
            <ac:spMk id="247" creationId="{2461CC06-F2F1-61FA-6A3C-D80C46C4A098}"/>
          </ac:spMkLst>
        </pc:spChg>
      </pc:sldChg>
      <pc:sldChg chg="modSp mod">
        <pc:chgData name="Keuylian, Zela" userId="9da7ea7a-0917-4de8-865f-6f8ce82f9eca" providerId="ADAL" clId="{3D4D2D2C-E0CC-47A0-A947-6A259ABF0325}" dt="2025-03-06T16:54:01.014" v="18" actId="13926"/>
        <pc:sldMkLst>
          <pc:docMk/>
          <pc:sldMk cId="3170708115" sldId="2147483386"/>
        </pc:sldMkLst>
        <pc:spChg chg="mod">
          <ac:chgData name="Keuylian, Zela" userId="9da7ea7a-0917-4de8-865f-6f8ce82f9eca" providerId="ADAL" clId="{3D4D2D2C-E0CC-47A0-A947-6A259ABF0325}" dt="2025-03-06T16:54:01.014" v="18" actId="13926"/>
          <ac:spMkLst>
            <pc:docMk/>
            <pc:sldMk cId="3170708115" sldId="2147483386"/>
            <ac:spMk id="40" creationId="{3F73208F-8866-1AB6-6BD3-0726B5D328FA}"/>
          </ac:spMkLst>
        </pc:spChg>
      </pc:sldChg>
      <pc:sldChg chg="modSp mod">
        <pc:chgData name="Keuylian, Zela" userId="9da7ea7a-0917-4de8-865f-6f8ce82f9eca" providerId="ADAL" clId="{3D4D2D2C-E0CC-47A0-A947-6A259ABF0325}" dt="2025-03-06T17:36:19.938" v="28" actId="1076"/>
        <pc:sldMkLst>
          <pc:docMk/>
          <pc:sldMk cId="2733089611" sldId="2147483387"/>
        </pc:sldMkLst>
        <pc:spChg chg="mod">
          <ac:chgData name="Keuylian, Zela" userId="9da7ea7a-0917-4de8-865f-6f8ce82f9eca" providerId="ADAL" clId="{3D4D2D2C-E0CC-47A0-A947-6A259ABF0325}" dt="2025-03-06T17:36:19.938" v="28" actId="1076"/>
          <ac:spMkLst>
            <pc:docMk/>
            <pc:sldMk cId="2733089611" sldId="2147483387"/>
            <ac:spMk id="7" creationId="{9E4BCE93-7E5B-6B75-083A-848401BEAE70}"/>
          </ac:spMkLst>
        </pc:spChg>
        <pc:spChg chg="mod">
          <ac:chgData name="Keuylian, Zela" userId="9da7ea7a-0917-4de8-865f-6f8ce82f9eca" providerId="ADAL" clId="{3D4D2D2C-E0CC-47A0-A947-6A259ABF0325}" dt="2025-03-06T16:54:04.137" v="19" actId="13926"/>
          <ac:spMkLst>
            <pc:docMk/>
            <pc:sldMk cId="2733089611" sldId="2147483387"/>
            <ac:spMk id="40" creationId="{063BACE7-3E40-AE3B-18CF-7959E376D7B8}"/>
          </ac:spMkLst>
        </pc:spChg>
      </pc:sldChg>
    </pc:docChg>
  </pc:docChgLst>
  <pc:docChgLst>
    <pc:chgData name="Roderick Gedey" userId="ab9bfadb-c7a5-4388-95d3-b1e49a62b910" providerId="ADAL" clId="{DBDEF0B8-376D-4EEA-AAED-9931E387BD80}"/>
    <pc:docChg chg="undo redo custSel modSld sldOrd">
      <pc:chgData name="Roderick Gedey" userId="ab9bfadb-c7a5-4388-95d3-b1e49a62b910" providerId="ADAL" clId="{DBDEF0B8-376D-4EEA-AAED-9931E387BD80}" dt="2025-03-09T18:52:48.358" v="151" actId="207"/>
      <pc:docMkLst>
        <pc:docMk/>
      </pc:docMkLst>
      <pc:sldChg chg="modSp mod">
        <pc:chgData name="Roderick Gedey" userId="ab9bfadb-c7a5-4388-95d3-b1e49a62b910" providerId="ADAL" clId="{DBDEF0B8-376D-4EEA-AAED-9931E387BD80}" dt="2025-03-09T16:52:44.330" v="119" actId="20577"/>
        <pc:sldMkLst>
          <pc:docMk/>
          <pc:sldMk cId="2146114254" sldId="2147479229"/>
        </pc:sldMkLst>
        <pc:spChg chg="mod">
          <ac:chgData name="Roderick Gedey" userId="ab9bfadb-c7a5-4388-95d3-b1e49a62b910" providerId="ADAL" clId="{DBDEF0B8-376D-4EEA-AAED-9931E387BD80}" dt="2025-03-09T16:52:44.330" v="119" actId="20577"/>
          <ac:spMkLst>
            <pc:docMk/>
            <pc:sldMk cId="2146114254" sldId="2147479229"/>
            <ac:spMk id="5" creationId="{4B8D3EE0-7E74-F512-692E-34D19BF03CD2}"/>
          </ac:spMkLst>
        </pc:spChg>
      </pc:sldChg>
      <pc:sldChg chg="modSp mod">
        <pc:chgData name="Roderick Gedey" userId="ab9bfadb-c7a5-4388-95d3-b1e49a62b910" providerId="ADAL" clId="{DBDEF0B8-376D-4EEA-AAED-9931E387BD80}" dt="2025-03-09T16:51:26.618" v="111" actId="3064"/>
        <pc:sldMkLst>
          <pc:docMk/>
          <pc:sldMk cId="1993063241" sldId="2147483361"/>
        </pc:sldMkLst>
        <pc:spChg chg="mod">
          <ac:chgData name="Roderick Gedey" userId="ab9bfadb-c7a5-4388-95d3-b1e49a62b910" providerId="ADAL" clId="{DBDEF0B8-376D-4EEA-AAED-9931E387BD80}" dt="2025-03-09T16:51:26.618" v="111" actId="3064"/>
          <ac:spMkLst>
            <pc:docMk/>
            <pc:sldMk cId="1993063241" sldId="2147483361"/>
            <ac:spMk id="2" creationId="{2779B830-AB91-C92E-4D21-07BA60097304}"/>
          </ac:spMkLst>
        </pc:spChg>
      </pc:sldChg>
      <pc:sldChg chg="ord">
        <pc:chgData name="Roderick Gedey" userId="ab9bfadb-c7a5-4388-95d3-b1e49a62b910" providerId="ADAL" clId="{DBDEF0B8-376D-4EEA-AAED-9931E387BD80}" dt="2025-03-09T16:41:30.930" v="1"/>
        <pc:sldMkLst>
          <pc:docMk/>
          <pc:sldMk cId="3389824710" sldId="2147483364"/>
        </pc:sldMkLst>
      </pc:sldChg>
      <pc:sldChg chg="modSp mod">
        <pc:chgData name="Roderick Gedey" userId="ab9bfadb-c7a5-4388-95d3-b1e49a62b910" providerId="ADAL" clId="{DBDEF0B8-376D-4EEA-AAED-9931E387BD80}" dt="2025-03-09T18:52:37.553" v="148" actId="207"/>
        <pc:sldMkLst>
          <pc:docMk/>
          <pc:sldMk cId="2026877963" sldId="2147483372"/>
        </pc:sldMkLst>
        <pc:spChg chg="mod">
          <ac:chgData name="Roderick Gedey" userId="ab9bfadb-c7a5-4388-95d3-b1e49a62b910" providerId="ADAL" clId="{DBDEF0B8-376D-4EEA-AAED-9931E387BD80}" dt="2025-03-09T18:52:37.553" v="148" actId="207"/>
          <ac:spMkLst>
            <pc:docMk/>
            <pc:sldMk cId="2026877963" sldId="2147483372"/>
            <ac:spMk id="198" creationId="{FEC73EF3-2AB9-476F-586C-20E8B6D36F82}"/>
          </ac:spMkLst>
        </pc:spChg>
        <pc:spChg chg="mod">
          <ac:chgData name="Roderick Gedey" userId="ab9bfadb-c7a5-4388-95d3-b1e49a62b910" providerId="ADAL" clId="{DBDEF0B8-376D-4EEA-AAED-9931E387BD80}" dt="2025-03-09T18:52:37.553" v="148" actId="207"/>
          <ac:spMkLst>
            <pc:docMk/>
            <pc:sldMk cId="2026877963" sldId="2147483372"/>
            <ac:spMk id="840" creationId="{279156C5-DF81-DC84-E7F6-3CF8DFE5282B}"/>
          </ac:spMkLst>
        </pc:spChg>
      </pc:sldChg>
      <pc:sldChg chg="modSp mod">
        <pc:chgData name="Roderick Gedey" userId="ab9bfadb-c7a5-4388-95d3-b1e49a62b910" providerId="ADAL" clId="{DBDEF0B8-376D-4EEA-AAED-9931E387BD80}" dt="2025-03-09T18:51:56.742" v="143" actId="207"/>
        <pc:sldMkLst>
          <pc:docMk/>
          <pc:sldMk cId="4227274637" sldId="2147483382"/>
        </pc:sldMkLst>
        <pc:spChg chg="mod">
          <ac:chgData name="Roderick Gedey" userId="ab9bfadb-c7a5-4388-95d3-b1e49a62b910" providerId="ADAL" clId="{DBDEF0B8-376D-4EEA-AAED-9931E387BD80}" dt="2025-03-09T18:51:54.325" v="142" actId="207"/>
          <ac:spMkLst>
            <pc:docMk/>
            <pc:sldMk cId="4227274637" sldId="2147483382"/>
            <ac:spMk id="175" creationId="{C0341DE2-8A0A-ED82-FD68-357FE763A5A9}"/>
          </ac:spMkLst>
        </pc:spChg>
        <pc:spChg chg="mod">
          <ac:chgData name="Roderick Gedey" userId="ab9bfadb-c7a5-4388-95d3-b1e49a62b910" providerId="ADAL" clId="{DBDEF0B8-376D-4EEA-AAED-9931E387BD80}" dt="2025-03-09T18:51:56.742" v="143" actId="207"/>
          <ac:spMkLst>
            <pc:docMk/>
            <pc:sldMk cId="4227274637" sldId="2147483382"/>
            <ac:spMk id="180" creationId="{371A28B7-252A-7B7E-C655-3E8D0F9F9131}"/>
          </ac:spMkLst>
        </pc:spChg>
      </pc:sldChg>
      <pc:sldChg chg="addSp delSp modSp mod">
        <pc:chgData name="Roderick Gedey" userId="ab9bfadb-c7a5-4388-95d3-b1e49a62b910" providerId="ADAL" clId="{DBDEF0B8-376D-4EEA-AAED-9931E387BD80}" dt="2025-03-09T18:52:01.987" v="144" actId="207"/>
        <pc:sldMkLst>
          <pc:docMk/>
          <pc:sldMk cId="3357602204" sldId="2147483383"/>
        </pc:sldMkLst>
        <pc:spChg chg="add mod">
          <ac:chgData name="Roderick Gedey" userId="ab9bfadb-c7a5-4388-95d3-b1e49a62b910" providerId="ADAL" clId="{DBDEF0B8-376D-4EEA-AAED-9931E387BD80}" dt="2025-03-09T18:46:56.438" v="123"/>
          <ac:spMkLst>
            <pc:docMk/>
            <pc:sldMk cId="3357602204" sldId="2147483383"/>
            <ac:spMk id="6" creationId="{F2BB4D88-52BF-09B1-F901-8E77F4F65F53}"/>
          </ac:spMkLst>
        </pc:spChg>
        <pc:spChg chg="add mod">
          <ac:chgData name="Roderick Gedey" userId="ab9bfadb-c7a5-4388-95d3-b1e49a62b910" providerId="ADAL" clId="{DBDEF0B8-376D-4EEA-AAED-9931E387BD80}" dt="2025-03-09T18:52:01.987" v="144" actId="207"/>
          <ac:spMkLst>
            <pc:docMk/>
            <pc:sldMk cId="3357602204" sldId="2147483383"/>
            <ac:spMk id="16" creationId="{09F1C5E2-D071-022B-DFBA-7AFC1ABE013E}"/>
          </ac:spMkLst>
        </pc:spChg>
        <pc:spChg chg="mod">
          <ac:chgData name="Roderick Gedey" userId="ab9bfadb-c7a5-4388-95d3-b1e49a62b910" providerId="ADAL" clId="{DBDEF0B8-376D-4EEA-AAED-9931E387BD80}" dt="2025-03-09T18:52:01.987" v="144" actId="207"/>
          <ac:spMkLst>
            <pc:docMk/>
            <pc:sldMk cId="3357602204" sldId="2147483383"/>
            <ac:spMk id="175" creationId="{C0341DE2-8A0A-ED82-FD68-357FE763A5A9}"/>
          </ac:spMkLst>
        </pc:spChg>
        <pc:spChg chg="del">
          <ac:chgData name="Roderick Gedey" userId="ab9bfadb-c7a5-4388-95d3-b1e49a62b910" providerId="ADAL" clId="{DBDEF0B8-376D-4EEA-AAED-9931E387BD80}" dt="2025-03-09T18:46:59.228" v="124" actId="478"/>
          <ac:spMkLst>
            <pc:docMk/>
            <pc:sldMk cId="3357602204" sldId="2147483383"/>
            <ac:spMk id="180" creationId="{371A28B7-252A-7B7E-C655-3E8D0F9F9131}"/>
          </ac:spMkLst>
        </pc:spChg>
      </pc:sldChg>
      <pc:sldChg chg="addSp delSp modSp mod">
        <pc:chgData name="Roderick Gedey" userId="ab9bfadb-c7a5-4388-95d3-b1e49a62b910" providerId="ADAL" clId="{DBDEF0B8-376D-4EEA-AAED-9931E387BD80}" dt="2025-03-09T18:52:13.763" v="146" actId="207"/>
        <pc:sldMkLst>
          <pc:docMk/>
          <pc:sldMk cId="2173412431" sldId="2147483384"/>
        </pc:sldMkLst>
        <pc:spChg chg="add mod">
          <ac:chgData name="Roderick Gedey" userId="ab9bfadb-c7a5-4388-95d3-b1e49a62b910" providerId="ADAL" clId="{DBDEF0B8-376D-4EEA-AAED-9931E387BD80}" dt="2025-03-09T18:52:13.763" v="146" actId="207"/>
          <ac:spMkLst>
            <pc:docMk/>
            <pc:sldMk cId="2173412431" sldId="2147483384"/>
            <ac:spMk id="3" creationId="{60F1CCA7-DEBA-8EC7-B04F-0BDFB13B2992}"/>
          </ac:spMkLst>
        </pc:spChg>
        <pc:spChg chg="mod">
          <ac:chgData name="Roderick Gedey" userId="ab9bfadb-c7a5-4388-95d3-b1e49a62b910" providerId="ADAL" clId="{DBDEF0B8-376D-4EEA-AAED-9931E387BD80}" dt="2025-03-09T18:52:13.763" v="146" actId="207"/>
          <ac:spMkLst>
            <pc:docMk/>
            <pc:sldMk cId="2173412431" sldId="2147483384"/>
            <ac:spMk id="175" creationId="{C0341DE2-8A0A-ED82-FD68-357FE763A5A9}"/>
          </ac:spMkLst>
        </pc:spChg>
        <pc:spChg chg="del">
          <ac:chgData name="Roderick Gedey" userId="ab9bfadb-c7a5-4388-95d3-b1e49a62b910" providerId="ADAL" clId="{DBDEF0B8-376D-4EEA-AAED-9931E387BD80}" dt="2025-03-09T18:47:09.622" v="128" actId="478"/>
          <ac:spMkLst>
            <pc:docMk/>
            <pc:sldMk cId="2173412431" sldId="2147483384"/>
            <ac:spMk id="180" creationId="{371A28B7-252A-7B7E-C655-3E8D0F9F9131}"/>
          </ac:spMkLst>
        </pc:spChg>
      </pc:sldChg>
      <pc:sldChg chg="addSp delSp modSp mod">
        <pc:chgData name="Roderick Gedey" userId="ab9bfadb-c7a5-4388-95d3-b1e49a62b910" providerId="ADAL" clId="{DBDEF0B8-376D-4EEA-AAED-9931E387BD80}" dt="2025-03-09T18:52:08.628" v="145" actId="207"/>
        <pc:sldMkLst>
          <pc:docMk/>
          <pc:sldMk cId="2307102356" sldId="2147483385"/>
        </pc:sldMkLst>
        <pc:spChg chg="add mod">
          <ac:chgData name="Roderick Gedey" userId="ab9bfadb-c7a5-4388-95d3-b1e49a62b910" providerId="ADAL" clId="{DBDEF0B8-376D-4EEA-AAED-9931E387BD80}" dt="2025-03-09T18:52:08.628" v="145" actId="207"/>
          <ac:spMkLst>
            <pc:docMk/>
            <pc:sldMk cId="2307102356" sldId="2147483385"/>
            <ac:spMk id="3" creationId="{C59744BB-A635-96F9-DC80-249F4C47E8AB}"/>
          </ac:spMkLst>
        </pc:spChg>
        <pc:spChg chg="mod">
          <ac:chgData name="Roderick Gedey" userId="ab9bfadb-c7a5-4388-95d3-b1e49a62b910" providerId="ADAL" clId="{DBDEF0B8-376D-4EEA-AAED-9931E387BD80}" dt="2025-03-09T18:52:08.628" v="145" actId="207"/>
          <ac:spMkLst>
            <pc:docMk/>
            <pc:sldMk cId="2307102356" sldId="2147483385"/>
            <ac:spMk id="175" creationId="{C0341DE2-8A0A-ED82-FD68-357FE763A5A9}"/>
          </ac:spMkLst>
        </pc:spChg>
        <pc:spChg chg="del">
          <ac:chgData name="Roderick Gedey" userId="ab9bfadb-c7a5-4388-95d3-b1e49a62b910" providerId="ADAL" clId="{DBDEF0B8-376D-4EEA-AAED-9931E387BD80}" dt="2025-03-09T18:47:04.308" v="126" actId="478"/>
          <ac:spMkLst>
            <pc:docMk/>
            <pc:sldMk cId="2307102356" sldId="2147483385"/>
            <ac:spMk id="180" creationId="{371A28B7-252A-7B7E-C655-3E8D0F9F9131}"/>
          </ac:spMkLst>
        </pc:spChg>
      </pc:sldChg>
      <pc:sldChg chg="modSp mod">
        <pc:chgData name="Roderick Gedey" userId="ab9bfadb-c7a5-4388-95d3-b1e49a62b910" providerId="ADAL" clId="{DBDEF0B8-376D-4EEA-AAED-9931E387BD80}" dt="2025-03-09T18:52:42.757" v="149" actId="207"/>
        <pc:sldMkLst>
          <pc:docMk/>
          <pc:sldMk cId="3170708115" sldId="2147483386"/>
        </pc:sldMkLst>
        <pc:spChg chg="mod">
          <ac:chgData name="Roderick Gedey" userId="ab9bfadb-c7a5-4388-95d3-b1e49a62b910" providerId="ADAL" clId="{DBDEF0B8-376D-4EEA-AAED-9931E387BD80}" dt="2025-03-09T18:52:42.757" v="149" actId="207"/>
          <ac:spMkLst>
            <pc:docMk/>
            <pc:sldMk cId="3170708115" sldId="2147483386"/>
            <ac:spMk id="198" creationId="{F778CF5F-D367-16E3-7AB8-242B90E0B140}"/>
          </ac:spMkLst>
        </pc:spChg>
        <pc:spChg chg="mod">
          <ac:chgData name="Roderick Gedey" userId="ab9bfadb-c7a5-4388-95d3-b1e49a62b910" providerId="ADAL" clId="{DBDEF0B8-376D-4EEA-AAED-9931E387BD80}" dt="2025-03-09T18:52:42.757" v="149" actId="207"/>
          <ac:spMkLst>
            <pc:docMk/>
            <pc:sldMk cId="3170708115" sldId="2147483386"/>
            <ac:spMk id="840" creationId="{0CD685EE-260F-F12C-3BB9-A0F1723C808F}"/>
          </ac:spMkLst>
        </pc:spChg>
      </pc:sldChg>
      <pc:sldChg chg="modSp mod">
        <pc:chgData name="Roderick Gedey" userId="ab9bfadb-c7a5-4388-95d3-b1e49a62b910" providerId="ADAL" clId="{DBDEF0B8-376D-4EEA-AAED-9931E387BD80}" dt="2025-03-09T18:52:48.358" v="151" actId="207"/>
        <pc:sldMkLst>
          <pc:docMk/>
          <pc:sldMk cId="2733089611" sldId="2147483387"/>
        </pc:sldMkLst>
        <pc:spChg chg="mod">
          <ac:chgData name="Roderick Gedey" userId="ab9bfadb-c7a5-4388-95d3-b1e49a62b910" providerId="ADAL" clId="{DBDEF0B8-376D-4EEA-AAED-9931E387BD80}" dt="2025-03-09T18:52:48.358" v="151" actId="207"/>
          <ac:spMkLst>
            <pc:docMk/>
            <pc:sldMk cId="2733089611" sldId="2147483387"/>
            <ac:spMk id="198" creationId="{E69F3F11-0A0D-34A4-F94F-E69B13ED2B3D}"/>
          </ac:spMkLst>
        </pc:spChg>
        <pc:spChg chg="mod">
          <ac:chgData name="Roderick Gedey" userId="ab9bfadb-c7a5-4388-95d3-b1e49a62b910" providerId="ADAL" clId="{DBDEF0B8-376D-4EEA-AAED-9931E387BD80}" dt="2025-03-09T18:52:48.358" v="151" actId="207"/>
          <ac:spMkLst>
            <pc:docMk/>
            <pc:sldMk cId="2733089611" sldId="2147483387"/>
            <ac:spMk id="840" creationId="{9080E01F-2BBE-D31B-15C7-C6341B946CB4}"/>
          </ac:spMkLst>
        </pc:spChg>
      </pc:sldChg>
      <pc:sldChg chg="modSp mod">
        <pc:chgData name="Roderick Gedey" userId="ab9bfadb-c7a5-4388-95d3-b1e49a62b910" providerId="ADAL" clId="{DBDEF0B8-376D-4EEA-AAED-9931E387BD80}" dt="2025-03-09T18:52:29.383" v="147" actId="207"/>
        <pc:sldMkLst>
          <pc:docMk/>
          <pc:sldMk cId="617234300" sldId="2147483388"/>
        </pc:sldMkLst>
        <pc:spChg chg="mod">
          <ac:chgData name="Roderick Gedey" userId="ab9bfadb-c7a5-4388-95d3-b1e49a62b910" providerId="ADAL" clId="{DBDEF0B8-376D-4EEA-AAED-9931E387BD80}" dt="2025-03-09T18:52:29.383" v="147" actId="207"/>
          <ac:spMkLst>
            <pc:docMk/>
            <pc:sldMk cId="617234300" sldId="2147483388"/>
            <ac:spMk id="22" creationId="{198DCFE4-44F2-27A1-EFEA-C17B08907430}"/>
          </ac:spMkLst>
        </pc:spChg>
        <pc:spChg chg="mod">
          <ac:chgData name="Roderick Gedey" userId="ab9bfadb-c7a5-4388-95d3-b1e49a62b910" providerId="ADAL" clId="{DBDEF0B8-376D-4EEA-AAED-9931E387BD80}" dt="2025-03-09T18:52:29.383" v="147" actId="207"/>
          <ac:spMkLst>
            <pc:docMk/>
            <pc:sldMk cId="617234300" sldId="2147483388"/>
            <ac:spMk id="78" creationId="{5161B906-5C06-DDB6-B7B6-0DECF584821B}"/>
          </ac:spMkLst>
        </pc:spChg>
        <pc:spChg chg="mod">
          <ac:chgData name="Roderick Gedey" userId="ab9bfadb-c7a5-4388-95d3-b1e49a62b910" providerId="ADAL" clId="{DBDEF0B8-376D-4EEA-AAED-9931E387BD80}" dt="2025-03-09T18:52:29.383" v="147" actId="207"/>
          <ac:spMkLst>
            <pc:docMk/>
            <pc:sldMk cId="617234300" sldId="2147483388"/>
            <ac:spMk id="80" creationId="{EB63FB68-9626-1B1A-1E25-BEE8E6621CD7}"/>
          </ac:spMkLst>
        </pc:spChg>
        <pc:spChg chg="mod">
          <ac:chgData name="Roderick Gedey" userId="ab9bfadb-c7a5-4388-95d3-b1e49a62b910" providerId="ADAL" clId="{DBDEF0B8-376D-4EEA-AAED-9931E387BD80}" dt="2025-03-09T18:52:29.383" v="147" actId="207"/>
          <ac:spMkLst>
            <pc:docMk/>
            <pc:sldMk cId="617234300" sldId="2147483388"/>
            <ac:spMk id="81" creationId="{E5BACB98-8396-2318-9680-22EB7B3E91F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5D880C-B303-4C9E-B3DC-F0624B78BFC1}" type="datetimeFigureOut">
              <a:rPr lang="en-US" smtClean="0"/>
              <a:t>3/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516582-8720-4D76-BB95-C4DCF7A649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5209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A7634D-9EF8-8466-2DEA-6F74349F90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04943DC-5CBB-DC0C-C9AD-6A6F213031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C9C64A-A888-47D1-1D85-1499D6D391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B4BA8D-6CE6-F4D8-B190-93000C656E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F232A-D0AC-9B4F-A822-05618EDB3A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91093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516582-8720-4D76-BB95-C4DCF7A649C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6023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646878-1B7D-16A0-EF7B-334E02B9DF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BE3E5B-DC54-FEA2-93FA-4ED0DA32AB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4FC114A-B5EB-CF37-F800-A8D1974F84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dirty="0">
              <a:solidFill>
                <a:srgbClr val="54565B"/>
              </a:solidFill>
              <a:latin typeface="Arial" panose="020B060402020202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ABBD56-F1E8-0886-984A-20351942FF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F232A-D0AC-9B4F-A822-05618EDB3A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98465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230711">
              <a:defRPr/>
            </a:pPr>
            <a:endParaRPr lang="en-US" sz="800" dirty="0">
              <a:solidFill>
                <a:srgbClr val="54565B"/>
              </a:solidFill>
              <a:latin typeface="Arial" panose="020B060402020202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489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CEFD8D-5C38-4335-91F5-63CD0A96FD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489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915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D48B19-D10C-4D06-C610-23D01875F8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2BD79F5-A943-066E-6FBC-83C20B3232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D5C2E01-52CF-3B2F-A8F8-50E4A3E104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8808DC-8B26-A97B-CB81-F3A329A644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F232A-D0AC-9B4F-A822-05618EDB3A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72978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2118DC-B63A-32BF-C946-075DA7E54A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BFF2F9-3AB9-7DDF-2FB8-BF2061B5DA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C161B3-B8C1-F340-E442-9FDEF572AB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784" indent="-174784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54565B"/>
              </a:solidFill>
              <a:latin typeface="Arial" panose="020B0604020202020204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AB449A-D5A9-6F4E-8C20-502E6F8A2F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F232A-D0AC-9B4F-A822-05618EDB3A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60072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97CB1D-3F1B-62EF-2D02-BC1AB7BFF2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B29B525-22E6-6AE3-A97F-E0D33744D3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4111CB5-E7DB-BE0C-475F-BC71B4C7B9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97C0F9-9A78-E32F-5351-36E38FE9C4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F232A-D0AC-9B4F-A822-05618EDB3A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06646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AD88BD-37B2-40A4-49A1-7EFCCBE75E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5C7FB01-BF4E-9EFD-6BA5-D4A8EC1F3F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C6D9162-09BD-F01E-E565-77144B9E43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4784" indent="-174784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54565B"/>
              </a:solidFill>
              <a:latin typeface="Arial" panose="020B0604020202020204"/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E887B9-E967-A4EB-96EC-F91A981E05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F232A-D0AC-9B4F-A822-05618EDB3A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88157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516582-8720-4D76-BB95-C4DCF7A649C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3691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516582-8720-4D76-BB95-C4DCF7A649C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040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516582-8720-4D76-BB95-C4DCF7A649C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7925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7CF079-CD73-1548-DEBB-5E21DF1362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6D6E85E-38C9-CFBE-A600-B2CE8671D4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C586802-1C41-7D12-68F5-026D92F295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l">
              <a:buFont typeface="Arial" panose="020B0604020202020204" pitchFamily="34" charset="0"/>
              <a:buNone/>
            </a:pPr>
            <a:endParaRPr lang="en-US" sz="14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16B37F-EAB3-04C5-E2D4-C3A061D10F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F232A-D0AC-9B4F-A822-05618EDB3A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00540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7EB718-D4EF-4864-FB41-42F536C252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067FD5-71D0-02FA-97DE-B547EA93BD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0870A5-6BFA-C9BD-9F26-643EC338FE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en-US" sz="14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en-US" sz="14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/>
            <a:endParaRPr lang="en-US" sz="1400" b="0" i="0" u="none" strike="noStrike" baseline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1A4745-536B-453C-F3C0-650E1AA139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F232A-D0AC-9B4F-A822-05618EDB3A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87609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F232A-D0AC-9B4F-A822-05618EDB3A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48861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416F1-16F2-7B15-5C79-CCFAE5E989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DF19CA-6B35-9BFD-C2BC-8375BBD97B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42E49F-3091-1053-1FAE-5A4B3CF446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sz="1400" b="0" i="0" u="none" strike="noStrike" baseline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09BA3C-0FCE-290E-2449-3C67C67FF7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F232A-D0AC-9B4F-A822-05618EDB3A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1820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416F1-16F2-7B15-5C79-CCFAE5E989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DF19CA-6B35-9BFD-C2BC-8375BBD97B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42E49F-3091-1053-1FAE-5A4B3CF446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sz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09BA3C-0FCE-290E-2449-3C67C67FF7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F232A-D0AC-9B4F-A822-05618EDB3A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34684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416F1-16F2-7B15-5C79-CCFAE5E989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DF19CA-6B35-9BFD-C2BC-8375BBD97B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42E49F-3091-1053-1FAE-5A4B3CF446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09BA3C-0FCE-290E-2449-3C67C67FF7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F232A-D0AC-9B4F-A822-05618EDB3A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04390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E416F1-16F2-7B15-5C79-CCFAE5E989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DF19CA-6B35-9BFD-C2BC-8375BBD97B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42E49F-3091-1053-1FAE-5A4B3CF446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09BA3C-0FCE-290E-2449-3C67C67FF7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BF232A-D0AC-9B4F-A822-05618EDB3A6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2804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A1298824-CE9D-3E3B-47E7-612D1F3A39D2}"/>
              </a:ext>
            </a:extLst>
          </p:cNvPr>
          <p:cNvSpPr/>
          <p:nvPr userDrawn="1"/>
        </p:nvSpPr>
        <p:spPr>
          <a:xfrm>
            <a:off x="2" y="6"/>
            <a:ext cx="12191999" cy="717681"/>
          </a:xfrm>
          <a:custGeom>
            <a:avLst/>
            <a:gdLst>
              <a:gd name="connsiteX0" fmla="*/ 0 w 9780102"/>
              <a:gd name="connsiteY0" fmla="*/ 0 h 432000"/>
              <a:gd name="connsiteX1" fmla="*/ 9780102 w 9780102"/>
              <a:gd name="connsiteY1" fmla="*/ 0 h 432000"/>
              <a:gd name="connsiteX2" fmla="*/ 9780102 w 9780102"/>
              <a:gd name="connsiteY2" fmla="*/ 432000 h 432000"/>
              <a:gd name="connsiteX3" fmla="*/ 0 w 9780102"/>
              <a:gd name="connsiteY3" fmla="*/ 43200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80102" h="432000">
                <a:moveTo>
                  <a:pt x="0" y="0"/>
                </a:moveTo>
                <a:lnTo>
                  <a:pt x="9780102" y="0"/>
                </a:lnTo>
                <a:lnTo>
                  <a:pt x="9780102" y="432000"/>
                </a:lnTo>
                <a:lnTo>
                  <a:pt x="0" y="432000"/>
                </a:lnTo>
                <a:close/>
              </a:path>
            </a:pathLst>
          </a:custGeom>
          <a:solidFill>
            <a:srgbClr val="ECEE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7" noProof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66613D-5508-A82E-AD10-02111E746807}"/>
              </a:ext>
            </a:extLst>
          </p:cNvPr>
          <p:cNvSpPr/>
          <p:nvPr userDrawn="1"/>
        </p:nvSpPr>
        <p:spPr>
          <a:xfrm>
            <a:off x="2" y="6803354"/>
            <a:ext cx="1979897" cy="60959"/>
          </a:xfrm>
          <a:prstGeom prst="rect">
            <a:avLst/>
          </a:prstGeom>
          <a:solidFill>
            <a:srgbClr val="E7D8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7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A3DE5D7-C82A-B017-1679-21EAF2EAAC10}"/>
              </a:ext>
            </a:extLst>
          </p:cNvPr>
          <p:cNvSpPr/>
          <p:nvPr userDrawn="1"/>
        </p:nvSpPr>
        <p:spPr>
          <a:xfrm>
            <a:off x="914401" y="6803354"/>
            <a:ext cx="11277601" cy="60959"/>
          </a:xfrm>
          <a:prstGeom prst="rect">
            <a:avLst/>
          </a:prstGeom>
          <a:solidFill>
            <a:srgbClr val="950B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7" noProof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A3A4AE1-28B4-C080-D675-4B2E91949F2B}"/>
              </a:ext>
            </a:extLst>
          </p:cNvPr>
          <p:cNvSpPr/>
          <p:nvPr userDrawn="1"/>
        </p:nvSpPr>
        <p:spPr>
          <a:xfrm>
            <a:off x="558800" y="6803354"/>
            <a:ext cx="355600" cy="6095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7" noProof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2F1E6E3D-646F-907C-5669-2C6458BDE6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1743040"/>
            <a:ext cx="10363200" cy="193355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defRPr>
                <a:solidFill>
                  <a:schemeClr val="accent3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32010134-6B56-0441-A759-93DE0CFE65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4401" y="3784764"/>
            <a:ext cx="10363201" cy="942429"/>
          </a:xfrm>
          <a:solidFill>
            <a:schemeClr val="accent2">
              <a:lumMod val="75000"/>
            </a:schemeClr>
          </a:solidFill>
        </p:spPr>
        <p:txBody>
          <a:bodyPr lIns="91440" tIns="91440" rIns="91440" bIns="91440" anchor="ctr"/>
          <a:lstStyle>
            <a:lvl1pPr marL="0" indent="0" algn="l">
              <a:lnSpc>
                <a:spcPct val="100000"/>
              </a:lnSpc>
              <a:buNone/>
              <a:defRPr sz="1393">
                <a:solidFill>
                  <a:schemeClr val="bg1"/>
                </a:solidFill>
              </a:defRPr>
            </a:lvl1pPr>
            <a:lvl2pPr marL="265540" indent="0">
              <a:buNone/>
              <a:defRPr/>
            </a:lvl2pPr>
            <a:lvl3pPr marL="540564" indent="0">
              <a:buNone/>
              <a:defRPr/>
            </a:lvl3pPr>
            <a:lvl4pPr marL="806104" indent="0">
              <a:buNone/>
              <a:defRPr/>
            </a:lvl4pPr>
            <a:lvl5pPr marL="1071644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2A4BD926-9CEB-DDDC-0BA6-2DA879C0BD5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14401" y="5005547"/>
            <a:ext cx="10363201" cy="1201736"/>
          </a:xfrm>
        </p:spPr>
        <p:txBody>
          <a:bodyPr lIns="0" tIns="0" rIns="0" bIns="0"/>
          <a:lstStyle>
            <a:lvl1pPr marL="0" indent="0">
              <a:buFontTx/>
              <a:buNone/>
              <a:defRPr sz="1195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53F33C6-1C54-431B-7C61-8C0A47A0883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780105" y="198799"/>
            <a:ext cx="2411897" cy="295776"/>
          </a:xfrm>
          <a:solidFill>
            <a:schemeClr val="accent3"/>
          </a:solidFill>
        </p:spPr>
        <p:txBody>
          <a:bodyPr rIns="182880" anchor="ctr"/>
          <a:lstStyle/>
          <a:p>
            <a:pPr marL="0" marR="0" lvl="0" indent="0" algn="r" defTabSz="910423" rtl="0" eaLnBrk="1" fontAlgn="auto" latinLnBrk="0" hangingPunct="1">
              <a:lnSpc>
                <a:spcPct val="100000"/>
              </a:lnSpc>
              <a:spcBef>
                <a:spcPts val="99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 #</a:t>
            </a:r>
          </a:p>
        </p:txBody>
      </p:sp>
    </p:spTree>
    <p:extLst>
      <p:ext uri="{BB962C8B-B14F-4D97-AF65-F5344CB8AC3E}">
        <p14:creationId xmlns:p14="http://schemas.microsoft.com/office/powerpoint/2010/main" val="25918221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1001" userDrawn="1">
          <p15:clr>
            <a:srgbClr val="FBAE40"/>
          </p15:clr>
        </p15:guide>
        <p15:guide id="4" orient="horz" pos="859" userDrawn="1">
          <p15:clr>
            <a:srgbClr val="FBAE40"/>
          </p15:clr>
        </p15:guide>
        <p15:guide id="5" pos="532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2800" y="1676400"/>
            <a:ext cx="10565728" cy="4419600"/>
          </a:xfrm>
        </p:spPr>
        <p:txBody>
          <a:bodyPr rIns="0"/>
          <a:lstStyle>
            <a:lvl1pPr>
              <a:spcBef>
                <a:spcPts val="90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03CEAA40-EB1A-6D97-B8AA-D29B7FCA82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2892" y="-4826"/>
            <a:ext cx="12188952" cy="758952"/>
          </a:xfrm>
          <a:prstGeom prst="rect">
            <a:avLst/>
          </a:prstGeom>
          <a:solidFill>
            <a:srgbClr val="F4F4F4"/>
          </a:solidFill>
        </p:spPr>
        <p:txBody>
          <a:bodyPr vert="horz" lIns="91440" tIns="0" rIns="0" bIns="0" rtlCol="0" anchor="ctr">
            <a:noAutofit/>
          </a:bodyPr>
          <a:lstStyle>
            <a:lvl1pPr marL="411480">
              <a:lnSpc>
                <a:spcPct val="100000"/>
              </a:lnSpc>
              <a:defRPr sz="3600" spc="0" baseline="0">
                <a:solidFill>
                  <a:srgbClr val="203661"/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454D3463-D75D-541D-9B7C-5755DFDCC29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32001" y="6356127"/>
            <a:ext cx="11265451" cy="295063"/>
          </a:xfrm>
        </p:spPr>
        <p:txBody>
          <a:bodyPr/>
          <a:lstStyle/>
          <a:p>
            <a:pPr defTabSz="911667">
              <a:lnSpc>
                <a:spcPct val="85000"/>
              </a:lnSpc>
              <a:defRPr/>
            </a:pP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Notes space: 8-pt Arial Narrow, Black (R30/G30/B30). Align text to bottom. For notes called out in text: Use lowercase, superscripted letters in the text to call out footnotes. </a:t>
            </a:r>
            <a:r>
              <a:rPr lang="en-US" baseline="30000">
                <a:solidFill>
                  <a:prstClr val="black">
                    <a:lumMod val="75000"/>
                    <a:lumOff val="25000"/>
                  </a:prstClr>
                </a:solidFill>
              </a:rPr>
              <a:t>a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Each individual note takes a terminal dot. Abbreviations: </a:t>
            </a:r>
            <a:r>
              <a:rPr lang="en-US" b="1">
                <a:solidFill>
                  <a:prstClr val="black">
                    <a:lumMod val="75000"/>
                    <a:lumOff val="25000"/>
                  </a:prstClr>
                </a:solidFill>
              </a:rPr>
              <a:t>BOLD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, definition; </a:t>
            </a:r>
            <a:r>
              <a:rPr lang="en-US" b="1">
                <a:solidFill>
                  <a:prstClr val="black">
                    <a:lumMod val="75000"/>
                    <a:lumOff val="25000"/>
                  </a:prstClr>
                </a:solidFill>
              </a:rPr>
              <a:t>END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, list of abbreviations with a dot. References: numbered, shorthand citations: 1. [Author Surname] [Authors’ initials], et al. </a:t>
            </a:r>
            <a:r>
              <a:rPr lang="en-US" i="1">
                <a:solidFill>
                  <a:prstClr val="black">
                    <a:lumMod val="75000"/>
                    <a:lumOff val="25000"/>
                  </a:prstClr>
                </a:solidFill>
              </a:rPr>
              <a:t>Journal Title Abbreviation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. [year];[volume];[truncated page range, eg, XXX-yy].  2. [Author Surname] [Authors’ initials], et al. </a:t>
            </a:r>
            <a:r>
              <a:rPr lang="en-US" i="1">
                <a:solidFill>
                  <a:prstClr val="black">
                    <a:lumMod val="75000"/>
                    <a:lumOff val="25000"/>
                  </a:prstClr>
                </a:solidFill>
              </a:rPr>
              <a:t>[Journal Title Abbreviation in Italics]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. [year];[volume];[truncated page range, eg, XXX-yy]. Note: all bottom matter can be run as a continuous text block if needed for space.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7B09EFB-0C34-A916-F3E6-69E6004E175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291610"/>
            <a:ext cx="432000" cy="432573"/>
          </a:xfrm>
        </p:spPr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9621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8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A3559F-4752-1B1E-7A54-B33E2BB13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6063" y="1658249"/>
            <a:ext cx="11160000" cy="2376000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GB" sz="5000">
                <a:solidFill>
                  <a:schemeClr val="bg1"/>
                </a:solidFill>
                <a:cs typeface="Trebuchet MS" panose="020B0703020202090204" pitchFamily="34" charset="0"/>
              </a:defRPr>
            </a:lvl1pPr>
          </a:lstStyle>
          <a:p>
            <a:pPr lvl="0">
              <a:lnSpc>
                <a:spcPct val="80000"/>
              </a:lnSpc>
            </a:pPr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B89D111-661C-8782-7E55-9372E64343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063" y="4077886"/>
            <a:ext cx="11160000" cy="1655762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>
              <a:buNone/>
              <a:defRPr lang="en-GB" sz="18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</a:lstStyle>
          <a:p>
            <a:pPr marL="228600" lvl="0" indent="-228600">
              <a:lnSpc>
                <a:spcPct val="110000"/>
              </a:lnSpc>
            </a:pPr>
            <a:r>
              <a:rPr lang="en-GB"/>
              <a:t>Click to edit Master subtitle sty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F0CAD6-8ED7-CC89-280B-49EB2F2F2549}"/>
              </a:ext>
            </a:extLst>
          </p:cNvPr>
          <p:cNvSpPr txBox="1"/>
          <p:nvPr userDrawn="1"/>
        </p:nvSpPr>
        <p:spPr>
          <a:xfrm>
            <a:off x="86360" y="6378437"/>
            <a:ext cx="3600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defPPr>
              <a:defRPr lang="en-US"/>
            </a:defPPr>
            <a:lvl1pPr algn="ct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lvl="0"/>
            <a:fld id="{291CC80E-EFDC-436B-981C-14115FD319A2}" type="slidenum">
              <a:rPr lang="en-GB" smtClean="0">
                <a:solidFill>
                  <a:schemeClr val="bg2"/>
                </a:solidFill>
              </a:rPr>
              <a:pPr lvl="0"/>
              <a:t>‹#›</a:t>
            </a:fld>
            <a:endParaRPr lang="en-GB">
              <a:solidFill>
                <a:schemeClr val="bg2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17DE8E0-CC41-0291-0CB1-8DED71F4725F}"/>
              </a:ext>
            </a:extLst>
          </p:cNvPr>
          <p:cNvSpPr/>
          <p:nvPr userDrawn="1"/>
        </p:nvSpPr>
        <p:spPr>
          <a:xfrm>
            <a:off x="137772" y="6498120"/>
            <a:ext cx="257175" cy="2454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73039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bg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47AA6-552F-621D-6E66-763EA1AAFF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46C47F-8ECD-FA8B-BE02-901F606D81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70194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69B132-535D-2F3F-C517-9B0B73004F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E66A8D-CFB4-FBD9-2632-00DFD44532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15731C-7378-EEFF-4E99-C7B2828EEC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6451599"/>
            <a:ext cx="11160126" cy="297201"/>
          </a:xfrm>
        </p:spPr>
        <p:txBody>
          <a:bodyPr vert="horz" lIns="0" tIns="46800" rIns="0" bIns="46800" rtlCol="0" anchor="b">
            <a:noAutofit/>
          </a:bodyPr>
          <a:lstStyle>
            <a:lvl1pPr marL="0" indent="0">
              <a:spcAft>
                <a:spcPts val="0"/>
              </a:spcAft>
              <a:buNone/>
              <a:tabLst/>
              <a:defRPr lang="en-GB" sz="1000" b="0" i="0" kern="1600" spc="-50" baseline="0" smtClean="0">
                <a:latin typeface="Trebuchet MS" panose="020B0603020202020204" pitchFamily="34" charset="0"/>
              </a:defRPr>
            </a:lvl1pPr>
            <a:lvl2pPr>
              <a:defRPr lang="en-GB" b="0" i="1" kern="1600" spc="-50" baseline="0" smtClean="0">
                <a:latin typeface="Roboto" panose="02000000000000000000" pitchFamily="2" charset="0"/>
              </a:defRPr>
            </a:lvl2pPr>
            <a:lvl3pPr>
              <a:defRPr lang="en-GB" b="0" i="0" kern="1600" spc="-50" baseline="0" smtClean="0">
                <a:latin typeface="Trebuchet MS" panose="020B0703020202090204" pitchFamily="34" charset="0"/>
              </a:defRPr>
            </a:lvl3pPr>
            <a:lvl4pPr>
              <a:defRPr lang="en-GB" b="0" i="0" kern="1600" spc="-50" baseline="0" smtClean="0">
                <a:latin typeface="Trebuchet MS" panose="020B0703020202090204" pitchFamily="34" charset="0"/>
              </a:defRPr>
            </a:lvl4pPr>
            <a:lvl5pPr>
              <a:defRPr lang="en-GB" sz="1200" b="0" i="0" kern="1600" spc="-50" baseline="0">
                <a:latin typeface="Trebuchet MS" panose="020B0703020202090204" pitchFamily="34" charset="0"/>
              </a:defRPr>
            </a:lvl5pPr>
          </a:lstStyle>
          <a:p>
            <a:pPr marL="228600" lvl="0" indent="-228600">
              <a:spcAft>
                <a:spcPts val="0"/>
              </a:spcAft>
            </a:pPr>
            <a:r>
              <a:rPr lang="en-GB"/>
              <a:t>Click to add abbreviation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15188964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59C23-B96B-C532-A167-2739C372D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8FB0BFC-4852-21B8-028C-8C73040A30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6450128"/>
            <a:ext cx="11160126" cy="297201"/>
          </a:xfrm>
        </p:spPr>
        <p:txBody>
          <a:bodyPr vert="horz" lIns="0" tIns="46800" rIns="0" bIns="46800" rtlCol="0" anchor="b">
            <a:noAutofit/>
          </a:bodyPr>
          <a:lstStyle>
            <a:lvl1pPr marL="0" indent="0">
              <a:spcAft>
                <a:spcPts val="0"/>
              </a:spcAft>
              <a:buNone/>
              <a:tabLst/>
              <a:defRPr lang="en-GB" sz="1000" b="0" i="0" kern="1600" spc="-50" baseline="0" smtClean="0">
                <a:latin typeface="Trebuchet MS" panose="020B0603020202020204" pitchFamily="34" charset="0"/>
              </a:defRPr>
            </a:lvl1pPr>
            <a:lvl2pPr>
              <a:defRPr lang="en-GB" b="0" i="1" kern="1600" spc="-50" baseline="0" smtClean="0">
                <a:latin typeface="Roboto" panose="02000000000000000000" pitchFamily="2" charset="0"/>
              </a:defRPr>
            </a:lvl2pPr>
            <a:lvl3pPr>
              <a:defRPr lang="en-GB" b="0" i="0" kern="1600" spc="-50" baseline="0" smtClean="0">
                <a:latin typeface="Trebuchet MS" panose="020B0703020202090204" pitchFamily="34" charset="0"/>
              </a:defRPr>
            </a:lvl3pPr>
            <a:lvl4pPr>
              <a:defRPr lang="en-GB" b="0" i="0" kern="1600" spc="-50" baseline="0" smtClean="0">
                <a:latin typeface="Trebuchet MS" panose="020B0703020202090204" pitchFamily="34" charset="0"/>
              </a:defRPr>
            </a:lvl4pPr>
            <a:lvl5pPr>
              <a:defRPr lang="en-GB" sz="1200" b="0" i="0" kern="1600" spc="-50" baseline="0">
                <a:latin typeface="Trebuchet MS" panose="020B0703020202090204" pitchFamily="34" charset="0"/>
              </a:defRPr>
            </a:lvl5pPr>
          </a:lstStyle>
          <a:p>
            <a:pPr marL="228600" lvl="0" indent="-228600">
              <a:spcAft>
                <a:spcPts val="0"/>
              </a:spcAft>
            </a:pPr>
            <a:r>
              <a:rPr lang="en-GB"/>
              <a:t>Click to add abbreviation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39311009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AF3D2-B401-6620-8BF4-902AAD44C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710BC5-4E44-5DCE-862B-11F280FD8B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5937" y="1557338"/>
            <a:ext cx="5328000" cy="428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F79749-57F1-5F6C-4A98-22A1AAC982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8065" y="1557338"/>
            <a:ext cx="5328000" cy="428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927D1E8F-9560-C23F-3E02-204E55C308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6450128"/>
            <a:ext cx="11160126" cy="297201"/>
          </a:xfrm>
        </p:spPr>
        <p:txBody>
          <a:bodyPr vert="horz" lIns="0" tIns="46800" rIns="0" bIns="46800" rtlCol="0" anchor="b">
            <a:noAutofit/>
          </a:bodyPr>
          <a:lstStyle>
            <a:lvl1pPr marL="0" indent="0">
              <a:spcAft>
                <a:spcPts val="0"/>
              </a:spcAft>
              <a:buNone/>
              <a:tabLst/>
              <a:defRPr lang="en-GB" sz="1000" b="0" i="0" kern="1600" spc="-50" baseline="0" smtClean="0">
                <a:latin typeface="Trebuchet MS" panose="020B0603020202020204" pitchFamily="34" charset="0"/>
              </a:defRPr>
            </a:lvl1pPr>
            <a:lvl2pPr>
              <a:defRPr lang="en-GB" b="0" i="1" kern="1600" spc="-50" baseline="0" smtClean="0">
                <a:latin typeface="Roboto" panose="02000000000000000000" pitchFamily="2" charset="0"/>
              </a:defRPr>
            </a:lvl2pPr>
            <a:lvl3pPr>
              <a:defRPr lang="en-GB" b="0" i="0" kern="1600" spc="-50" baseline="0" smtClean="0">
                <a:latin typeface="Trebuchet MS" panose="020B0703020202090204" pitchFamily="34" charset="0"/>
              </a:defRPr>
            </a:lvl3pPr>
            <a:lvl4pPr>
              <a:defRPr lang="en-GB" b="0" i="0" kern="1600" spc="-50" baseline="0" smtClean="0">
                <a:latin typeface="Trebuchet MS" panose="020B0703020202090204" pitchFamily="34" charset="0"/>
              </a:defRPr>
            </a:lvl4pPr>
            <a:lvl5pPr>
              <a:defRPr lang="en-GB" sz="1200" b="0" i="0" kern="1600" spc="-50" baseline="0">
                <a:latin typeface="Trebuchet MS" panose="020B0703020202090204" pitchFamily="34" charset="0"/>
              </a:defRPr>
            </a:lvl5pPr>
          </a:lstStyle>
          <a:p>
            <a:pPr marL="228600" lvl="0" indent="-228600">
              <a:spcAft>
                <a:spcPts val="0"/>
              </a:spcAft>
            </a:pPr>
            <a:r>
              <a:rPr lang="en-GB"/>
              <a:t>Click to add abbreviation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35678519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AF3D2-B401-6620-8BF4-902AAD44C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710BC5-4E44-5DCE-862B-11F280FD8B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5937" y="1557338"/>
            <a:ext cx="3600000" cy="428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F79749-57F1-5F6C-4A98-22A1AAC982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937" y="1557338"/>
            <a:ext cx="3600000" cy="428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834134C-1C7E-E781-1766-3C2CB538D7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6408853"/>
            <a:ext cx="11160126" cy="339675"/>
          </a:xfrm>
        </p:spPr>
        <p:txBody>
          <a:bodyPr vert="horz" lIns="0" tIns="46800" rIns="0" bIns="46800" rtlCol="0" anchor="b">
            <a:noAutofit/>
          </a:bodyPr>
          <a:lstStyle>
            <a:lvl1pPr marL="0" indent="0">
              <a:buNone/>
              <a:defRPr lang="en-GB" sz="1000" b="0" i="0" kern="1600" spc="-50" baseline="0" smtClean="0">
                <a:latin typeface="Trebuchet MS" panose="020B0603020202020204" pitchFamily="34" charset="0"/>
              </a:defRPr>
            </a:lvl1pPr>
            <a:lvl2pPr>
              <a:defRPr lang="en-GB" b="0" i="1" kern="1600" spc="-50" baseline="0" smtClean="0">
                <a:latin typeface="Roboto" panose="02000000000000000000" pitchFamily="2" charset="0"/>
              </a:defRPr>
            </a:lvl2pPr>
            <a:lvl3pPr>
              <a:defRPr lang="en-GB" b="0" i="0" kern="1600" spc="-50" baseline="0" smtClean="0">
                <a:latin typeface="Trebuchet MS" panose="020B0703020202090204" pitchFamily="34" charset="0"/>
              </a:defRPr>
            </a:lvl3pPr>
            <a:lvl4pPr>
              <a:defRPr lang="en-GB" b="0" i="0" kern="1600" spc="-50" baseline="0" smtClean="0">
                <a:latin typeface="Trebuchet MS" panose="020B0703020202090204" pitchFamily="34" charset="0"/>
              </a:defRPr>
            </a:lvl4pPr>
            <a:lvl5pPr>
              <a:defRPr lang="en-GB" sz="1200" b="0" i="0" kern="1600" spc="-50" baseline="0">
                <a:latin typeface="Trebuchet MS" panose="020B0703020202090204" pitchFamily="34" charset="0"/>
              </a:defRPr>
            </a:lvl5pPr>
          </a:lstStyle>
          <a:p>
            <a:pPr marL="228600" lvl="0" indent="-228600">
              <a:spcAft>
                <a:spcPts val="0"/>
              </a:spcAft>
            </a:pPr>
            <a:r>
              <a:rPr lang="en-GB"/>
              <a:t>Click to add abbreviations and references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2B516B29-0B3C-E177-1FDF-FEE116DCD04E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075937" y="1557338"/>
            <a:ext cx="3600000" cy="428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39256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 (White B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AF3D2-B401-6620-8BF4-902AAD44C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710BC5-4E44-5DCE-862B-11F280FD8B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5937" y="1557338"/>
            <a:ext cx="3600000" cy="428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F79749-57F1-5F6C-4A98-22A1AAC982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937" y="1557338"/>
            <a:ext cx="3600000" cy="428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834134C-1C7E-E781-1766-3C2CB538D7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6246000"/>
            <a:ext cx="11160126" cy="504000"/>
          </a:xfrm>
        </p:spPr>
        <p:txBody>
          <a:bodyPr vert="horz" lIns="0" tIns="46800" rIns="0" bIns="46800" rtlCol="0" anchor="b">
            <a:noAutofit/>
          </a:bodyPr>
          <a:lstStyle>
            <a:lvl1pPr marL="0" indent="0">
              <a:buNone/>
              <a:defRPr lang="en-GB" sz="1000" b="0" i="0" kern="1600" spc="-50" baseline="0" smtClean="0">
                <a:latin typeface="Trebuchet MS" panose="020B0603020202020204" pitchFamily="34" charset="0"/>
              </a:defRPr>
            </a:lvl1pPr>
            <a:lvl2pPr>
              <a:defRPr lang="en-GB" b="0" i="1" kern="1600" spc="-50" baseline="0" smtClean="0">
                <a:latin typeface="Roboto" panose="02000000000000000000" pitchFamily="2" charset="0"/>
              </a:defRPr>
            </a:lvl2pPr>
            <a:lvl3pPr>
              <a:defRPr lang="en-GB" b="0" i="0" kern="1600" spc="-50" baseline="0" smtClean="0">
                <a:latin typeface="Trebuchet MS" panose="020B0703020202090204" pitchFamily="34" charset="0"/>
              </a:defRPr>
            </a:lvl3pPr>
            <a:lvl4pPr>
              <a:defRPr lang="en-GB" b="0" i="0" kern="1600" spc="-50" baseline="0" smtClean="0">
                <a:latin typeface="Trebuchet MS" panose="020B0703020202090204" pitchFamily="34" charset="0"/>
              </a:defRPr>
            </a:lvl4pPr>
            <a:lvl5pPr>
              <a:defRPr lang="en-GB" sz="1200" b="0" i="0" kern="1600" spc="-50" baseline="0">
                <a:latin typeface="Trebuchet MS" panose="020B0703020202090204" pitchFamily="34" charset="0"/>
              </a:defRPr>
            </a:lvl5pPr>
          </a:lstStyle>
          <a:p>
            <a:pPr marL="228600" lvl="0" indent="-228600">
              <a:spcAft>
                <a:spcPts val="0"/>
              </a:spcAft>
            </a:pPr>
            <a:r>
              <a:rPr lang="en-GB"/>
              <a:t>Click to add abbreviations and references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2B516B29-0B3C-E177-1FDF-FEE116DCD04E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075937" y="1557338"/>
            <a:ext cx="3600000" cy="4284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E417A07-667A-3C57-E972-F7367C185373}"/>
              </a:ext>
            </a:extLst>
          </p:cNvPr>
          <p:cNvSpPr txBox="1"/>
          <p:nvPr userDrawn="1"/>
        </p:nvSpPr>
        <p:spPr>
          <a:xfrm>
            <a:off x="86360" y="6378437"/>
            <a:ext cx="3600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defPPr>
              <a:defRPr lang="en-US"/>
            </a:defPPr>
            <a:lvl1pPr algn="ct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lvl="0"/>
            <a:fld id="{291CC80E-EFDC-436B-981C-14115FD319A2}" type="slidenum">
              <a:rPr lang="en-GB" smtClean="0"/>
              <a:pPr lvl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16024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69B132-535D-2F3F-C517-9B0B73004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788" y="1190194"/>
            <a:ext cx="3406140" cy="4351338"/>
          </a:xfr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E66A8D-CFB4-FBD9-2632-00DFD44532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06972" y="800327"/>
            <a:ext cx="7069091" cy="5257346"/>
          </a:xfrm>
        </p:spPr>
        <p:txBody>
          <a:bodyPr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15731C-7378-EEFF-4E99-C7B2828EEC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6246000"/>
            <a:ext cx="11160126" cy="504000"/>
          </a:xfrm>
        </p:spPr>
        <p:txBody>
          <a:bodyPr vert="horz" lIns="0" tIns="46800" rIns="0" bIns="46800" rtlCol="0" anchor="b">
            <a:noAutofit/>
          </a:bodyPr>
          <a:lstStyle>
            <a:lvl1pPr marL="0" indent="0">
              <a:buNone/>
              <a:defRPr lang="en-GB" sz="1000" b="0" i="0" kern="1600" spc="-50" baseline="0" smtClean="0">
                <a:latin typeface="Trebuchet MS" panose="020B0603020202020204" pitchFamily="34" charset="0"/>
              </a:defRPr>
            </a:lvl1pPr>
            <a:lvl2pPr>
              <a:defRPr lang="en-GB" b="0" i="1" kern="1600" spc="-50" baseline="0" smtClean="0">
                <a:latin typeface="Roboto" panose="02000000000000000000" pitchFamily="2" charset="0"/>
              </a:defRPr>
            </a:lvl2pPr>
            <a:lvl3pPr>
              <a:defRPr lang="en-GB" b="0" i="0" kern="1600" spc="-50" baseline="0" smtClean="0">
                <a:latin typeface="Trebuchet MS" panose="020B0703020202090204" pitchFamily="34" charset="0"/>
              </a:defRPr>
            </a:lvl3pPr>
            <a:lvl4pPr>
              <a:defRPr lang="en-GB" b="0" i="0" kern="1600" spc="-50" baseline="0" smtClean="0">
                <a:latin typeface="Trebuchet MS" panose="020B0703020202090204" pitchFamily="34" charset="0"/>
              </a:defRPr>
            </a:lvl4pPr>
            <a:lvl5pPr>
              <a:defRPr lang="en-GB" sz="1200" b="0" i="0" kern="1600" spc="-50" baseline="0">
                <a:latin typeface="Trebuchet MS" panose="020B0703020202090204" pitchFamily="34" charset="0"/>
              </a:defRPr>
            </a:lvl5pPr>
          </a:lstStyle>
          <a:p>
            <a:pPr marL="228600" lvl="0" indent="-228600">
              <a:spcAft>
                <a:spcPts val="0"/>
              </a:spcAft>
            </a:pPr>
            <a:r>
              <a:rPr lang="en-GB"/>
              <a:t>Click to add abbreviations and referenc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1DB90F-3B0E-ED67-9E2E-94F339CC2B1E}"/>
              </a:ext>
            </a:extLst>
          </p:cNvPr>
          <p:cNvCxnSpPr>
            <a:cxnSpLocks/>
          </p:cNvCxnSpPr>
          <p:nvPr userDrawn="1"/>
        </p:nvCxnSpPr>
        <p:spPr>
          <a:xfrm>
            <a:off x="4266950" y="1628503"/>
            <a:ext cx="0" cy="347472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3087E11-9233-E9FA-A9E5-39F70F1E417A}"/>
              </a:ext>
            </a:extLst>
          </p:cNvPr>
          <p:cNvSpPr txBox="1"/>
          <p:nvPr userDrawn="1"/>
        </p:nvSpPr>
        <p:spPr>
          <a:xfrm>
            <a:off x="86360" y="6378437"/>
            <a:ext cx="3600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defPPr>
              <a:defRPr lang="en-US"/>
            </a:defPPr>
            <a:lvl1pPr algn="ct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lvl="0"/>
            <a:fld id="{291CC80E-EFDC-436B-981C-14115FD319A2}" type="slidenum">
              <a:rPr lang="en-GB" smtClean="0"/>
              <a:pPr lvl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7370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CF0DEC-56D0-E939-29FD-F3EDFDA7DB6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BE0B253-0F91-5D03-D711-702B1B74102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8000" y="729000"/>
            <a:ext cx="5400000" cy="540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content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7759F05F-D9A1-6665-EF7E-130A72123C8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44000" y="729000"/>
            <a:ext cx="5400000" cy="540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add conten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CBA6743-3A37-9F5D-A690-33EFA7E6737F}"/>
              </a:ext>
            </a:extLst>
          </p:cNvPr>
          <p:cNvSpPr txBox="1"/>
          <p:nvPr userDrawn="1"/>
        </p:nvSpPr>
        <p:spPr>
          <a:xfrm>
            <a:off x="86360" y="6378437"/>
            <a:ext cx="3600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defPPr>
              <a:defRPr lang="en-US"/>
            </a:defPPr>
            <a:lvl1pPr algn="ct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lvl="0"/>
            <a:fld id="{291CC80E-EFDC-436B-981C-14115FD319A2}" type="slidenum">
              <a:rPr lang="en-GB" smtClean="0">
                <a:solidFill>
                  <a:schemeClr val="bg2"/>
                </a:solidFill>
              </a:rPr>
              <a:pPr lvl="0"/>
              <a:t>‹#›</a:t>
            </a:fld>
            <a:endParaRPr lang="en-GB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60939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n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3D15172-CAB6-00FD-E2C3-D450E8E10242}"/>
              </a:ext>
            </a:extLst>
          </p:cNvPr>
          <p:cNvSpPr/>
          <p:nvPr userDrawn="1"/>
        </p:nvSpPr>
        <p:spPr>
          <a:xfrm>
            <a:off x="2" y="6"/>
            <a:ext cx="12191999" cy="6234345"/>
          </a:xfrm>
          <a:custGeom>
            <a:avLst/>
            <a:gdLst>
              <a:gd name="connsiteX0" fmla="*/ 0 w 9780102"/>
              <a:gd name="connsiteY0" fmla="*/ 0 h 432000"/>
              <a:gd name="connsiteX1" fmla="*/ 9780102 w 9780102"/>
              <a:gd name="connsiteY1" fmla="*/ 0 h 432000"/>
              <a:gd name="connsiteX2" fmla="*/ 9780102 w 9780102"/>
              <a:gd name="connsiteY2" fmla="*/ 432000 h 432000"/>
              <a:gd name="connsiteX3" fmla="*/ 0 w 9780102"/>
              <a:gd name="connsiteY3" fmla="*/ 43200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80102" h="432000">
                <a:moveTo>
                  <a:pt x="0" y="0"/>
                </a:moveTo>
                <a:lnTo>
                  <a:pt x="9780102" y="0"/>
                </a:lnTo>
                <a:lnTo>
                  <a:pt x="9780102" y="432000"/>
                </a:lnTo>
                <a:lnTo>
                  <a:pt x="0" y="432000"/>
                </a:lnTo>
                <a:close/>
              </a:path>
            </a:pathLst>
          </a:custGeom>
          <a:solidFill>
            <a:srgbClr val="ECEE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7" noProof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4882C03-3270-4A76-9BD8-49989328DC2D}"/>
              </a:ext>
            </a:extLst>
          </p:cNvPr>
          <p:cNvSpPr/>
          <p:nvPr userDrawn="1"/>
        </p:nvSpPr>
        <p:spPr>
          <a:xfrm>
            <a:off x="233466" y="241163"/>
            <a:ext cx="11725073" cy="5727839"/>
          </a:xfrm>
          <a:prstGeom prst="rect">
            <a:avLst/>
          </a:prstGeom>
          <a:solidFill>
            <a:schemeClr val="bg1"/>
          </a:solidFill>
          <a:ln w="38100" cap="sq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6D0504D-4610-4E9E-A2DB-8B701F044BB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Add a reference or disclaimer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5CDFA7-DEA3-4BBE-8D70-0AF654A1E6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A169A417-F3ED-E31F-FAFB-1B2DA0AAA4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78" y="432000"/>
            <a:ext cx="11265449" cy="43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lang="en-US" sz="4267" b="1" kern="1200" baseline="0" noProof="0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0423" rtl="0" eaLnBrk="1" latinLnBrk="0" hangingPunct="1">
              <a:lnSpc>
                <a:spcPct val="90000"/>
              </a:lnSpc>
              <a:spcBef>
                <a:spcPts val="996"/>
              </a:spcBef>
              <a:buFont typeface="Arial" panose="020B0604020202020204" pitchFamily="34" charset="0"/>
              <a:buNone/>
            </a:pPr>
            <a:r>
              <a:rPr lang="en-US" noProof="0"/>
              <a:t>Click to edit page tit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BA5B5533-7C28-EF33-022F-EEFCD1E43C4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82286" y="1498602"/>
            <a:ext cx="11227433" cy="4216940"/>
          </a:xfrm>
        </p:spPr>
        <p:txBody>
          <a:bodyPr/>
          <a:lstStyle>
            <a:lvl1pPr>
              <a:lnSpc>
                <a:spcPct val="100000"/>
              </a:lnSpc>
              <a:spcBef>
                <a:spcPts val="2133"/>
              </a:spcBef>
              <a:defRPr sz="2133"/>
            </a:lvl1pPr>
            <a:lvl2pPr marL="920705" indent="-389448">
              <a:lnSpc>
                <a:spcPct val="100000"/>
              </a:lnSpc>
              <a:spcBef>
                <a:spcPts val="533"/>
              </a:spcBef>
              <a:defRPr sz="2133"/>
            </a:lvl2pPr>
            <a:lvl3pPr>
              <a:lnSpc>
                <a:spcPct val="100000"/>
              </a:lnSpc>
              <a:spcBef>
                <a:spcPts val="533"/>
              </a:spcBef>
              <a:defRPr sz="1867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648DD46-6568-181D-68DC-8C4F15E34E92}"/>
              </a:ext>
            </a:extLst>
          </p:cNvPr>
          <p:cNvSpPr/>
          <p:nvPr userDrawn="1"/>
        </p:nvSpPr>
        <p:spPr>
          <a:xfrm>
            <a:off x="457200" y="1014488"/>
            <a:ext cx="11277600" cy="85344"/>
          </a:xfrm>
          <a:prstGeom prst="rect">
            <a:avLst/>
          </a:prstGeom>
          <a:solidFill>
            <a:srgbClr val="950B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7" noProof="0"/>
          </a:p>
        </p:txBody>
      </p:sp>
    </p:spTree>
    <p:extLst>
      <p:ext uri="{BB962C8B-B14F-4D97-AF65-F5344CB8AC3E}">
        <p14:creationId xmlns:p14="http://schemas.microsoft.com/office/powerpoint/2010/main" val="3017928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CF0DEC-56D0-E939-29FD-F3EDFDA7DB6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BE0B253-0F91-5D03-D711-702B1B74102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48000" y="729000"/>
            <a:ext cx="5400000" cy="540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add conten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78DC17C-940A-210D-2291-33C0B17ACCD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</p:spPr>
        <p:txBody>
          <a:bodyPr tIns="360000" bIns="0"/>
          <a:lstStyle>
            <a:lvl1pPr marL="0" indent="0" algn="ctr">
              <a:buNone/>
              <a:defRPr/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A6F4365-0212-F338-F1AE-FB12196D86BB}"/>
              </a:ext>
            </a:extLst>
          </p:cNvPr>
          <p:cNvSpPr txBox="1"/>
          <p:nvPr userDrawn="1"/>
        </p:nvSpPr>
        <p:spPr>
          <a:xfrm>
            <a:off x="86360" y="6378437"/>
            <a:ext cx="3600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defPPr>
              <a:defRPr lang="en-US"/>
            </a:defPPr>
            <a:lvl1pPr algn="ct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lvl="0"/>
            <a:fld id="{291CC80E-EFDC-436B-981C-14115FD319A2}" type="slidenum">
              <a:rPr lang="en-GB" smtClean="0">
                <a:solidFill>
                  <a:schemeClr val="tx1"/>
                </a:solidFill>
              </a:rPr>
              <a:pPr lvl="0"/>
              <a:t>‹#›</a:t>
            </a:fld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288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Point -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9E244CF-7E48-5D5C-3027-C103177AADA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tIns="288000">
            <a:norm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259C23-B96B-C532-A167-2739C372D8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3429000"/>
            <a:ext cx="11160000" cy="2160000"/>
          </a:xfrm>
        </p:spPr>
        <p:txBody>
          <a:bodyPr anchor="b"/>
          <a:lstStyle>
            <a:lvl1pPr algn="ctr">
              <a:defRPr sz="5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32DE37D-4511-5FDD-1A17-E8CBC92C72E2}"/>
              </a:ext>
            </a:extLst>
          </p:cNvPr>
          <p:cNvSpPr txBox="1"/>
          <p:nvPr userDrawn="1"/>
        </p:nvSpPr>
        <p:spPr>
          <a:xfrm>
            <a:off x="86360" y="6378437"/>
            <a:ext cx="3600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defPPr>
              <a:defRPr lang="en-US"/>
            </a:defPPr>
            <a:lvl1pPr algn="ct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lvl="0"/>
            <a:fld id="{291CC80E-EFDC-436B-981C-14115FD319A2}" type="slidenum">
              <a:rPr lang="en-GB" smtClean="0">
                <a:solidFill>
                  <a:schemeClr val="bg1"/>
                </a:solidFill>
              </a:rPr>
              <a:pPr lvl="0"/>
              <a:t>‹#›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2570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Key Point -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59C23-B96B-C532-A167-2739C372D8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341000"/>
            <a:ext cx="11160000" cy="4176000"/>
          </a:xfrm>
        </p:spPr>
        <p:txBody>
          <a:bodyPr anchor="ctr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9505C25-FB86-BE06-1AC2-1D2F73CE3CB8}"/>
              </a:ext>
            </a:extLst>
          </p:cNvPr>
          <p:cNvSpPr txBox="1"/>
          <p:nvPr userDrawn="1"/>
        </p:nvSpPr>
        <p:spPr>
          <a:xfrm>
            <a:off x="86360" y="6378437"/>
            <a:ext cx="3600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defPPr>
              <a:defRPr lang="en-US"/>
            </a:defPPr>
            <a:lvl1pPr algn="ct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lvl="0"/>
            <a:fld id="{291CC80E-EFDC-436B-981C-14115FD319A2}" type="slidenum">
              <a:rPr lang="en-GB" smtClean="0">
                <a:solidFill>
                  <a:schemeClr val="bg2"/>
                </a:solidFill>
              </a:rPr>
              <a:pPr lvl="0"/>
              <a:t>‹#›</a:t>
            </a:fld>
            <a:endParaRPr lang="en-GB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1305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Key Point - Blue Text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59C23-B96B-C532-A167-2739C372D8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1341000"/>
            <a:ext cx="11160000" cy="4176000"/>
          </a:xfrm>
        </p:spPr>
        <p:txBody>
          <a:bodyPr anchor="ctr"/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53DD24-11FA-AE02-7BAA-955B33F4A3CE}"/>
              </a:ext>
            </a:extLst>
          </p:cNvPr>
          <p:cNvSpPr txBox="1"/>
          <p:nvPr userDrawn="1"/>
        </p:nvSpPr>
        <p:spPr>
          <a:xfrm>
            <a:off x="86360" y="6378437"/>
            <a:ext cx="3600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defPPr>
              <a:defRPr lang="en-US"/>
            </a:defPPr>
            <a:lvl1pPr algn="ct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lvl="0"/>
            <a:fld id="{291CC80E-EFDC-436B-981C-14115FD319A2}" type="slidenum">
              <a:rPr lang="en-GB" smtClean="0">
                <a:solidFill>
                  <a:schemeClr val="tx1"/>
                </a:solidFill>
              </a:rPr>
              <a:pPr lvl="0"/>
              <a:t>‹#›</a:t>
            </a:fld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65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69B132-535D-2F3F-C517-9B0B73004F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15731C-7378-EEFF-4E99-C7B2828EEC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6246000"/>
            <a:ext cx="11160126" cy="504000"/>
          </a:xfrm>
        </p:spPr>
        <p:txBody>
          <a:bodyPr vert="horz" lIns="0" tIns="46800" rIns="0" bIns="46800" rtlCol="0" anchor="b">
            <a:noAutofit/>
          </a:bodyPr>
          <a:lstStyle>
            <a:lvl1pPr marL="0" indent="0">
              <a:buNone/>
              <a:defRPr lang="en-GB" sz="1000" b="0" i="0" kern="1600" spc="-50" baseline="0" smtClean="0">
                <a:latin typeface="Trebuchet MS" panose="020B0603020202020204" pitchFamily="34" charset="0"/>
              </a:defRPr>
            </a:lvl1pPr>
            <a:lvl2pPr>
              <a:defRPr lang="en-GB" b="0" i="1" kern="1600" spc="-50" baseline="0" smtClean="0">
                <a:latin typeface="Roboto" panose="02000000000000000000" pitchFamily="2" charset="0"/>
              </a:defRPr>
            </a:lvl2pPr>
            <a:lvl3pPr>
              <a:defRPr lang="en-GB" b="0" i="0" kern="1600" spc="-50" baseline="0" smtClean="0">
                <a:latin typeface="Trebuchet MS" panose="020B0703020202090204" pitchFamily="34" charset="0"/>
              </a:defRPr>
            </a:lvl3pPr>
            <a:lvl4pPr>
              <a:defRPr lang="en-GB" b="0" i="0" kern="1600" spc="-50" baseline="0" smtClean="0">
                <a:latin typeface="Trebuchet MS" panose="020B0703020202090204" pitchFamily="34" charset="0"/>
              </a:defRPr>
            </a:lvl4pPr>
            <a:lvl5pPr>
              <a:defRPr lang="en-GB" sz="1200" b="0" i="0" kern="1600" spc="-50" baseline="0">
                <a:latin typeface="Trebuchet MS" panose="020B0703020202090204" pitchFamily="34" charset="0"/>
              </a:defRPr>
            </a:lvl5pPr>
          </a:lstStyle>
          <a:p>
            <a:pPr marL="228600" lvl="0" indent="-228600">
              <a:spcAft>
                <a:spcPts val="0"/>
              </a:spcAft>
            </a:pPr>
            <a:r>
              <a:rPr lang="en-GB"/>
              <a:t>Click to add abbreviation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25757229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69B132-535D-2F3F-C517-9B0B73004F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15731C-7378-EEFF-4E99-C7B2828EEC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6246000"/>
            <a:ext cx="11160126" cy="504000"/>
          </a:xfrm>
        </p:spPr>
        <p:txBody>
          <a:bodyPr vert="horz" lIns="0" tIns="46800" rIns="0" bIns="46800" rtlCol="0" anchor="b">
            <a:noAutofit/>
          </a:bodyPr>
          <a:lstStyle>
            <a:lvl1pPr marL="0" indent="0">
              <a:buNone/>
              <a:defRPr lang="en-GB" sz="1000" b="0" i="0" kern="1600" spc="-50" baseline="0" smtClean="0">
                <a:latin typeface="Trebuchet MS" panose="020B0603020202020204" pitchFamily="34" charset="0"/>
              </a:defRPr>
            </a:lvl1pPr>
            <a:lvl2pPr>
              <a:defRPr lang="en-GB" b="0" i="1" kern="1600" spc="-50" baseline="0" smtClean="0">
                <a:latin typeface="Roboto" panose="02000000000000000000" pitchFamily="2" charset="0"/>
              </a:defRPr>
            </a:lvl2pPr>
            <a:lvl3pPr>
              <a:defRPr lang="en-GB" b="0" i="0" kern="1600" spc="-50" baseline="0" smtClean="0">
                <a:latin typeface="Trebuchet MS" panose="020B0703020202090204" pitchFamily="34" charset="0"/>
              </a:defRPr>
            </a:lvl3pPr>
            <a:lvl4pPr>
              <a:defRPr lang="en-GB" b="0" i="0" kern="1600" spc="-50" baseline="0" smtClean="0">
                <a:latin typeface="Trebuchet MS" panose="020B0703020202090204" pitchFamily="34" charset="0"/>
              </a:defRPr>
            </a:lvl4pPr>
            <a:lvl5pPr>
              <a:defRPr lang="en-GB" sz="1200" b="0" i="0" kern="1600" spc="-50" baseline="0">
                <a:latin typeface="Trebuchet MS" panose="020B0703020202090204" pitchFamily="34" charset="0"/>
              </a:defRPr>
            </a:lvl5pPr>
          </a:lstStyle>
          <a:p>
            <a:pPr marL="228600" lvl="0" indent="-228600">
              <a:spcAft>
                <a:spcPts val="0"/>
              </a:spcAft>
            </a:pPr>
            <a:r>
              <a:rPr lang="en-GB"/>
              <a:t>Click to add abbreviation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34398999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30505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RAWBRID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0135D4A-E75D-EB58-7355-B988000C81C5}"/>
              </a:ext>
            </a:extLst>
          </p:cNvPr>
          <p:cNvSpPr txBox="1"/>
          <p:nvPr userDrawn="1"/>
        </p:nvSpPr>
        <p:spPr>
          <a:xfrm>
            <a:off x="515938" y="589915"/>
            <a:ext cx="8831262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6600">
                <a:solidFill>
                  <a:schemeClr val="bg1"/>
                </a:solidFill>
              </a:rPr>
              <a:t>LAYOUTS BEYOND</a:t>
            </a:r>
            <a:br>
              <a:rPr lang="en-GB" sz="6600">
                <a:solidFill>
                  <a:schemeClr val="bg1"/>
                </a:solidFill>
              </a:rPr>
            </a:br>
            <a:r>
              <a:rPr lang="en-GB" sz="6600">
                <a:solidFill>
                  <a:schemeClr val="bg1"/>
                </a:solidFill>
              </a:rPr>
              <a:t>THIS POINT ARE</a:t>
            </a:r>
            <a:br>
              <a:rPr lang="en-GB" sz="6600">
                <a:solidFill>
                  <a:schemeClr val="bg1"/>
                </a:solidFill>
              </a:rPr>
            </a:br>
            <a:r>
              <a:rPr lang="en-GB" sz="6600" b="1">
                <a:solidFill>
                  <a:schemeClr val="bg1"/>
                </a:solidFill>
              </a:rPr>
              <a:t>NOT</a:t>
            </a:r>
            <a:r>
              <a:rPr lang="en-GB" sz="6600">
                <a:solidFill>
                  <a:schemeClr val="bg1"/>
                </a:solidFill>
              </a:rPr>
              <a:t> PART OF THE ORIGINAL TEMPLATE</a:t>
            </a:r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586F2670-0F88-6B21-C6D3-CE58D1A391FE}"/>
              </a:ext>
            </a:extLst>
          </p:cNvPr>
          <p:cNvSpPr/>
          <p:nvPr userDrawn="1"/>
        </p:nvSpPr>
        <p:spPr>
          <a:xfrm rot="10800000">
            <a:off x="2771569" y="5260085"/>
            <a:ext cx="4320000" cy="100800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0F09201-52EF-7FEA-64D9-17586A3A5FC5}"/>
              </a:ext>
            </a:extLst>
          </p:cNvPr>
          <p:cNvSpPr/>
          <p:nvPr userDrawn="1"/>
        </p:nvSpPr>
        <p:spPr>
          <a:xfrm rot="5400000">
            <a:off x="8456752" y="2163407"/>
            <a:ext cx="4320000" cy="100800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43068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E97A9A62-1AA6-47A9-A1A0-54196823744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2002" y="1008004"/>
            <a:ext cx="11339313" cy="490597"/>
          </a:xfrm>
        </p:spPr>
        <p:txBody>
          <a:bodyPr lIns="91440"/>
          <a:lstStyle>
            <a:lvl1pPr marL="0" indent="0">
              <a:buNone/>
              <a:defRPr sz="2133" b="1">
                <a:solidFill>
                  <a:schemeClr val="accent2">
                    <a:lumMod val="75000"/>
                  </a:schemeClr>
                </a:solidFill>
              </a:defRPr>
            </a:lvl1pPr>
            <a:lvl2pPr marL="265540" indent="0">
              <a:buNone/>
              <a:defRPr/>
            </a:lvl2pPr>
            <a:lvl3pPr marL="540564" indent="0">
              <a:buNone/>
              <a:defRPr/>
            </a:lvl3pPr>
            <a:lvl4pPr marL="806104" indent="0">
              <a:buNone/>
              <a:defRPr/>
            </a:lvl4pPr>
            <a:lvl5pPr marL="1071644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8801" y="1512000"/>
            <a:ext cx="11138651" cy="4457000"/>
          </a:xfrm>
        </p:spPr>
        <p:txBody>
          <a:bodyPr/>
          <a:lstStyle>
            <a:lvl1pPr marL="304784" indent="-304784">
              <a:buFont typeface="Arial" panose="020B0604020202020204" pitchFamily="34" charset="0"/>
              <a:buChar char="●"/>
              <a:defRPr>
                <a:solidFill>
                  <a:srgbClr val="54565B"/>
                </a:solidFill>
              </a:defRPr>
            </a:lvl1pPr>
            <a:lvl2pPr marL="609570" indent="-304784">
              <a:buFont typeface="Arial" panose="020B0604020202020204" pitchFamily="34" charset="0"/>
              <a:buChar char="—"/>
              <a:defRPr sz="1600">
                <a:solidFill>
                  <a:srgbClr val="54565B"/>
                </a:solidFill>
              </a:defRPr>
            </a:lvl2pPr>
            <a:lvl3pPr marL="914354" indent="-304784">
              <a:buFont typeface="Arial" panose="020B0604020202020204" pitchFamily="34" charset="0"/>
              <a:buChar char="○"/>
              <a:defRPr sz="1600">
                <a:solidFill>
                  <a:srgbClr val="54565B"/>
                </a:solidFill>
              </a:defRPr>
            </a:lvl3pPr>
            <a:lvl4pPr marL="1447728" indent="-304784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FE0EB3-0FF4-4285-B9D3-90A5751B7BB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1E1E1E"/>
                </a:solidFill>
              </a:defRPr>
            </a:lvl1pPr>
          </a:lstStyle>
          <a:p>
            <a:pPr>
              <a:lnSpc>
                <a:spcPct val="85000"/>
              </a:lnSpc>
              <a:defRPr/>
            </a:pPr>
            <a:r>
              <a:rPr lang="en-US" dirty="0"/>
              <a:t>Notes space: 8-pt Arial Narrow, Black (R30/G30/B30). Align text to bottom. For notes called out in text: Use lowercase, superscripted letters in the text to call out footnotes. </a:t>
            </a:r>
            <a:r>
              <a:rPr lang="en-US" baseline="30000" dirty="0" err="1"/>
              <a:t>a</a:t>
            </a:r>
            <a:r>
              <a:rPr lang="en-US" dirty="0" err="1"/>
              <a:t>Each</a:t>
            </a:r>
            <a:r>
              <a:rPr lang="en-US" dirty="0"/>
              <a:t> individual note takes a terminal dot. Abbreviations: </a:t>
            </a:r>
            <a:r>
              <a:rPr lang="en-US" b="1" dirty="0"/>
              <a:t>BOLD</a:t>
            </a:r>
            <a:r>
              <a:rPr lang="en-US" dirty="0"/>
              <a:t>, definition; </a:t>
            </a:r>
            <a:r>
              <a:rPr lang="en-US" b="1" dirty="0"/>
              <a:t>END</a:t>
            </a:r>
            <a:r>
              <a:rPr lang="en-US" dirty="0"/>
              <a:t>, list of abbreviations with a dot. References: numbered, shorthand citations: 1. [Author Surname] [Authors’ initials], et al. </a:t>
            </a:r>
            <a:r>
              <a:rPr lang="en-US" i="1" dirty="0"/>
              <a:t>Journal Title Abbreviation</a:t>
            </a:r>
            <a:r>
              <a:rPr lang="en-US" dirty="0"/>
              <a:t>. [year];[volume];[truncated page range, </a:t>
            </a:r>
            <a:r>
              <a:rPr lang="en-US" dirty="0" err="1"/>
              <a:t>eg</a:t>
            </a:r>
            <a:r>
              <a:rPr lang="en-US" dirty="0"/>
              <a:t>, XXX-</a:t>
            </a:r>
            <a:r>
              <a:rPr lang="en-US" dirty="0" err="1"/>
              <a:t>yy</a:t>
            </a:r>
            <a:r>
              <a:rPr lang="en-US" dirty="0"/>
              <a:t>].  2. [Author Surname] [Authors’ initials], et al. </a:t>
            </a:r>
            <a:r>
              <a:rPr lang="en-US" i="1" dirty="0"/>
              <a:t>[Journal Title Abbreviation in Italics]</a:t>
            </a:r>
            <a:r>
              <a:rPr lang="en-US" dirty="0"/>
              <a:t>. [year];[volume];[truncated page range, </a:t>
            </a:r>
            <a:r>
              <a:rPr lang="en-US" dirty="0" err="1"/>
              <a:t>eg</a:t>
            </a:r>
            <a:r>
              <a:rPr lang="en-US" dirty="0"/>
              <a:t>, XXX-</a:t>
            </a:r>
            <a:r>
              <a:rPr lang="en-US" dirty="0" err="1"/>
              <a:t>yy</a:t>
            </a:r>
            <a:r>
              <a:rPr lang="en-US" dirty="0"/>
              <a:t>]. Note: all bottom matter can be run as a continuous text block if needed for space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DE0AAD-6FBD-416B-A91A-21F2B737919E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8F82FF90-814A-411C-1A32-0F00FBC0F6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2892" y="-4826"/>
            <a:ext cx="12188952" cy="758952"/>
          </a:xfrm>
          <a:prstGeom prst="rect">
            <a:avLst/>
          </a:prstGeom>
          <a:solidFill>
            <a:srgbClr val="F4F4F4"/>
          </a:solidFill>
        </p:spPr>
        <p:txBody>
          <a:bodyPr vert="horz" lIns="91440" tIns="0" rIns="0" bIns="0" rtlCol="0" anchor="ctr">
            <a:noAutofit/>
          </a:bodyPr>
          <a:lstStyle>
            <a:lvl1pPr marL="411480">
              <a:lnSpc>
                <a:spcPct val="100000"/>
              </a:lnSpc>
              <a:defRPr sz="3600" spc="0" baseline="0">
                <a:solidFill>
                  <a:srgbClr val="203661"/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</p:spTree>
    <p:extLst>
      <p:ext uri="{BB962C8B-B14F-4D97-AF65-F5344CB8AC3E}">
        <p14:creationId xmlns:p14="http://schemas.microsoft.com/office/powerpoint/2010/main" val="404059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4" userDrawn="1">
          <p15:clr>
            <a:srgbClr val="FBAE40"/>
          </p15:clr>
        </p15:guide>
        <p15:guide id="2" pos="4584" userDrawn="1">
          <p15:clr>
            <a:srgbClr val="FBAE40"/>
          </p15:clr>
        </p15:guide>
        <p15:guide id="3" pos="316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B602E0E-7B51-DC76-83D2-44CDFC30DB1B}"/>
              </a:ext>
            </a:extLst>
          </p:cNvPr>
          <p:cNvSpPr>
            <a:spLocks noGrp="1"/>
          </p:cNvSpPr>
          <p:nvPr>
            <p:ph sz="half" idx="34"/>
          </p:nvPr>
        </p:nvSpPr>
        <p:spPr>
          <a:xfrm>
            <a:off x="6299943" y="1512003"/>
            <a:ext cx="5340096" cy="4456999"/>
          </a:xfrm>
        </p:spPr>
        <p:txBody>
          <a:bodyPr/>
          <a:lstStyle>
            <a:lvl1pPr marL="304784" indent="-304784">
              <a:buFont typeface="Arial" panose="020B0604020202020204" pitchFamily="34" charset="0"/>
              <a:buChar char="●"/>
              <a:defRPr>
                <a:solidFill>
                  <a:srgbClr val="54565B"/>
                </a:solidFill>
              </a:defRPr>
            </a:lvl1pPr>
            <a:lvl2pPr marL="609570" indent="-304784">
              <a:buFont typeface="Arial" panose="020B0604020202020204" pitchFamily="34" charset="0"/>
              <a:buChar char="—"/>
              <a:defRPr sz="1600">
                <a:solidFill>
                  <a:srgbClr val="54565B"/>
                </a:solidFill>
              </a:defRPr>
            </a:lvl2pPr>
            <a:lvl3pPr marL="914354" indent="-304784">
              <a:buFont typeface="Arial" panose="020B0604020202020204" pitchFamily="34" charset="0"/>
              <a:buChar char="○"/>
              <a:defRPr sz="1600">
                <a:solidFill>
                  <a:srgbClr val="54565B"/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8800" y="1512003"/>
            <a:ext cx="5345200" cy="4456999"/>
          </a:xfrm>
        </p:spPr>
        <p:txBody>
          <a:bodyPr/>
          <a:lstStyle>
            <a:lvl1pPr marL="304784" indent="-304784">
              <a:buFont typeface="Arial" panose="020B0604020202020204" pitchFamily="34" charset="0"/>
              <a:buChar char="●"/>
              <a:defRPr>
                <a:solidFill>
                  <a:srgbClr val="54565B"/>
                </a:solidFill>
              </a:defRPr>
            </a:lvl1pPr>
            <a:lvl2pPr marL="609570" indent="-304784">
              <a:buFont typeface="Arial" panose="020B0604020202020204" pitchFamily="34" charset="0"/>
              <a:buChar char="—"/>
              <a:defRPr sz="1600">
                <a:solidFill>
                  <a:srgbClr val="54565B"/>
                </a:solidFill>
              </a:defRPr>
            </a:lvl2pPr>
            <a:lvl3pPr marL="914354" indent="-304784">
              <a:buFont typeface="Arial" panose="020B0604020202020204" pitchFamily="34" charset="0"/>
              <a:buChar char="○"/>
              <a:defRPr sz="1600" baseline="0">
                <a:solidFill>
                  <a:srgbClr val="54565B"/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911667">
              <a:lnSpc>
                <a:spcPct val="85000"/>
              </a:lnSpc>
              <a:defRPr/>
            </a:pP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Notes space: 8-pt Arial Narrow, Black (R30/G30/B30). Align text to bottom. For notes called out in text: Use lowercase, superscripted letters in the text to call out footnotes. </a:t>
            </a:r>
            <a:r>
              <a:rPr lang="en-US" baseline="30000">
                <a:solidFill>
                  <a:prstClr val="black">
                    <a:lumMod val="75000"/>
                    <a:lumOff val="25000"/>
                  </a:prstClr>
                </a:solidFill>
              </a:rPr>
              <a:t>a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Each individual note takes a terminal dot. Abbreviations: </a:t>
            </a:r>
            <a:r>
              <a:rPr lang="en-US" b="1">
                <a:solidFill>
                  <a:prstClr val="black">
                    <a:lumMod val="75000"/>
                    <a:lumOff val="25000"/>
                  </a:prstClr>
                </a:solidFill>
              </a:rPr>
              <a:t>BOLD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, definition; </a:t>
            </a:r>
            <a:r>
              <a:rPr lang="en-US" b="1">
                <a:solidFill>
                  <a:prstClr val="black">
                    <a:lumMod val="75000"/>
                    <a:lumOff val="25000"/>
                  </a:prstClr>
                </a:solidFill>
              </a:rPr>
              <a:t>END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, list of abbreviations with a dot. References: numbered, shorthand citations: 1. [Author Surname] [Authors’ initials], et al. </a:t>
            </a:r>
            <a:r>
              <a:rPr lang="en-US" i="1">
                <a:solidFill>
                  <a:prstClr val="black">
                    <a:lumMod val="75000"/>
                    <a:lumOff val="25000"/>
                  </a:prstClr>
                </a:solidFill>
              </a:rPr>
              <a:t>Journal Title Abbreviation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. [year];[volume];[truncated page range, eg, XXX-yy].  2. [Author Surname] [Authors’ initials], et al. </a:t>
            </a:r>
            <a:r>
              <a:rPr lang="en-US" i="1">
                <a:solidFill>
                  <a:prstClr val="black">
                    <a:lumMod val="75000"/>
                    <a:lumOff val="25000"/>
                  </a:prstClr>
                </a:solidFill>
              </a:rPr>
              <a:t>[Journal Title Abbreviation in Italics]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. [year];[volume];[truncated page range, eg, XXX-yy]. Note: all bottom matter can be run as a continuous text block if needed for space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CFC6C-1D8B-46C9-B0F7-A8BD88D8AB46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CD7E5898-ECF5-77E4-5762-0873B7BF622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2002" y="1008003"/>
            <a:ext cx="11339313" cy="360000"/>
          </a:xfrm>
        </p:spPr>
        <p:txBody>
          <a:bodyPr lIns="91440"/>
          <a:lstStyle>
            <a:lvl1pPr marL="0" indent="0">
              <a:buNone/>
              <a:defRPr sz="2133" b="1">
                <a:solidFill>
                  <a:schemeClr val="accent2">
                    <a:lumMod val="75000"/>
                  </a:schemeClr>
                </a:solidFill>
              </a:defRPr>
            </a:lvl1pPr>
            <a:lvl2pPr marL="265540" indent="0">
              <a:buNone/>
              <a:defRPr/>
            </a:lvl2pPr>
            <a:lvl3pPr marL="540564" indent="0">
              <a:buNone/>
              <a:defRPr/>
            </a:lvl3pPr>
            <a:lvl4pPr marL="806104" indent="0">
              <a:buNone/>
              <a:defRPr/>
            </a:lvl4pPr>
            <a:lvl5pPr marL="1071644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7602D594-6FC6-75DF-E5BF-9AEF8A38D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2892" y="-4826"/>
            <a:ext cx="12188952" cy="758952"/>
          </a:xfrm>
          <a:prstGeom prst="rect">
            <a:avLst/>
          </a:prstGeom>
          <a:solidFill>
            <a:srgbClr val="F4F4F4"/>
          </a:solidFill>
        </p:spPr>
        <p:txBody>
          <a:bodyPr vert="horz" lIns="91440" tIns="0" rIns="0" bIns="0" rtlCol="0" anchor="ctr">
            <a:noAutofit/>
          </a:bodyPr>
          <a:lstStyle>
            <a:lvl1pPr marL="411480">
              <a:lnSpc>
                <a:spcPct val="100000"/>
              </a:lnSpc>
              <a:defRPr sz="3600" spc="0" baseline="0">
                <a:solidFill>
                  <a:srgbClr val="203661"/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</p:spTree>
    <p:extLst>
      <p:ext uri="{BB962C8B-B14F-4D97-AF65-F5344CB8AC3E}">
        <p14:creationId xmlns:p14="http://schemas.microsoft.com/office/powerpoint/2010/main" val="4037929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Lef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8802" y="1512000"/>
            <a:ext cx="7234964" cy="4457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4BCA97-F31B-451D-82F8-6E000DF2118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1667">
              <a:lnSpc>
                <a:spcPct val="85000"/>
              </a:lnSpc>
              <a:defRPr/>
            </a:pP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Notes space: 8-pt Arial Narrow, Black (R30/G30/B30). Align text to bottom. For notes called out in text: Use lowercase, superscripted letters in the text to call out footnotes. </a:t>
            </a:r>
            <a:r>
              <a:rPr lang="en-US" baseline="30000">
                <a:solidFill>
                  <a:prstClr val="black">
                    <a:lumMod val="75000"/>
                    <a:lumOff val="25000"/>
                  </a:prstClr>
                </a:solidFill>
              </a:rPr>
              <a:t>a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Each individual note takes a terminal dot. Abbreviations: </a:t>
            </a:r>
            <a:r>
              <a:rPr lang="en-US" b="1">
                <a:solidFill>
                  <a:prstClr val="black">
                    <a:lumMod val="75000"/>
                    <a:lumOff val="25000"/>
                  </a:prstClr>
                </a:solidFill>
              </a:rPr>
              <a:t>BOLD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, definition; </a:t>
            </a:r>
            <a:r>
              <a:rPr lang="en-US" b="1">
                <a:solidFill>
                  <a:prstClr val="black">
                    <a:lumMod val="75000"/>
                    <a:lumOff val="25000"/>
                  </a:prstClr>
                </a:solidFill>
              </a:rPr>
              <a:t>END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, list of abbreviations with a dot. References: numbered, shorthand citations: 1. [Author Surname] [Authors’ initials], et al. </a:t>
            </a:r>
            <a:r>
              <a:rPr lang="en-US" i="1">
                <a:solidFill>
                  <a:prstClr val="black">
                    <a:lumMod val="75000"/>
                    <a:lumOff val="25000"/>
                  </a:prstClr>
                </a:solidFill>
              </a:rPr>
              <a:t>Journal Title Abbreviation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. [year];[volume];[truncated page range, eg, XXX-yy].  2. [Author Surname] [Authors’ initials], et al. </a:t>
            </a:r>
            <a:r>
              <a:rPr lang="en-US" i="1">
                <a:solidFill>
                  <a:prstClr val="black">
                    <a:lumMod val="75000"/>
                    <a:lumOff val="25000"/>
                  </a:prstClr>
                </a:solidFill>
              </a:rPr>
              <a:t>[Journal Title Abbreviation in Italics]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. [year];[volume];[truncated page range, eg, XXX-yy]. Note: all bottom matter can be run as a continuous text block if needed for space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17AAC4-A657-4D75-A527-0307AFF2B17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2871E61-D3C0-22F2-5FDF-B54CE384BF11}"/>
              </a:ext>
            </a:extLst>
          </p:cNvPr>
          <p:cNvSpPr>
            <a:spLocks noGrp="1"/>
          </p:cNvSpPr>
          <p:nvPr>
            <p:ph idx="33"/>
          </p:nvPr>
        </p:nvSpPr>
        <p:spPr>
          <a:xfrm>
            <a:off x="8171551" y="1512000"/>
            <a:ext cx="3599764" cy="4457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0D6092F4-8B63-2A16-0D1C-02636366A40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2002" y="1008003"/>
            <a:ext cx="11339313" cy="360000"/>
          </a:xfrm>
        </p:spPr>
        <p:txBody>
          <a:bodyPr lIns="91440"/>
          <a:lstStyle>
            <a:lvl1pPr marL="0" indent="0">
              <a:buNone/>
              <a:defRPr sz="2133" b="1">
                <a:solidFill>
                  <a:schemeClr val="accent2">
                    <a:lumMod val="75000"/>
                  </a:schemeClr>
                </a:solidFill>
              </a:defRPr>
            </a:lvl1pPr>
            <a:lvl2pPr marL="265540" indent="0">
              <a:buNone/>
              <a:defRPr/>
            </a:lvl2pPr>
            <a:lvl3pPr marL="540564" indent="0">
              <a:buNone/>
              <a:defRPr/>
            </a:lvl3pPr>
            <a:lvl4pPr marL="806104" indent="0">
              <a:buNone/>
              <a:defRPr/>
            </a:lvl4pPr>
            <a:lvl5pPr marL="1071644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A7BFF991-8CB0-47C4-6B6A-892B6D7BE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2892" y="-4826"/>
            <a:ext cx="12188952" cy="758952"/>
          </a:xfrm>
          <a:prstGeom prst="rect">
            <a:avLst/>
          </a:prstGeom>
          <a:solidFill>
            <a:srgbClr val="F4F4F4"/>
          </a:solidFill>
        </p:spPr>
        <p:txBody>
          <a:bodyPr vert="horz" lIns="91440" tIns="0" rIns="0" bIns="0" rtlCol="0" anchor="ctr">
            <a:noAutofit/>
          </a:bodyPr>
          <a:lstStyle>
            <a:lvl1pPr marL="411480">
              <a:lnSpc>
                <a:spcPct val="100000"/>
              </a:lnSpc>
              <a:defRPr sz="3600" spc="0" baseline="0">
                <a:solidFill>
                  <a:srgbClr val="203661"/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</p:spTree>
    <p:extLst>
      <p:ext uri="{BB962C8B-B14F-4D97-AF65-F5344CB8AC3E}">
        <p14:creationId xmlns:p14="http://schemas.microsoft.com/office/powerpoint/2010/main" val="7487667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CBB1ADD-180F-2452-782D-EEF8099A3151}"/>
              </a:ext>
            </a:extLst>
          </p:cNvPr>
          <p:cNvSpPr>
            <a:spLocks noGrp="1"/>
          </p:cNvSpPr>
          <p:nvPr>
            <p:ph sz="half" idx="34"/>
          </p:nvPr>
        </p:nvSpPr>
        <p:spPr>
          <a:xfrm>
            <a:off x="6299944" y="2290893"/>
            <a:ext cx="5472000" cy="3376963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3" name="Comparison Left Placeholder 1">
            <a:extLst>
              <a:ext uri="{FF2B5EF4-FFF2-40B4-BE49-F238E27FC236}">
                <a16:creationId xmlns:a16="http://schemas.microsoft.com/office/drawing/2014/main" id="{9322B50D-6A7D-41C6-BA57-613BC231DF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8800" y="1783547"/>
            <a:ext cx="5345200" cy="360000"/>
          </a:xfrm>
        </p:spPr>
        <p:txBody>
          <a:bodyPr anchor="ctr"/>
          <a:lstStyle>
            <a:lvl1pPr marL="0" indent="0">
              <a:buNone/>
              <a:defRPr sz="2133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5211" indent="0">
              <a:buNone/>
              <a:defRPr sz="1992" b="1"/>
            </a:lvl2pPr>
            <a:lvl3pPr marL="910423" indent="0">
              <a:buNone/>
              <a:defRPr sz="1792" b="1"/>
            </a:lvl3pPr>
            <a:lvl4pPr marL="1365635" indent="0">
              <a:buNone/>
              <a:defRPr sz="1593" b="1"/>
            </a:lvl4pPr>
            <a:lvl5pPr marL="1820845" indent="0">
              <a:buNone/>
              <a:defRPr sz="1593" b="1"/>
            </a:lvl5pPr>
            <a:lvl6pPr marL="2276058" indent="0">
              <a:buNone/>
              <a:defRPr sz="1593" b="1"/>
            </a:lvl6pPr>
            <a:lvl7pPr marL="2731268" indent="0">
              <a:buNone/>
              <a:defRPr sz="1593" b="1"/>
            </a:lvl7pPr>
            <a:lvl8pPr marL="3186479" indent="0">
              <a:buNone/>
              <a:defRPr sz="1593" b="1"/>
            </a:lvl8pPr>
            <a:lvl9pPr marL="3641690" indent="0">
              <a:buNone/>
              <a:defRPr sz="1593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FD584DA-F775-47B8-A1D7-6556AD5FCB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8800" y="2290893"/>
            <a:ext cx="5345200" cy="3376963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Comparison Left Placeholder 2">
            <a:extLst>
              <a:ext uri="{FF2B5EF4-FFF2-40B4-BE49-F238E27FC236}">
                <a16:creationId xmlns:a16="http://schemas.microsoft.com/office/drawing/2014/main" id="{78A963F8-6F6E-440E-B3B3-DDE13C083A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00001" y="1784073"/>
            <a:ext cx="5472000" cy="358775"/>
          </a:xfrm>
        </p:spPr>
        <p:txBody>
          <a:bodyPr anchor="ctr"/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6B8F99-FAB0-4B33-87ED-9FF46D11A90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911667">
              <a:lnSpc>
                <a:spcPct val="85000"/>
              </a:lnSpc>
              <a:defRPr/>
            </a:pP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Notes space: 8-pt Arial Narrow, Black (R30/G30/B30). Align text to bottom. For notes called out in text: Use lowercase, superscripted letters in the text to call out footnotes. </a:t>
            </a:r>
            <a:r>
              <a:rPr lang="en-US" baseline="30000">
                <a:solidFill>
                  <a:prstClr val="black">
                    <a:lumMod val="75000"/>
                    <a:lumOff val="25000"/>
                  </a:prstClr>
                </a:solidFill>
              </a:rPr>
              <a:t>a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Each individual note takes a terminal dot. Abbreviations: </a:t>
            </a:r>
            <a:r>
              <a:rPr lang="en-US" b="1">
                <a:solidFill>
                  <a:prstClr val="black">
                    <a:lumMod val="75000"/>
                    <a:lumOff val="25000"/>
                  </a:prstClr>
                </a:solidFill>
              </a:rPr>
              <a:t>BOLD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, definition; </a:t>
            </a:r>
            <a:r>
              <a:rPr lang="en-US" b="1">
                <a:solidFill>
                  <a:prstClr val="black">
                    <a:lumMod val="75000"/>
                    <a:lumOff val="25000"/>
                  </a:prstClr>
                </a:solidFill>
              </a:rPr>
              <a:t>END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, list of abbreviations with a dot. References: numbered, shorthand citations: 1. [Author Surname] [Authors’ initials], et al. </a:t>
            </a:r>
            <a:r>
              <a:rPr lang="en-US" i="1">
                <a:solidFill>
                  <a:prstClr val="black">
                    <a:lumMod val="75000"/>
                    <a:lumOff val="25000"/>
                  </a:prstClr>
                </a:solidFill>
              </a:rPr>
              <a:t>Journal Title Abbreviation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. [year];[volume];[truncated page range, eg, XXX-yy].  2. [Author Surname] [Authors’ initials], et al. </a:t>
            </a:r>
            <a:r>
              <a:rPr lang="en-US" i="1">
                <a:solidFill>
                  <a:prstClr val="black">
                    <a:lumMod val="75000"/>
                    <a:lumOff val="25000"/>
                  </a:prstClr>
                </a:solidFill>
              </a:rPr>
              <a:t>[Journal Title Abbreviation in Italics]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. [year];[volume];[truncated page range, eg, XXX-yy]. Note: all bottom matter can be run as a continuous text block if needed for space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733E7E-50D2-4F6C-9DF2-CF4C98C4B847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C4A969C0-AAD3-F177-6222-B6985E0C7B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2002" y="1008003"/>
            <a:ext cx="11339313" cy="360000"/>
          </a:xfrm>
        </p:spPr>
        <p:txBody>
          <a:bodyPr lIns="91440"/>
          <a:lstStyle>
            <a:lvl1pPr marL="0" indent="0">
              <a:buNone/>
              <a:defRPr sz="2133" b="1">
                <a:solidFill>
                  <a:schemeClr val="accent2">
                    <a:lumMod val="75000"/>
                  </a:schemeClr>
                </a:solidFill>
              </a:defRPr>
            </a:lvl1pPr>
            <a:lvl2pPr marL="265540" indent="0">
              <a:buNone/>
              <a:defRPr/>
            </a:lvl2pPr>
            <a:lvl3pPr marL="540564" indent="0">
              <a:buNone/>
              <a:defRPr/>
            </a:lvl3pPr>
            <a:lvl4pPr marL="806104" indent="0">
              <a:buNone/>
              <a:defRPr/>
            </a:lvl4pPr>
            <a:lvl5pPr marL="1071644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A2B206EE-A4BC-7EC9-9475-8F9738C1C6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2892" y="-4826"/>
            <a:ext cx="12188952" cy="758952"/>
          </a:xfrm>
          <a:prstGeom prst="rect">
            <a:avLst/>
          </a:prstGeom>
          <a:solidFill>
            <a:srgbClr val="F4F4F4"/>
          </a:solidFill>
        </p:spPr>
        <p:txBody>
          <a:bodyPr vert="horz" lIns="91440" tIns="0" rIns="0" bIns="0" rtlCol="0" anchor="ctr">
            <a:noAutofit/>
          </a:bodyPr>
          <a:lstStyle>
            <a:lvl1pPr marL="411480">
              <a:lnSpc>
                <a:spcPct val="100000"/>
              </a:lnSpc>
              <a:defRPr sz="3600" spc="0" baseline="0">
                <a:solidFill>
                  <a:srgbClr val="203661"/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</p:spTree>
    <p:extLst>
      <p:ext uri="{BB962C8B-B14F-4D97-AF65-F5344CB8AC3E}">
        <p14:creationId xmlns:p14="http://schemas.microsoft.com/office/powerpoint/2010/main" val="5200270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CCB8C2-B6A2-4C69-8D3A-57420A034B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11667">
              <a:lnSpc>
                <a:spcPct val="85000"/>
              </a:lnSpc>
              <a:defRPr/>
            </a:pP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Notes space: 8-pt Arial Narrow, Black (R30/G30/B30). Align text to bottom. For notes called out in text: Use lowercase, superscripted letters in the text to call out footnotes. </a:t>
            </a:r>
            <a:r>
              <a:rPr lang="en-US" baseline="30000">
                <a:solidFill>
                  <a:prstClr val="black">
                    <a:lumMod val="75000"/>
                    <a:lumOff val="25000"/>
                  </a:prstClr>
                </a:solidFill>
              </a:rPr>
              <a:t>a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Each individual note takes a terminal dot. Abbreviations: </a:t>
            </a:r>
            <a:r>
              <a:rPr lang="en-US" b="1">
                <a:solidFill>
                  <a:prstClr val="black">
                    <a:lumMod val="75000"/>
                    <a:lumOff val="25000"/>
                  </a:prstClr>
                </a:solidFill>
              </a:rPr>
              <a:t>BOLD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, definition; </a:t>
            </a:r>
            <a:r>
              <a:rPr lang="en-US" b="1">
                <a:solidFill>
                  <a:prstClr val="black">
                    <a:lumMod val="75000"/>
                    <a:lumOff val="25000"/>
                  </a:prstClr>
                </a:solidFill>
              </a:rPr>
              <a:t>END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, list of abbreviations with a dot. References: numbered, shorthand citations: 1. [Author Surname] [Authors’ initials], et al. </a:t>
            </a:r>
            <a:r>
              <a:rPr lang="en-US" i="1">
                <a:solidFill>
                  <a:prstClr val="black">
                    <a:lumMod val="75000"/>
                    <a:lumOff val="25000"/>
                  </a:prstClr>
                </a:solidFill>
              </a:rPr>
              <a:t>Journal Title Abbreviation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. [year];[volume];[truncated page range, eg, XXX-yy].  2. [Author Surname] [Authors’ initials], et al. </a:t>
            </a:r>
            <a:r>
              <a:rPr lang="en-US" i="1">
                <a:solidFill>
                  <a:prstClr val="black">
                    <a:lumMod val="75000"/>
                    <a:lumOff val="25000"/>
                  </a:prstClr>
                </a:solidFill>
              </a:rPr>
              <a:t>[Journal Title Abbreviation in Italics]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. [year];[volume];[truncated page range, eg, XXX-yy]. Note: all bottom matter can be run as a continuous text block if needed for spac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3CF994-8B2C-443F-B695-7378DD360DA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E54945BB-4C82-70E5-43F1-0B4092C2CD3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2002" y="1008003"/>
            <a:ext cx="11339313" cy="360000"/>
          </a:xfrm>
        </p:spPr>
        <p:txBody>
          <a:bodyPr lIns="91440"/>
          <a:lstStyle>
            <a:lvl1pPr marL="0" indent="0">
              <a:buNone/>
              <a:defRPr sz="2133" b="1">
                <a:solidFill>
                  <a:schemeClr val="accent2">
                    <a:lumMod val="75000"/>
                  </a:schemeClr>
                </a:solidFill>
              </a:defRPr>
            </a:lvl1pPr>
            <a:lvl2pPr marL="265540" indent="0">
              <a:buNone/>
              <a:defRPr/>
            </a:lvl2pPr>
            <a:lvl3pPr marL="540564" indent="0">
              <a:buNone/>
              <a:defRPr/>
            </a:lvl3pPr>
            <a:lvl4pPr marL="806104" indent="0">
              <a:buNone/>
              <a:defRPr/>
            </a:lvl4pPr>
            <a:lvl5pPr marL="1071644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561F76F0-D06D-DB51-7EBD-12DC32C29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2892" y="-4826"/>
            <a:ext cx="12188952" cy="758952"/>
          </a:xfrm>
          <a:prstGeom prst="rect">
            <a:avLst/>
          </a:prstGeom>
          <a:solidFill>
            <a:srgbClr val="F4F4F4"/>
          </a:solidFill>
        </p:spPr>
        <p:txBody>
          <a:bodyPr vert="horz" lIns="91440" tIns="0" rIns="0" bIns="0" rtlCol="0" anchor="ctr">
            <a:noAutofit/>
          </a:bodyPr>
          <a:lstStyle>
            <a:lvl1pPr marL="411480">
              <a:lnSpc>
                <a:spcPct val="100000"/>
              </a:lnSpc>
              <a:defRPr sz="3600" spc="0" baseline="0">
                <a:solidFill>
                  <a:srgbClr val="203661"/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</p:spTree>
    <p:extLst>
      <p:ext uri="{BB962C8B-B14F-4D97-AF65-F5344CB8AC3E}">
        <p14:creationId xmlns:p14="http://schemas.microsoft.com/office/powerpoint/2010/main" val="24922373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6D0504D-4610-4E9E-A2DB-8B701F044BB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11667">
              <a:lnSpc>
                <a:spcPct val="85000"/>
              </a:lnSpc>
              <a:defRPr/>
            </a:pP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Notes space: 8-pt Arial Narrow, Black (R30/G30/B30). Align text to bottom. For notes called out in text: Use lowercase, superscripted letters in the text to call out footnotes. </a:t>
            </a:r>
            <a:r>
              <a:rPr lang="en-US" baseline="30000">
                <a:solidFill>
                  <a:prstClr val="black">
                    <a:lumMod val="75000"/>
                    <a:lumOff val="25000"/>
                  </a:prstClr>
                </a:solidFill>
              </a:rPr>
              <a:t>a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Each individual note takes a terminal dot. Abbreviations: </a:t>
            </a:r>
            <a:r>
              <a:rPr lang="en-US" b="1">
                <a:solidFill>
                  <a:prstClr val="black">
                    <a:lumMod val="75000"/>
                    <a:lumOff val="25000"/>
                  </a:prstClr>
                </a:solidFill>
              </a:rPr>
              <a:t>BOLD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, definition; </a:t>
            </a:r>
            <a:r>
              <a:rPr lang="en-US" b="1">
                <a:solidFill>
                  <a:prstClr val="black">
                    <a:lumMod val="75000"/>
                    <a:lumOff val="25000"/>
                  </a:prstClr>
                </a:solidFill>
              </a:rPr>
              <a:t>END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, list of abbreviations with a dot. References: numbered, shorthand citations: 1. [Author Surname] [Authors’ initials], et al. </a:t>
            </a:r>
            <a:r>
              <a:rPr lang="en-US" i="1">
                <a:solidFill>
                  <a:prstClr val="black">
                    <a:lumMod val="75000"/>
                    <a:lumOff val="25000"/>
                  </a:prstClr>
                </a:solidFill>
              </a:rPr>
              <a:t>Journal Title Abbreviation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. [year];[volume];[truncated page range, eg, XXX-yy].  2. [Author Surname] [Authors’ initials], et al. </a:t>
            </a:r>
            <a:r>
              <a:rPr lang="en-US" i="1">
                <a:solidFill>
                  <a:prstClr val="black">
                    <a:lumMod val="75000"/>
                    <a:lumOff val="25000"/>
                  </a:prstClr>
                </a:solidFill>
              </a:rPr>
              <a:t>[Journal Title Abbreviation in Italics]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. [year];[volume];[truncated page range, eg, XXX-yy]. Note: all bottom matter can be run as a continuous text block if needed for space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5CDFA7-DEA3-4BBE-8D70-0AF654A1E6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BC200127-9F14-3983-AA05-16C5C01FE9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2892" y="-4826"/>
            <a:ext cx="12188952" cy="758952"/>
          </a:xfrm>
          <a:prstGeom prst="rect">
            <a:avLst/>
          </a:prstGeom>
          <a:solidFill>
            <a:srgbClr val="F4F4F4"/>
          </a:solidFill>
        </p:spPr>
        <p:txBody>
          <a:bodyPr vert="horz" lIns="91440" tIns="0" rIns="0" bIns="0" rtlCol="0" anchor="ctr">
            <a:noAutofit/>
          </a:bodyPr>
          <a:lstStyle>
            <a:lvl1pPr marL="411480">
              <a:lnSpc>
                <a:spcPct val="100000"/>
              </a:lnSpc>
              <a:defRPr sz="3600" spc="0" baseline="0">
                <a:solidFill>
                  <a:srgbClr val="203661"/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</p:spTree>
    <p:extLst>
      <p:ext uri="{BB962C8B-B14F-4D97-AF65-F5344CB8AC3E}">
        <p14:creationId xmlns:p14="http://schemas.microsoft.com/office/powerpoint/2010/main" val="7375800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6D0504D-4610-4E9E-A2DB-8B701F044BB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11667">
              <a:lnSpc>
                <a:spcPct val="85000"/>
              </a:lnSpc>
              <a:defRPr/>
            </a:pP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Notes space: 8-pt Arial Narrow, Black (R30/G30/B30). Align text to bottom. For notes called out in text: Use lowercase, superscripted letters in the text to call out footnotes. </a:t>
            </a:r>
            <a:r>
              <a:rPr lang="en-US" baseline="30000" err="1">
                <a:solidFill>
                  <a:prstClr val="black">
                    <a:lumMod val="75000"/>
                    <a:lumOff val="25000"/>
                  </a:prstClr>
                </a:solidFill>
              </a:rPr>
              <a:t>a</a:t>
            </a:r>
            <a:r>
              <a:rPr lang="en-US" err="1">
                <a:solidFill>
                  <a:prstClr val="black">
                    <a:lumMod val="75000"/>
                    <a:lumOff val="25000"/>
                  </a:prstClr>
                </a:solidFill>
              </a:rPr>
              <a:t>Each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 individual note takes a terminal dot. Abbreviations: </a:t>
            </a:r>
            <a:r>
              <a:rPr lang="en-US" b="1">
                <a:solidFill>
                  <a:prstClr val="black">
                    <a:lumMod val="75000"/>
                    <a:lumOff val="25000"/>
                  </a:prstClr>
                </a:solidFill>
              </a:rPr>
              <a:t>BOLD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, definition; </a:t>
            </a:r>
            <a:r>
              <a:rPr lang="en-US" b="1">
                <a:solidFill>
                  <a:prstClr val="black">
                    <a:lumMod val="75000"/>
                    <a:lumOff val="25000"/>
                  </a:prstClr>
                </a:solidFill>
              </a:rPr>
              <a:t>END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, list of abbreviations with a dot. References: numbered, shorthand citations: 1. [Author Surname] [Authors’ initials], et al. </a:t>
            </a:r>
            <a:r>
              <a:rPr lang="en-US" i="1">
                <a:solidFill>
                  <a:prstClr val="black">
                    <a:lumMod val="75000"/>
                    <a:lumOff val="25000"/>
                  </a:prstClr>
                </a:solidFill>
              </a:rPr>
              <a:t>Journal Title Abbreviation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. [year];[volume];[truncated page range, eg, XXX-</a:t>
            </a:r>
            <a:r>
              <a:rPr lang="en-US" err="1">
                <a:solidFill>
                  <a:prstClr val="black">
                    <a:lumMod val="75000"/>
                    <a:lumOff val="25000"/>
                  </a:prstClr>
                </a:solidFill>
              </a:rPr>
              <a:t>yy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].  2. [Author Surname] [Authors’ initials], et al. </a:t>
            </a:r>
            <a:r>
              <a:rPr lang="en-US" i="1">
                <a:solidFill>
                  <a:prstClr val="black">
                    <a:lumMod val="75000"/>
                    <a:lumOff val="25000"/>
                  </a:prstClr>
                </a:solidFill>
              </a:rPr>
              <a:t>[Journal Title Abbreviation in Italics]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. [year];[volume];[truncated page range, eg, XXX-</a:t>
            </a:r>
            <a:r>
              <a:rPr lang="en-US" err="1">
                <a:solidFill>
                  <a:prstClr val="black">
                    <a:lumMod val="75000"/>
                    <a:lumOff val="25000"/>
                  </a:prstClr>
                </a:solidFill>
              </a:rPr>
              <a:t>yy</a:t>
            </a:r>
            <a:r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t>]. Note: all bottom matter can be run as a continuous text block if needed for space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5CDFA7-DEA3-4BBE-8D70-0AF654A1E6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C116C735-EE9F-CA66-6416-C1DC53683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2892" y="-4826"/>
            <a:ext cx="12188952" cy="758952"/>
          </a:xfrm>
          <a:prstGeom prst="rect">
            <a:avLst/>
          </a:prstGeom>
          <a:solidFill>
            <a:srgbClr val="F4F4F4"/>
          </a:solidFill>
        </p:spPr>
        <p:txBody>
          <a:bodyPr vert="horz" lIns="91440" tIns="0" rIns="0" bIns="0" rtlCol="0" anchor="ctr">
            <a:noAutofit/>
          </a:bodyPr>
          <a:lstStyle>
            <a:lvl1pPr marL="411480">
              <a:lnSpc>
                <a:spcPct val="100000"/>
              </a:lnSpc>
              <a:defRPr sz="3600" spc="0" baseline="0">
                <a:solidFill>
                  <a:srgbClr val="203661"/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</p:spTree>
    <p:extLst>
      <p:ext uri="{BB962C8B-B14F-4D97-AF65-F5344CB8AC3E}">
        <p14:creationId xmlns:p14="http://schemas.microsoft.com/office/powerpoint/2010/main" val="40982977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EB0D177-9AA4-42F4-9CD7-CD206217CA6D}"/>
              </a:ext>
            </a:extLst>
          </p:cNvPr>
          <p:cNvSpPr/>
          <p:nvPr userDrawn="1"/>
        </p:nvSpPr>
        <p:spPr>
          <a:xfrm>
            <a:off x="9780104" y="6371356"/>
            <a:ext cx="1979897" cy="4319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7" noProof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2B9A6A4-83D0-40B1-8B15-964C84BF0705}"/>
              </a:ext>
            </a:extLst>
          </p:cNvPr>
          <p:cNvSpPr/>
          <p:nvPr userDrawn="1"/>
        </p:nvSpPr>
        <p:spPr>
          <a:xfrm>
            <a:off x="1" y="6243460"/>
            <a:ext cx="12188952" cy="609600"/>
          </a:xfrm>
          <a:custGeom>
            <a:avLst/>
            <a:gdLst>
              <a:gd name="connsiteX0" fmla="*/ 0 w 9780102"/>
              <a:gd name="connsiteY0" fmla="*/ 0 h 432000"/>
              <a:gd name="connsiteX1" fmla="*/ 9780102 w 9780102"/>
              <a:gd name="connsiteY1" fmla="*/ 0 h 432000"/>
              <a:gd name="connsiteX2" fmla="*/ 9780102 w 9780102"/>
              <a:gd name="connsiteY2" fmla="*/ 432000 h 432000"/>
              <a:gd name="connsiteX3" fmla="*/ 0 w 9780102"/>
              <a:gd name="connsiteY3" fmla="*/ 43200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80102" h="432000">
                <a:moveTo>
                  <a:pt x="0" y="0"/>
                </a:moveTo>
                <a:lnTo>
                  <a:pt x="9780102" y="0"/>
                </a:lnTo>
                <a:lnTo>
                  <a:pt x="9780102" y="432000"/>
                </a:lnTo>
                <a:lnTo>
                  <a:pt x="0" y="432000"/>
                </a:lnTo>
                <a:close/>
              </a:path>
            </a:pathLst>
          </a:cu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7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3AB95C-7DD4-4796-80E4-1B7466A2A0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8799" y="1512000"/>
            <a:ext cx="11138652" cy="4457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79C91-B77F-4273-9A27-A3535FB889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2001" y="6356127"/>
            <a:ext cx="11265451" cy="29506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Add a reference or disclaim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CA3099-A94F-4C3E-BC29-780EDD38F7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291610"/>
            <a:ext cx="432000" cy="43257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195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fld id="{19B51A1E-902D-48AF-9020-955120F399B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947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2" r:id="rId1"/>
    <p:sldLayoutId id="2147484073" r:id="rId2"/>
    <p:sldLayoutId id="2147484074" r:id="rId3"/>
    <p:sldLayoutId id="2147484075" r:id="rId4"/>
    <p:sldLayoutId id="2147484078" r:id="rId5"/>
    <p:sldLayoutId id="2147484079" r:id="rId6"/>
    <p:sldLayoutId id="2147484080" r:id="rId7"/>
    <p:sldLayoutId id="2147484081" r:id="rId8"/>
    <p:sldLayoutId id="2147484082" r:id="rId9"/>
    <p:sldLayoutId id="2147484083" r:id="rId10"/>
  </p:sldLayoutIdLst>
  <p:hf hdr="0" dt="0"/>
  <p:txStyles>
    <p:titleStyle>
      <a:lvl1pPr algn="l" defTabSz="910423" rtl="0" eaLnBrk="1" latinLnBrk="0" hangingPunct="1">
        <a:lnSpc>
          <a:spcPct val="90000"/>
        </a:lnSpc>
        <a:spcBef>
          <a:spcPct val="0"/>
        </a:spcBef>
        <a:buNone/>
        <a:defRPr sz="2933" b="1" kern="1200" spc="-151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304784" indent="-304784" algn="l" defTabSz="910423" rtl="0" eaLnBrk="1" latinLnBrk="0" hangingPunct="1">
        <a:lnSpc>
          <a:spcPct val="100000"/>
        </a:lnSpc>
        <a:spcBef>
          <a:spcPts val="996"/>
        </a:spcBef>
        <a:buFont typeface="Arial" panose="020B0604020202020204" pitchFamily="34" charset="0"/>
        <a:buChar char="●"/>
        <a:defRPr sz="1867" kern="1200">
          <a:solidFill>
            <a:srgbClr val="54565B"/>
          </a:solidFill>
          <a:latin typeface="+mn-lt"/>
          <a:ea typeface="+mn-ea"/>
          <a:cs typeface="+mn-cs"/>
        </a:defRPr>
      </a:lvl1pPr>
      <a:lvl2pPr marL="609570" indent="-304784" algn="l" defTabSz="11277037" rtl="0" eaLnBrk="1" latinLnBrk="0" hangingPunct="1">
        <a:lnSpc>
          <a:spcPct val="100000"/>
        </a:lnSpc>
        <a:spcBef>
          <a:spcPts val="497"/>
        </a:spcBef>
        <a:buFont typeface="Arial" panose="020B0604020202020204" pitchFamily="34" charset="0"/>
        <a:buChar char="—"/>
        <a:defRPr sz="1600" kern="1200">
          <a:solidFill>
            <a:srgbClr val="54565B"/>
          </a:solidFill>
          <a:latin typeface="+mn-lt"/>
          <a:ea typeface="+mn-ea"/>
          <a:cs typeface="+mn-cs"/>
        </a:defRPr>
      </a:lvl2pPr>
      <a:lvl3pPr marL="914354" indent="-304784" algn="l" defTabSz="910423" rtl="0" eaLnBrk="1" latinLnBrk="0" hangingPunct="1">
        <a:lnSpc>
          <a:spcPct val="100000"/>
        </a:lnSpc>
        <a:spcBef>
          <a:spcPts val="497"/>
        </a:spcBef>
        <a:buFont typeface="Arial" panose="020B0604020202020204" pitchFamily="34" charset="0"/>
        <a:buChar char="○"/>
        <a:defRPr sz="1600" kern="1200">
          <a:solidFill>
            <a:srgbClr val="54565B"/>
          </a:solidFill>
          <a:latin typeface="+mn-lt"/>
          <a:ea typeface="+mn-ea"/>
          <a:cs typeface="+mn-cs"/>
        </a:defRPr>
      </a:lvl3pPr>
      <a:lvl4pPr marL="1447728" indent="-304784" algn="l" defTabSz="910423" rtl="0" eaLnBrk="1" latinLnBrk="0" hangingPunct="1">
        <a:lnSpc>
          <a:spcPct val="100000"/>
        </a:lnSpc>
        <a:spcBef>
          <a:spcPts val="497"/>
        </a:spcBef>
        <a:buFont typeface="Arial" panose="020B0604020202020204" pitchFamily="34" charset="0"/>
        <a:buChar char="•"/>
        <a:defRPr sz="1867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37184" indent="-265540" algn="l" defTabSz="910423" rtl="0" eaLnBrk="1" latinLnBrk="0" hangingPunct="1">
        <a:lnSpc>
          <a:spcPct val="90000"/>
        </a:lnSpc>
        <a:spcBef>
          <a:spcPts val="497"/>
        </a:spcBef>
        <a:buFont typeface="Arial" panose="020B0604020202020204" pitchFamily="34" charset="0"/>
        <a:buChar char="•"/>
        <a:defRPr sz="1867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03661" indent="-227606" algn="l" defTabSz="910423" rtl="0" eaLnBrk="1" latinLnBrk="0" hangingPunct="1">
        <a:lnSpc>
          <a:spcPct val="90000"/>
        </a:lnSpc>
        <a:spcBef>
          <a:spcPts val="497"/>
        </a:spcBef>
        <a:buFont typeface="Arial" panose="020B0604020202020204" pitchFamily="34" charset="0"/>
        <a:buChar char="•"/>
        <a:defRPr sz="1792" kern="1200">
          <a:solidFill>
            <a:schemeClr val="tx1"/>
          </a:solidFill>
          <a:latin typeface="+mn-lt"/>
          <a:ea typeface="+mn-ea"/>
          <a:cs typeface="+mn-cs"/>
        </a:defRPr>
      </a:lvl6pPr>
      <a:lvl7pPr marL="2958873" indent="-227606" algn="l" defTabSz="910423" rtl="0" eaLnBrk="1" latinLnBrk="0" hangingPunct="1">
        <a:lnSpc>
          <a:spcPct val="90000"/>
        </a:lnSpc>
        <a:spcBef>
          <a:spcPts val="497"/>
        </a:spcBef>
        <a:buFont typeface="Arial" panose="020B0604020202020204" pitchFamily="34" charset="0"/>
        <a:buChar char="•"/>
        <a:defRPr sz="1792" kern="1200">
          <a:solidFill>
            <a:schemeClr val="tx1"/>
          </a:solidFill>
          <a:latin typeface="+mn-lt"/>
          <a:ea typeface="+mn-ea"/>
          <a:cs typeface="+mn-cs"/>
        </a:defRPr>
      </a:lvl7pPr>
      <a:lvl8pPr marL="3414084" indent="-227606" algn="l" defTabSz="910423" rtl="0" eaLnBrk="1" latinLnBrk="0" hangingPunct="1">
        <a:lnSpc>
          <a:spcPct val="90000"/>
        </a:lnSpc>
        <a:spcBef>
          <a:spcPts val="497"/>
        </a:spcBef>
        <a:buFont typeface="Arial" panose="020B0604020202020204" pitchFamily="34" charset="0"/>
        <a:buChar char="•"/>
        <a:defRPr sz="1792" kern="1200">
          <a:solidFill>
            <a:schemeClr val="tx1"/>
          </a:solidFill>
          <a:latin typeface="+mn-lt"/>
          <a:ea typeface="+mn-ea"/>
          <a:cs typeface="+mn-cs"/>
        </a:defRPr>
      </a:lvl8pPr>
      <a:lvl9pPr marL="3869297" indent="-227606" algn="l" defTabSz="910423" rtl="0" eaLnBrk="1" latinLnBrk="0" hangingPunct="1">
        <a:lnSpc>
          <a:spcPct val="90000"/>
        </a:lnSpc>
        <a:spcBef>
          <a:spcPts val="497"/>
        </a:spcBef>
        <a:buFont typeface="Arial" panose="020B0604020202020204" pitchFamily="34" charset="0"/>
        <a:buChar char="•"/>
        <a:defRPr sz="17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0423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1pPr>
      <a:lvl2pPr marL="455211" algn="l" defTabSz="910423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2pPr>
      <a:lvl3pPr marL="910423" algn="l" defTabSz="910423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3pPr>
      <a:lvl4pPr marL="1365635" algn="l" defTabSz="910423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4pPr>
      <a:lvl5pPr marL="1820845" algn="l" defTabSz="910423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5pPr>
      <a:lvl6pPr marL="2276058" algn="l" defTabSz="910423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6pPr>
      <a:lvl7pPr marL="2731268" algn="l" defTabSz="910423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7pPr>
      <a:lvl8pPr marL="3186479" algn="l" defTabSz="910423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8pPr>
      <a:lvl9pPr marL="3641690" algn="l" defTabSz="910423" rtl="0" eaLnBrk="1" latinLnBrk="0" hangingPunct="1">
        <a:defRPr sz="17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orient="horz" pos="708" userDrawn="1">
          <p15:clr>
            <a:srgbClr val="F26B43"/>
          </p15:clr>
        </p15:guide>
        <p15:guide id="5" pos="264" userDrawn="1">
          <p15:clr>
            <a:srgbClr val="F26B43"/>
          </p15:clr>
        </p15:guide>
        <p15:guide id="6" orient="horz" pos="28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Stripe">
            <a:extLst>
              <a:ext uri="{FF2B5EF4-FFF2-40B4-BE49-F238E27FC236}">
                <a16:creationId xmlns:a16="http://schemas.microsoft.com/office/drawing/2014/main" id="{B21B539C-5CF2-E138-9CA9-0EEE2290DC6B}"/>
              </a:ext>
            </a:extLst>
          </p:cNvPr>
          <p:cNvSpPr/>
          <p:nvPr userDrawn="1"/>
        </p:nvSpPr>
        <p:spPr>
          <a:xfrm>
            <a:off x="0" y="6111240"/>
            <a:ext cx="12192000" cy="74675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Header Stripe">
            <a:extLst>
              <a:ext uri="{FF2B5EF4-FFF2-40B4-BE49-F238E27FC236}">
                <a16:creationId xmlns:a16="http://schemas.microsoft.com/office/drawing/2014/main" id="{4594C070-7461-3447-5D99-396DCA181CE5}"/>
              </a:ext>
            </a:extLst>
          </p:cNvPr>
          <p:cNvSpPr/>
          <p:nvPr userDrawn="1"/>
        </p:nvSpPr>
        <p:spPr>
          <a:xfrm>
            <a:off x="0" y="0"/>
            <a:ext cx="12192000" cy="13459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12E23B2-F551-C3C1-AB0F-5EAEE7A811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310092"/>
            <a:ext cx="11160000" cy="96756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lvl="0">
              <a:lnSpc>
                <a:spcPct val="100000"/>
              </a:lnSpc>
            </a:pPr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04861E-1DC8-74FF-B36E-A2E2772145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7" y="1560512"/>
            <a:ext cx="11160000" cy="439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5F51135-C3FB-3DEC-6629-DF08F6A9E872}"/>
              </a:ext>
            </a:extLst>
          </p:cNvPr>
          <p:cNvSpPr txBox="1"/>
          <p:nvPr userDrawn="1"/>
        </p:nvSpPr>
        <p:spPr>
          <a:xfrm>
            <a:off x="86360" y="6378437"/>
            <a:ext cx="3600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defPPr>
              <a:defRPr lang="en-US"/>
            </a:defPPr>
            <a:lvl1pPr algn="ctr">
              <a:defRPr sz="8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pPr lvl="0"/>
            <a:fld id="{291CC80E-EFDC-436B-981C-14115FD319A2}" type="slidenum">
              <a:rPr lang="en-GB" smtClean="0"/>
              <a:pPr lvl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5470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  <p:sldLayoutId id="2147484096" r:id="rId12"/>
    <p:sldLayoutId id="2147484097" r:id="rId13"/>
    <p:sldLayoutId id="2147484098" r:id="rId14"/>
    <p:sldLayoutId id="2147484099" r:id="rId15"/>
    <p:sldLayoutId id="2147484100" r:id="rId16"/>
    <p:sldLayoutId id="2147484101" r:id="rId1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600" b="1" i="0" kern="800" spc="0" baseline="0" dirty="0">
          <a:solidFill>
            <a:schemeClr val="accent1"/>
          </a:solidFill>
          <a:latin typeface="Trebuchet MS" panose="020B070302020209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5ACBF0"/>
          </p15:clr>
        </p15:guide>
        <p15:guide id="4" orient="horz" pos="709">
          <p15:clr>
            <a:srgbClr val="C35EA4"/>
          </p15:clr>
        </p15:guide>
        <p15:guide id="5" orient="horz" pos="981">
          <p15:clr>
            <a:srgbClr val="5ACBF0"/>
          </p15:clr>
        </p15:guide>
        <p15:guide id="6" orient="horz" pos="4201">
          <p15:clr>
            <a:srgbClr val="C35EA4"/>
          </p15:clr>
        </p15:guide>
        <p15:guide id="7" pos="7355">
          <p15:clr>
            <a:srgbClr val="5ACBF0"/>
          </p15:clr>
        </p15:guide>
        <p15:guide id="8" orient="horz" pos="3748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0386F6-C812-1214-48E4-DD04632C56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83C54C-63B3-84C2-3378-0B28E5868E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83C54C-63B3-84C2-3378-0B28E5868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5">
            <a:extLst>
              <a:ext uri="{FF2B5EF4-FFF2-40B4-BE49-F238E27FC236}">
                <a16:creationId xmlns:a16="http://schemas.microsoft.com/office/drawing/2014/main" id="{338CE134-EFF0-B607-E93E-5EF07F7EC1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6063" y="1571165"/>
            <a:ext cx="11160000" cy="2376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4000" spc="0" dirty="0">
                <a:latin typeface="Arial" panose="020B0604020202020204"/>
              </a:rPr>
              <a:t>Evaluation of 2 Broadly Neutralizing Antibodies Plus Vesatolimod in Early-Treated South African Women With HIV-1 During Analytical Treatment Interrup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1878FC-700B-78AC-D949-0395DF08CD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6855" y="3921772"/>
            <a:ext cx="11160000" cy="984766"/>
          </a:xfrm>
        </p:spPr>
        <p:txBody>
          <a:bodyPr/>
          <a:lstStyle/>
          <a:p>
            <a:r>
              <a:rPr lang="en-US" spc="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rista Dong</a:t>
            </a:r>
            <a:r>
              <a:rPr lang="en-US" spc="0" baseline="300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pc="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pc="0" dirty="0" err="1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illeshni</a:t>
            </a:r>
            <a:r>
              <a:rPr lang="en-US" spc="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sari</a:t>
            </a:r>
            <a:r>
              <a:rPr lang="en-US" spc="0" baseline="300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pc="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pc="0" dirty="0" err="1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aneshree</a:t>
            </a:r>
            <a:r>
              <a:rPr lang="en-US" spc="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ovender</a:t>
            </a:r>
            <a:r>
              <a:rPr lang="en-US" spc="0" baseline="300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spc="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Vanessa Pillay</a:t>
            </a:r>
            <a:r>
              <a:rPr lang="en-US" spc="0" baseline="300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en-US" spc="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pc="0" dirty="0" err="1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iphesihle</a:t>
            </a:r>
            <a:r>
              <a:rPr lang="en-US" spc="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Ngcobo</a:t>
            </a:r>
            <a:r>
              <a:rPr lang="en-US" spc="0" baseline="300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en-US" spc="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Nasreen Ismail</a:t>
            </a:r>
            <a:r>
              <a:rPr lang="en-US" spc="0" baseline="300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en-US" spc="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Lucio Gama</a:t>
            </a:r>
            <a:r>
              <a:rPr lang="en-US" spc="0" baseline="300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en-US" spc="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Elena Vendrame</a:t>
            </a:r>
            <a:r>
              <a:rPr lang="en-US" spc="0" baseline="300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en-US" spc="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Megha Mehrotra</a:t>
            </a:r>
            <a:r>
              <a:rPr lang="en-US" spc="0" baseline="300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en-US" spc="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Xiang Liu</a:t>
            </a:r>
            <a:r>
              <a:rPr lang="en-US" spc="0" baseline="300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en-US" spc="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Lisa Selzer</a:t>
            </a:r>
            <a:r>
              <a:rPr lang="en-US" spc="0" baseline="300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en-US" spc="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Mary Wire</a:t>
            </a:r>
            <a:r>
              <a:rPr lang="en-US" spc="0" baseline="300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en-US" spc="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Devi SenGupta</a:t>
            </a:r>
            <a:r>
              <a:rPr lang="en-US" spc="0" baseline="300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en-US" spc="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u="sng" spc="0" dirty="0" err="1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umbi</a:t>
            </a:r>
            <a:r>
              <a:rPr lang="en-US" u="sng" spc="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Ndung’u</a:t>
            </a:r>
            <a:r>
              <a:rPr lang="en-US" spc="0" baseline="300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endParaRPr lang="en-US" spc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6C26765-7996-7D9B-6B1F-7607D4253D8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26855" y="4971935"/>
            <a:ext cx="10833100" cy="120173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250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2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rvard Medical School, Cambridge, MA, USA; Massachusetts General Hospital, Boston, MA, USA; Ragon Institute of Mass General, MIT, and Harvard University, Cambridge, MA, USA; </a:t>
            </a:r>
            <a:r>
              <a:rPr lang="en-US" sz="1250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2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th African Medical Research Council (</a:t>
            </a:r>
            <a:r>
              <a:rPr lang="en-US" sz="12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RC</a:t>
            </a:r>
            <a:r>
              <a:rPr lang="en-US" sz="12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Durban, South Africa; </a:t>
            </a:r>
            <a:r>
              <a:rPr lang="en-US" sz="1250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2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urum Institute NPC, Johannesburg, South Africa; </a:t>
            </a:r>
            <a:r>
              <a:rPr lang="en-US" sz="1250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12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males Rising through Education, Support, and Health (FRESH), Durban, South Africa; </a:t>
            </a:r>
            <a:r>
              <a:rPr lang="en-US" sz="1250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2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y of KwaZulu-Natal, Durban, South Africa; </a:t>
            </a:r>
            <a:r>
              <a:rPr lang="en-US" sz="1250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en-US" sz="12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ação Butantan, São Paulo, Brazil; </a:t>
            </a:r>
            <a:r>
              <a:rPr lang="en-US" sz="1250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en-US" sz="12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lead Sciences, Inc., Foster City, CA, USA; </a:t>
            </a:r>
            <a:r>
              <a:rPr lang="en-US" sz="1250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sz="12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V Pathogenesis </a:t>
            </a:r>
            <a:r>
              <a:rPr lang="en-US" sz="12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r>
              <a:rPr lang="en-US" sz="12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 Doris Duke Medical Research Institute, University of KwaZulu-Natal, Durban, South Africa; Africa Health Research Institute, Durban, South Africa; Ragon </a:t>
            </a:r>
            <a:r>
              <a:rPr lang="en-US" sz="1250" spc="-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itute of Mass General, MIT, and Harvard University, Cambridge, MA, USA; Division of Infection and Immunity, University College London, London, UK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F3A258-2742-6D47-041A-1DE14C9504D7}"/>
              </a:ext>
            </a:extLst>
          </p:cNvPr>
          <p:cNvSpPr txBox="1"/>
          <p:nvPr/>
        </p:nvSpPr>
        <p:spPr>
          <a:xfrm>
            <a:off x="532754" y="6445859"/>
            <a:ext cx="8839200" cy="256545"/>
          </a:xfrm>
          <a:prstGeom prst="rect">
            <a:avLst/>
          </a:prstGeom>
          <a:noFill/>
        </p:spPr>
        <p:txBody>
          <a:bodyPr wrap="square" lIns="0" anchor="b" anchorCtr="0">
            <a:spAutoFit/>
          </a:bodyPr>
          <a:lstStyle/>
          <a:p>
            <a:pPr defTabSz="914354"/>
            <a:r>
              <a:rPr lang="en-US" sz="1067" b="1" dirty="0">
                <a:solidFill>
                  <a:schemeClr val="bg1"/>
                </a:solidFill>
                <a:latin typeface="Arial" panose="020B0604020202020204"/>
              </a:rPr>
              <a:t>Conference on Retroviruses and Opportunistic Infections (CROI) 2025; March 9-12; San Francisco, CA, USA</a:t>
            </a:r>
            <a:endParaRPr lang="it-IT" sz="1067" b="1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1C2AE62-E558-8CA9-87E3-76B63C786CD2}"/>
              </a:ext>
            </a:extLst>
          </p:cNvPr>
          <p:cNvSpPr/>
          <p:nvPr/>
        </p:nvSpPr>
        <p:spPr>
          <a:xfrm>
            <a:off x="515938" y="31750"/>
            <a:ext cx="2325687" cy="10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71CE9E2-D13E-4DB3-3172-8DF64354E3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1465" y="82695"/>
            <a:ext cx="2194560" cy="949418"/>
          </a:xfrm>
          <a:prstGeom prst="rect">
            <a:avLst/>
          </a:prstGeom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C18D04E-45C0-35A7-2650-50E695542AAC}"/>
              </a:ext>
            </a:extLst>
          </p:cNvPr>
          <p:cNvSpPr txBox="1">
            <a:spLocks/>
          </p:cNvSpPr>
          <p:nvPr/>
        </p:nvSpPr>
        <p:spPr>
          <a:xfrm>
            <a:off x="10245433" y="222738"/>
            <a:ext cx="1808923" cy="246185"/>
          </a:xfrm>
          <a:prstGeom prst="rect">
            <a:avLst/>
          </a:prstGeom>
          <a:noFill/>
        </p:spPr>
        <p:txBody>
          <a:bodyPr vert="horz" lIns="0" tIns="0" rIns="182880" bIns="0" rtlCol="0">
            <a:noAutofit/>
          </a:bodyPr>
          <a:lstStyle>
            <a:lvl1pPr marL="304792" indent="-304792" algn="l" defTabSz="910445" rtl="0" eaLnBrk="1" latinLnBrk="0" hangingPunct="1">
              <a:lnSpc>
                <a:spcPct val="100000"/>
              </a:lnSpc>
              <a:spcBef>
                <a:spcPts val="996"/>
              </a:spcBef>
              <a:buFont typeface="Arial" panose="020B0604020202020204" pitchFamily="34" charset="0"/>
              <a:buChar char="●"/>
              <a:defRPr sz="1867" kern="1200">
                <a:solidFill>
                  <a:srgbClr val="54565B"/>
                </a:solidFill>
                <a:latin typeface="+mn-lt"/>
                <a:ea typeface="+mn-ea"/>
                <a:cs typeface="+mn-cs"/>
              </a:defRPr>
            </a:lvl1pPr>
            <a:lvl2pPr marL="609585" indent="-304792" algn="l" defTabSz="11277318" rtl="0" eaLnBrk="1" latinLnBrk="0" hangingPunct="1">
              <a:lnSpc>
                <a:spcPct val="100000"/>
              </a:lnSpc>
              <a:spcBef>
                <a:spcPts val="497"/>
              </a:spcBef>
              <a:buFont typeface="Arial" panose="020B0604020202020204" pitchFamily="34" charset="0"/>
              <a:buChar char="—"/>
              <a:defRPr sz="1600" kern="1200">
                <a:solidFill>
                  <a:srgbClr val="54565B"/>
                </a:solidFill>
                <a:latin typeface="+mn-lt"/>
                <a:ea typeface="+mn-ea"/>
                <a:cs typeface="+mn-cs"/>
              </a:defRPr>
            </a:lvl2pPr>
            <a:lvl3pPr marL="914377" indent="-304792" algn="l" defTabSz="910445" rtl="0" eaLnBrk="1" latinLnBrk="0" hangingPunct="1">
              <a:lnSpc>
                <a:spcPct val="100000"/>
              </a:lnSpc>
              <a:spcBef>
                <a:spcPts val="497"/>
              </a:spcBef>
              <a:buFont typeface="Arial" panose="020B0604020202020204" pitchFamily="34" charset="0"/>
              <a:buChar char="○"/>
              <a:defRPr sz="1600" kern="1200">
                <a:solidFill>
                  <a:srgbClr val="54565B"/>
                </a:solidFill>
                <a:latin typeface="+mn-lt"/>
                <a:ea typeface="+mn-ea"/>
                <a:cs typeface="+mn-cs"/>
              </a:defRPr>
            </a:lvl3pPr>
            <a:lvl4pPr marL="1447764" indent="-304792" algn="l" defTabSz="910445" rtl="0" eaLnBrk="1" latinLnBrk="0" hangingPunct="1">
              <a:lnSpc>
                <a:spcPct val="100000"/>
              </a:lnSpc>
              <a:spcBef>
                <a:spcPts val="497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37217" indent="-265547" algn="l" defTabSz="910445" rtl="0" eaLnBrk="1" latinLnBrk="0" hangingPunct="1">
              <a:lnSpc>
                <a:spcPct val="90000"/>
              </a:lnSpc>
              <a:spcBef>
                <a:spcPts val="497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03724" indent="-227612" algn="l" defTabSz="910445" rtl="0" eaLnBrk="1" latinLnBrk="0" hangingPunct="1">
              <a:lnSpc>
                <a:spcPct val="90000"/>
              </a:lnSpc>
              <a:spcBef>
                <a:spcPts val="497"/>
              </a:spcBef>
              <a:buFont typeface="Arial" panose="020B0604020202020204" pitchFamily="34" charset="0"/>
              <a:buChar char="•"/>
              <a:defRPr sz="17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58947" indent="-227612" algn="l" defTabSz="910445" rtl="0" eaLnBrk="1" latinLnBrk="0" hangingPunct="1">
              <a:lnSpc>
                <a:spcPct val="90000"/>
              </a:lnSpc>
              <a:spcBef>
                <a:spcPts val="497"/>
              </a:spcBef>
              <a:buFont typeface="Arial" panose="020B0604020202020204" pitchFamily="34" charset="0"/>
              <a:buChar char="•"/>
              <a:defRPr sz="17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14169" indent="-227612" algn="l" defTabSz="910445" rtl="0" eaLnBrk="1" latinLnBrk="0" hangingPunct="1">
              <a:lnSpc>
                <a:spcPct val="90000"/>
              </a:lnSpc>
              <a:spcBef>
                <a:spcPts val="497"/>
              </a:spcBef>
              <a:buFont typeface="Arial" panose="020B0604020202020204" pitchFamily="34" charset="0"/>
              <a:buChar char="•"/>
              <a:defRPr sz="17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69393" indent="-227612" algn="l" defTabSz="910445" rtl="0" eaLnBrk="1" latinLnBrk="0" hangingPunct="1">
              <a:lnSpc>
                <a:spcPct val="90000"/>
              </a:lnSpc>
              <a:spcBef>
                <a:spcPts val="497"/>
              </a:spcBef>
              <a:buFont typeface="Arial" panose="020B0604020202020204" pitchFamily="34" charset="0"/>
              <a:buChar char="•"/>
              <a:defRPr sz="17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682834">
              <a:spcBef>
                <a:spcPts val="747"/>
              </a:spcBef>
              <a:buNone/>
              <a:defRPr/>
            </a:pPr>
            <a:r>
              <a:rPr lang="en-US" sz="1467" b="1">
                <a:solidFill>
                  <a:srgbClr val="FFFFFF"/>
                </a:solidFill>
                <a:latin typeface="Arial" panose="020B0604020202020204"/>
              </a:rPr>
              <a:t>Presentation 105</a:t>
            </a:r>
          </a:p>
        </p:txBody>
      </p:sp>
    </p:spTree>
    <p:extLst>
      <p:ext uri="{BB962C8B-B14F-4D97-AF65-F5344CB8AC3E}">
        <p14:creationId xmlns:p14="http://schemas.microsoft.com/office/powerpoint/2010/main" val="19128781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CDF9F4CF-8BDE-C840-8D7A-534D040689D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14354">
              <a:lnSpc>
                <a:spcPct val="85000"/>
              </a:lnSpc>
              <a:defRPr/>
            </a:pPr>
            <a:r>
              <a:rPr lang="en-US" b="1" dirty="0"/>
              <a:t>Ab, </a:t>
            </a:r>
            <a:r>
              <a:rPr lang="en-US" dirty="0"/>
              <a:t>antibody</a:t>
            </a:r>
            <a:r>
              <a:rPr lang="en-US" b="1" dirty="0"/>
              <a:t>; ART</a:t>
            </a:r>
            <a:r>
              <a:rPr lang="en-US" dirty="0"/>
              <a:t>, antiretroviral therapy; </a:t>
            </a:r>
            <a:r>
              <a:rPr lang="en-US" b="1" dirty="0"/>
              <a:t>bNAb</a:t>
            </a:r>
            <a:r>
              <a:rPr lang="en-US" dirty="0"/>
              <a:t>, broadly neutralizing antibody; </a:t>
            </a:r>
            <a:r>
              <a:rPr lang="en-US" b="1" dirty="0"/>
              <a:t>WB</a:t>
            </a:r>
            <a:r>
              <a:rPr lang="en-US" dirty="0"/>
              <a:t>, western blo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385138-FF4C-DFD0-3F9A-F9F0C401DC55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noFill/>
        </p:spPr>
        <p:txBody>
          <a:bodyPr vert="horz" lIns="0" tIns="0" rIns="0" bIns="0" rtlCol="0" anchor="ctr"/>
          <a:lstStyle/>
          <a:p>
            <a:fld id="{4BEAA09E-D67E-864E-8466-C38E88600C4F}" type="slidenum">
              <a:rPr lang="en-US"/>
              <a:pPr/>
              <a:t>10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60BE42-B6DB-6E69-79C9-E42638F71464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F4F4F4"/>
          </a:solidFill>
        </p:spPr>
        <p:txBody>
          <a:bodyPr/>
          <a:lstStyle/>
          <a:p>
            <a:pPr marL="411480"/>
            <a:r>
              <a:rPr lang="en-US" sz="3200" dirty="0">
                <a:solidFill>
                  <a:srgbClr val="203661"/>
                </a:solidFill>
              </a:rPr>
              <a:t>Baseline Characteristic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42B26DA-2993-7AFE-B5CF-62EB31AB38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7343645"/>
              </p:ext>
            </p:extLst>
          </p:nvPr>
        </p:nvGraphicFramePr>
        <p:xfrm>
          <a:off x="1793904" y="754126"/>
          <a:ext cx="8595360" cy="48768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5412474">
                  <a:extLst>
                    <a:ext uri="{9D8B030D-6E8A-4147-A177-3AD203B41FA5}">
                      <a16:colId xmlns:a16="http://schemas.microsoft.com/office/drawing/2014/main" val="2609399785"/>
                    </a:ext>
                  </a:extLst>
                </a:gridCol>
                <a:gridCol w="3182886">
                  <a:extLst>
                    <a:ext uri="{9D8B030D-6E8A-4147-A177-3AD203B41FA5}">
                      <a16:colId xmlns:a16="http://schemas.microsoft.com/office/drawing/2014/main" val="250552191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Characteristic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noProof="0">
                          <a:solidFill>
                            <a:schemeClr val="bg1"/>
                          </a:solidFill>
                        </a:rPr>
                        <a:t>Enrolled Participants (N = 20)</a:t>
                      </a:r>
                      <a:endParaRPr lang="en-US" sz="16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98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50543"/>
                  </a:ext>
                </a:extLst>
              </a:tr>
              <a:tr h="269576">
                <a:tc>
                  <a:txBody>
                    <a:bodyPr/>
                    <a:lstStyle/>
                    <a:p>
                      <a:pPr marL="0" marR="0" lvl="0" indent="0" algn="l" defTabSz="6828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50" b="1" dirty="0">
                          <a:solidFill>
                            <a:schemeClr val="accent2"/>
                          </a:solidFill>
                        </a:rPr>
                        <a:t>CD4+ count at screening, cells/µ</a:t>
                      </a:r>
                      <a:r>
                        <a:rPr lang="en-US" sz="1250" b="1" dirty="0">
                          <a:solidFill>
                            <a:schemeClr val="accent2"/>
                          </a:solidFill>
                          <a:sym typeface="Wingdings" panose="05000000000000000000" pitchFamily="2" charset="2"/>
                        </a:rPr>
                        <a:t>L, median (range)</a:t>
                      </a:r>
                      <a:endParaRPr lang="en-US" sz="1250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b="0" dirty="0">
                          <a:solidFill>
                            <a:schemeClr val="accent2"/>
                          </a:solidFill>
                        </a:rPr>
                        <a:t>880 (520-1472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3106295"/>
                  </a:ext>
                </a:extLst>
              </a:tr>
              <a:tr h="269576">
                <a:tc>
                  <a:txBody>
                    <a:bodyPr/>
                    <a:lstStyle/>
                    <a:p>
                      <a:r>
                        <a:rPr lang="en-US" sz="1250" b="1" dirty="0">
                          <a:solidFill>
                            <a:schemeClr val="accent2"/>
                          </a:solidFill>
                        </a:rPr>
                        <a:t>Time to ART initiation, median (range), days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b="0" dirty="0">
                          <a:solidFill>
                            <a:schemeClr val="accent2"/>
                          </a:solidFill>
                        </a:rPr>
                        <a:t>1 (0-3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0041299"/>
                  </a:ext>
                </a:extLst>
              </a:tr>
              <a:tr h="2695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50" b="1" dirty="0">
                          <a:solidFill>
                            <a:schemeClr val="accent2"/>
                          </a:solidFill>
                        </a:rPr>
                        <a:t>Time on ART before enrollment, median (range), years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dirty="0">
                          <a:solidFill>
                            <a:schemeClr val="accent2"/>
                          </a:solidFill>
                        </a:rPr>
                        <a:t>6.9 (1.7-8.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778653"/>
                  </a:ext>
                </a:extLst>
              </a:tr>
              <a:tr h="269576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50" b="1" dirty="0">
                          <a:solidFill>
                            <a:schemeClr val="accent2"/>
                          </a:solidFill>
                        </a:rPr>
                        <a:t>Peak HIV-1 RNA before ART start, copies/mL, n (%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T w="12700" cmpd="sng"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771138773"/>
                  </a:ext>
                </a:extLst>
              </a:tr>
              <a:tr h="269576">
                <a:tc>
                  <a:txBody>
                    <a:bodyPr/>
                    <a:lstStyle/>
                    <a:p>
                      <a:pPr marL="2400300" marR="0" lvl="0" indent="-8001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50" b="0" dirty="0">
                          <a:solidFill>
                            <a:schemeClr val="accent2"/>
                          </a:solidFill>
                        </a:rPr>
                        <a:t>≥ 50 to &lt; 2000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dirty="0">
                          <a:solidFill>
                            <a:schemeClr val="accent2"/>
                          </a:solidFill>
                        </a:rPr>
                        <a:t>9 (4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9956918"/>
                  </a:ext>
                </a:extLst>
              </a:tr>
              <a:tr h="269576">
                <a:tc>
                  <a:txBody>
                    <a:bodyPr/>
                    <a:lstStyle/>
                    <a:p>
                      <a:pPr marL="0" marR="0" lvl="0" indent="16002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50" b="0">
                          <a:solidFill>
                            <a:schemeClr val="accent2"/>
                          </a:solidFill>
                        </a:rPr>
                        <a:t>≥ 2000 to ≤ 5000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dirty="0">
                          <a:solidFill>
                            <a:schemeClr val="accent2"/>
                          </a:solidFill>
                        </a:rPr>
                        <a:t>4 (20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6502612"/>
                  </a:ext>
                </a:extLst>
              </a:tr>
              <a:tr h="269576">
                <a:tc>
                  <a:txBody>
                    <a:bodyPr/>
                    <a:lstStyle/>
                    <a:p>
                      <a:pPr marL="0" marR="0" lvl="0" indent="16002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50" b="0" dirty="0">
                          <a:solidFill>
                            <a:schemeClr val="accent2"/>
                          </a:solidFill>
                        </a:rPr>
                        <a:t>&gt; 5000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dirty="0">
                          <a:solidFill>
                            <a:schemeClr val="accent2"/>
                          </a:solidFill>
                        </a:rPr>
                        <a:t>7 (3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7969022"/>
                  </a:ext>
                </a:extLst>
              </a:tr>
              <a:tr h="269576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50" b="1" dirty="0">
                          <a:solidFill>
                            <a:schemeClr val="accent2"/>
                          </a:solidFill>
                        </a:rPr>
                        <a:t>Fiebig stage at ART initiation, n (%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T w="12700" cmpd="sng"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297316931"/>
                  </a:ext>
                </a:extLst>
              </a:tr>
              <a:tr h="269576">
                <a:tc>
                  <a:txBody>
                    <a:bodyPr/>
                    <a:lstStyle/>
                    <a:p>
                      <a:pPr marL="182563" indent="1417638" algn="l"/>
                      <a:r>
                        <a:rPr lang="en-US" sz="1250" dirty="0">
                          <a:solidFill>
                            <a:schemeClr val="accent2"/>
                          </a:solidFill>
                        </a:rPr>
                        <a:t>I (HIV RNA+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dirty="0">
                          <a:solidFill>
                            <a:schemeClr val="accent2"/>
                          </a:solidFill>
                        </a:rPr>
                        <a:t>17 (8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3789147"/>
                  </a:ext>
                </a:extLst>
              </a:tr>
              <a:tr h="269576">
                <a:tc>
                  <a:txBody>
                    <a:bodyPr/>
                    <a:lstStyle/>
                    <a:p>
                      <a:pPr marL="2400300" indent="-800100" algn="l"/>
                      <a:r>
                        <a:rPr lang="en-US" sz="1250" dirty="0">
                          <a:solidFill>
                            <a:schemeClr val="accent2"/>
                          </a:solidFill>
                        </a:rPr>
                        <a:t>II (HIV RNA+ and p24+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dirty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8597162"/>
                  </a:ext>
                </a:extLst>
              </a:tr>
              <a:tr h="269576">
                <a:tc>
                  <a:txBody>
                    <a:bodyPr/>
                    <a:lstStyle/>
                    <a:p>
                      <a:pPr marL="1600200" indent="0" algn="l"/>
                      <a:r>
                        <a:rPr lang="en-US" sz="1250" dirty="0">
                          <a:solidFill>
                            <a:schemeClr val="accent2"/>
                          </a:solidFill>
                        </a:rPr>
                        <a:t>III (Ab+/WB-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dirty="0">
                          <a:solidFill>
                            <a:schemeClr val="accent2"/>
                          </a:solidFill>
                        </a:rPr>
                        <a:t>3 (1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2471362"/>
                  </a:ext>
                </a:extLst>
              </a:tr>
              <a:tr h="269576">
                <a:tc>
                  <a:txBody>
                    <a:bodyPr/>
                    <a:lstStyle/>
                    <a:p>
                      <a:pPr marL="182563" indent="1417638" algn="l"/>
                      <a:r>
                        <a:rPr lang="en-US" sz="1250" dirty="0">
                          <a:solidFill>
                            <a:schemeClr val="accent2"/>
                          </a:solidFill>
                        </a:rPr>
                        <a:t>IV (Ab+/WB+/p31-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dirty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1349456"/>
                  </a:ext>
                </a:extLst>
              </a:tr>
              <a:tr h="269576">
                <a:tc gridSpan="2">
                  <a:txBody>
                    <a:bodyPr/>
                    <a:lstStyle/>
                    <a:p>
                      <a:r>
                        <a:rPr lang="en-US" sz="1250" b="1" dirty="0">
                          <a:solidFill>
                            <a:schemeClr val="accent2"/>
                          </a:solidFill>
                        </a:rPr>
                        <a:t>Baseline bNAb susceptibility, n (%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L="68580" marR="68580" marT="34290" marB="34290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DF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831098"/>
                  </a:ext>
                </a:extLst>
              </a:tr>
              <a:tr h="269576">
                <a:tc>
                  <a:txBody>
                    <a:bodyPr/>
                    <a:lstStyle/>
                    <a:p>
                      <a:pPr marL="0" indent="1600200" algn="l"/>
                      <a:r>
                        <a:rPr lang="en-US" sz="1250" b="0" dirty="0">
                          <a:solidFill>
                            <a:schemeClr val="accent2"/>
                          </a:solidFill>
                        </a:rPr>
                        <a:t>Susceptible to both bNAb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dirty="0">
                          <a:solidFill>
                            <a:schemeClr val="accent2"/>
                          </a:solidFill>
                        </a:rPr>
                        <a:t>11 (5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0017135"/>
                  </a:ext>
                </a:extLst>
              </a:tr>
              <a:tr h="269576">
                <a:tc>
                  <a:txBody>
                    <a:bodyPr/>
                    <a:lstStyle/>
                    <a:p>
                      <a:pPr marL="0" marR="0" lvl="0" indent="1600200" algn="l" defTabSz="6828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50" b="0">
                          <a:solidFill>
                            <a:schemeClr val="accent2"/>
                          </a:solidFill>
                        </a:rPr>
                        <a:t>Susceptible to VRC07-523LS only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dirty="0">
                          <a:solidFill>
                            <a:schemeClr val="accent2"/>
                          </a:solidFill>
                        </a:rPr>
                        <a:t>7 (3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757331"/>
                  </a:ext>
                </a:extLst>
              </a:tr>
              <a:tr h="269576">
                <a:tc>
                  <a:txBody>
                    <a:bodyPr/>
                    <a:lstStyle/>
                    <a:p>
                      <a:pPr marL="0" indent="1600200" algn="l"/>
                      <a:r>
                        <a:rPr lang="en-US" sz="1250" b="0">
                          <a:solidFill>
                            <a:schemeClr val="accent2"/>
                          </a:solidFill>
                        </a:rPr>
                        <a:t>Susceptible to CAP256V2LS only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dirty="0">
                          <a:solidFill>
                            <a:schemeClr val="accent2"/>
                          </a:solidFill>
                        </a:rPr>
                        <a:t>2 (10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8170503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79962A06-55C8-F395-6310-C43038A2C29D}"/>
              </a:ext>
            </a:extLst>
          </p:cNvPr>
          <p:cNvSpPr>
            <a:spLocks/>
          </p:cNvSpPr>
          <p:nvPr/>
        </p:nvSpPr>
        <p:spPr bwMode="auto">
          <a:xfrm>
            <a:off x="0" y="5674002"/>
            <a:ext cx="12192000" cy="510016"/>
          </a:xfrm>
          <a:prstGeom prst="rect">
            <a:avLst/>
          </a:prstGeom>
          <a:solidFill>
            <a:srgbClr val="203661"/>
          </a:solidFill>
          <a:ln w="25400" cap="flat" cmpd="sng" algn="ctr">
            <a:solidFill>
              <a:srgbClr val="203661"/>
            </a:solidFill>
            <a:prstDash val="solid"/>
          </a:ln>
          <a:effectLst/>
        </p:spPr>
        <p:txBody>
          <a:bodyPr wrap="square" lIns="91440" tIns="45719" rIns="91440" bIns="45719" anchor="ctr">
            <a:noAutofit/>
          </a:bodyPr>
          <a:lstStyle/>
          <a:p>
            <a:pPr marL="0" marR="0" lvl="0" indent="0" algn="ctr" defTabSz="121914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itchFamily="34" charset="0"/>
              </a:rPr>
              <a:t>Minimal HIV exposure before starting ART and median time on treatment of almost 7 years</a:t>
            </a:r>
          </a:p>
        </p:txBody>
      </p:sp>
    </p:spTree>
    <p:extLst>
      <p:ext uri="{BB962C8B-B14F-4D97-AF65-F5344CB8AC3E}">
        <p14:creationId xmlns:p14="http://schemas.microsoft.com/office/powerpoint/2010/main" val="19835321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AAF2A7-19F7-97C8-9522-14856D88DC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DE405354-7899-A660-4F43-D249A0AFC9A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14354">
              <a:lnSpc>
                <a:spcPct val="85000"/>
              </a:lnSpc>
              <a:defRPr/>
            </a:pPr>
            <a:r>
              <a:rPr lang="en-US" b="1" dirty="0"/>
              <a:t>CAP</a:t>
            </a:r>
            <a:r>
              <a:rPr lang="en-US" dirty="0"/>
              <a:t>, CAP256V2LS; </a:t>
            </a:r>
            <a:r>
              <a:rPr lang="en-US" b="1" dirty="0"/>
              <a:t>SAE</a:t>
            </a:r>
            <a:r>
              <a:rPr lang="en-US" dirty="0"/>
              <a:t>, serious adverse event; </a:t>
            </a:r>
            <a:r>
              <a:rPr lang="en-US" b="1" dirty="0"/>
              <a:t>TEAE</a:t>
            </a:r>
            <a:r>
              <a:rPr lang="en-US" dirty="0"/>
              <a:t>, treatment-emergent adverse event; </a:t>
            </a:r>
            <a:r>
              <a:rPr lang="en-US" b="1" dirty="0"/>
              <a:t>VES</a:t>
            </a:r>
            <a:r>
              <a:rPr lang="en-US" dirty="0"/>
              <a:t>, vesatolimod; </a:t>
            </a:r>
            <a:r>
              <a:rPr lang="en-US" b="1" dirty="0"/>
              <a:t>VRC</a:t>
            </a:r>
            <a:r>
              <a:rPr lang="en-US" dirty="0"/>
              <a:t>, VRC07-523L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31C964-406F-4141-ADF0-EDEFFB5D50DB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noFill/>
        </p:spPr>
        <p:txBody>
          <a:bodyPr vert="horz" lIns="0" tIns="0" rIns="0" bIns="0" rtlCol="0" anchor="ctr"/>
          <a:lstStyle/>
          <a:p>
            <a:fld id="{4BEAA09E-D67E-864E-8466-C38E88600C4F}" type="slidenum">
              <a:rPr lang="en-US"/>
              <a:pPr/>
              <a:t>11</a:t>
            </a:fld>
            <a:endParaRPr lang="en-US" dirty="0"/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A86EA506-9D82-05BB-DC61-CC46CEDC59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3200" dirty="0">
                <a:latin typeface="Arial" panose="020B0604020202020204" pitchFamily="34" charset="0"/>
              </a:rPr>
              <a:t>Safety Summary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38210CD-71FA-BAB3-1B84-3E24C5F4C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300990"/>
              </p:ext>
            </p:extLst>
          </p:nvPr>
        </p:nvGraphicFramePr>
        <p:xfrm>
          <a:off x="1793904" y="1031294"/>
          <a:ext cx="8595360" cy="4104638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5712682">
                  <a:extLst>
                    <a:ext uri="{9D8B030D-6E8A-4147-A177-3AD203B41FA5}">
                      <a16:colId xmlns:a16="http://schemas.microsoft.com/office/drawing/2014/main" val="2609399785"/>
                    </a:ext>
                  </a:extLst>
                </a:gridCol>
                <a:gridCol w="2882678">
                  <a:extLst>
                    <a:ext uri="{9D8B030D-6E8A-4147-A177-3AD203B41FA5}">
                      <a16:colId xmlns:a16="http://schemas.microsoft.com/office/drawing/2014/main" val="250552191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No. (%) of Participants</a:t>
                      </a:r>
                    </a:p>
                  </a:txBody>
                  <a:tcPr anchor="ctr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0366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noProof="0">
                          <a:solidFill>
                            <a:schemeClr val="bg1"/>
                          </a:solidFill>
                        </a:rPr>
                        <a:t>VES + VRC + CAP (N = 20)</a:t>
                      </a:r>
                      <a:endParaRPr lang="en-US" sz="16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B98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50543"/>
                  </a:ext>
                </a:extLst>
              </a:tr>
              <a:tr h="339898">
                <a:tc>
                  <a:txBody>
                    <a:bodyPr/>
                    <a:lstStyle/>
                    <a:p>
                      <a:r>
                        <a:rPr lang="en-US" sz="1500" b="1" err="1">
                          <a:solidFill>
                            <a:srgbClr val="203661"/>
                          </a:solidFill>
                        </a:rPr>
                        <a:t>TEAE</a:t>
                      </a:r>
                      <a:endParaRPr lang="en-US" sz="1500" b="1">
                        <a:solidFill>
                          <a:srgbClr val="20366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rgbClr val="203661"/>
                          </a:solidFill>
                        </a:rPr>
                        <a:t>19 (9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498254"/>
                  </a:ext>
                </a:extLst>
              </a:tr>
              <a:tr h="339898">
                <a:tc>
                  <a:txBody>
                    <a:bodyPr/>
                    <a:lstStyle/>
                    <a:p>
                      <a:pPr marL="182880"/>
                      <a:r>
                        <a:rPr lang="en-US" sz="1500" b="0" dirty="0">
                          <a:solidFill>
                            <a:srgbClr val="203661"/>
                          </a:solidFill>
                        </a:rPr>
                        <a:t>Study drug–relat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>
                          <a:solidFill>
                            <a:srgbClr val="203661"/>
                          </a:solidFill>
                        </a:rPr>
                        <a:t>18 (90)</a:t>
                      </a:r>
                      <a:endParaRPr lang="en-US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0041299"/>
                  </a:ext>
                </a:extLst>
              </a:tr>
              <a:tr h="339898">
                <a:tc>
                  <a:txBody>
                    <a:bodyPr/>
                    <a:lstStyle/>
                    <a:p>
                      <a:r>
                        <a:rPr lang="en-US" sz="1500" b="1" err="1">
                          <a:solidFill>
                            <a:srgbClr val="203661"/>
                          </a:solidFill>
                        </a:rPr>
                        <a:t>TEAE</a:t>
                      </a:r>
                      <a:r>
                        <a:rPr lang="en-US" sz="1500" b="1">
                          <a:solidFill>
                            <a:srgbClr val="203661"/>
                          </a:solidFill>
                        </a:rPr>
                        <a:t> grade 2 or high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rgbClr val="203661"/>
                          </a:solidFill>
                        </a:rPr>
                        <a:t>14 (70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1383739"/>
                  </a:ext>
                </a:extLst>
              </a:tr>
              <a:tr h="339898">
                <a:tc>
                  <a:txBody>
                    <a:bodyPr/>
                    <a:lstStyle/>
                    <a:p>
                      <a:pPr marL="182880" marR="0" lvl="0" indent="0" algn="l" defTabSz="6828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kern="1200" dirty="0">
                          <a:solidFill>
                            <a:srgbClr val="203661"/>
                          </a:solidFill>
                          <a:latin typeface="+mn-lt"/>
                          <a:ea typeface="+mn-ea"/>
                          <a:cs typeface="+mn-cs"/>
                        </a:rPr>
                        <a:t>Study drug</a:t>
                      </a:r>
                      <a:r>
                        <a:rPr lang="en-US" sz="1500" b="0" dirty="0">
                          <a:solidFill>
                            <a:srgbClr val="203661"/>
                          </a:solidFill>
                        </a:rPr>
                        <a:t>–</a:t>
                      </a:r>
                      <a:r>
                        <a:rPr lang="en-US" sz="1500" b="0" kern="1200" dirty="0">
                          <a:solidFill>
                            <a:srgbClr val="203661"/>
                          </a:solidFill>
                          <a:latin typeface="+mn-lt"/>
                          <a:ea typeface="+mn-ea"/>
                          <a:cs typeface="+mn-cs"/>
                        </a:rPr>
                        <a:t>relat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kern="1200" dirty="0">
                          <a:solidFill>
                            <a:srgbClr val="203661"/>
                          </a:solidFill>
                          <a:latin typeface="+mn-lt"/>
                          <a:ea typeface="+mn-ea"/>
                          <a:cs typeface="+mn-cs"/>
                        </a:rPr>
                        <a:t>8 (40)</a:t>
                      </a:r>
                      <a:endParaRPr lang="en-US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7316931"/>
                  </a:ext>
                </a:extLst>
              </a:tr>
              <a:tr h="339898">
                <a:tc>
                  <a:txBody>
                    <a:bodyPr/>
                    <a:lstStyle/>
                    <a:p>
                      <a:pPr marL="0" algn="l" defTabSz="682834" rtl="0" eaLnBrk="1" latinLnBrk="0" hangingPunct="1"/>
                      <a:r>
                        <a:rPr lang="en-US" sz="1500" b="1" kern="1200" err="1">
                          <a:solidFill>
                            <a:srgbClr val="203661"/>
                          </a:solidFill>
                          <a:latin typeface="+mn-lt"/>
                          <a:ea typeface="+mn-ea"/>
                          <a:cs typeface="+mn-cs"/>
                        </a:rPr>
                        <a:t>TEAE</a:t>
                      </a:r>
                      <a:r>
                        <a:rPr lang="en-US" sz="1500" b="1" kern="1200">
                          <a:solidFill>
                            <a:srgbClr val="203661"/>
                          </a:solidFill>
                          <a:latin typeface="+mn-lt"/>
                          <a:ea typeface="+mn-ea"/>
                          <a:cs typeface="+mn-cs"/>
                        </a:rPr>
                        <a:t> grade 3 or high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rgbClr val="203661"/>
                          </a:solidFill>
                        </a:rPr>
                        <a:t>4 (20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3789147"/>
                  </a:ext>
                </a:extLst>
              </a:tr>
              <a:tr h="339898">
                <a:tc>
                  <a:txBody>
                    <a:bodyPr/>
                    <a:lstStyle/>
                    <a:p>
                      <a:pPr marL="182880"/>
                      <a:r>
                        <a:rPr lang="en-US" sz="1500" dirty="0">
                          <a:solidFill>
                            <a:srgbClr val="203661"/>
                          </a:solidFill>
                        </a:rPr>
                        <a:t>Study drug</a:t>
                      </a:r>
                      <a:r>
                        <a:rPr lang="en-US" sz="1500" b="0" dirty="0">
                          <a:solidFill>
                            <a:srgbClr val="203661"/>
                          </a:solidFill>
                        </a:rPr>
                        <a:t>–</a:t>
                      </a:r>
                      <a:r>
                        <a:rPr lang="en-US" sz="1500" dirty="0">
                          <a:solidFill>
                            <a:srgbClr val="203661"/>
                          </a:solidFill>
                        </a:rPr>
                        <a:t>relat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rgbClr val="203661"/>
                          </a:solidFill>
                        </a:rPr>
                        <a:t>2 (10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8597162"/>
                  </a:ext>
                </a:extLst>
              </a:tr>
              <a:tr h="339898">
                <a:tc>
                  <a:txBody>
                    <a:bodyPr/>
                    <a:lstStyle/>
                    <a:p>
                      <a:pPr marL="0" algn="l" defTabSz="682834" rtl="0" eaLnBrk="1" latinLnBrk="0" hangingPunct="1"/>
                      <a:r>
                        <a:rPr lang="en-US" sz="1500" b="1" kern="1200">
                          <a:solidFill>
                            <a:srgbClr val="203661"/>
                          </a:solidFill>
                          <a:latin typeface="+mn-lt"/>
                          <a:ea typeface="+mn-ea"/>
                          <a:cs typeface="+mn-cs"/>
                        </a:rPr>
                        <a:t>SA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rgbClr val="203661"/>
                          </a:solidFill>
                        </a:rPr>
                        <a:t>2 (10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2471362"/>
                  </a:ext>
                </a:extLst>
              </a:tr>
              <a:tr h="339898">
                <a:tc>
                  <a:txBody>
                    <a:bodyPr/>
                    <a:lstStyle/>
                    <a:p>
                      <a:pPr marL="182880"/>
                      <a:r>
                        <a:rPr lang="en-US" sz="1500" dirty="0">
                          <a:solidFill>
                            <a:srgbClr val="203661"/>
                          </a:solidFill>
                        </a:rPr>
                        <a:t>Study drug</a:t>
                      </a:r>
                      <a:r>
                        <a:rPr lang="en-US" sz="1500" b="0" dirty="0">
                          <a:solidFill>
                            <a:srgbClr val="203661"/>
                          </a:solidFill>
                        </a:rPr>
                        <a:t>–</a:t>
                      </a:r>
                      <a:r>
                        <a:rPr lang="en-US" sz="1500" dirty="0">
                          <a:solidFill>
                            <a:srgbClr val="203661"/>
                          </a:solidFill>
                        </a:rPr>
                        <a:t>relate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rgbClr val="203661"/>
                          </a:solidFill>
                        </a:rPr>
                        <a:t>0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1349456"/>
                  </a:ext>
                </a:extLst>
              </a:tr>
              <a:tr h="339898">
                <a:tc>
                  <a:txBody>
                    <a:bodyPr/>
                    <a:lstStyle/>
                    <a:p>
                      <a:r>
                        <a:rPr lang="en-US" sz="1500" b="1" err="1">
                          <a:solidFill>
                            <a:srgbClr val="203661"/>
                          </a:solidFill>
                        </a:rPr>
                        <a:t>TEAE</a:t>
                      </a:r>
                      <a:r>
                        <a:rPr lang="en-US" sz="1500" b="1">
                          <a:solidFill>
                            <a:srgbClr val="203661"/>
                          </a:solidFill>
                        </a:rPr>
                        <a:t> leading to premature discontinuation of study drug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rgbClr val="203661"/>
                          </a:solidFill>
                        </a:rPr>
                        <a:t>1 (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831098"/>
                  </a:ext>
                </a:extLst>
              </a:tr>
              <a:tr h="339898">
                <a:tc>
                  <a:txBody>
                    <a:bodyPr/>
                    <a:lstStyle/>
                    <a:p>
                      <a:pPr marL="182880" algn="l" defTabSz="682834" rtl="0" eaLnBrk="1" latinLnBrk="0" hangingPunct="1"/>
                      <a:r>
                        <a:rPr lang="en-US" sz="1500" kern="1200">
                          <a:solidFill>
                            <a:srgbClr val="203661"/>
                          </a:solidFill>
                          <a:latin typeface="+mn-lt"/>
                          <a:ea typeface="+mn-ea"/>
                          <a:cs typeface="+mn-cs"/>
                        </a:rPr>
                        <a:t>Grade 1 cytokine release syndrome considered related to VE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rgbClr val="203661"/>
                          </a:solidFill>
                        </a:rPr>
                        <a:t>1 (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680617"/>
                  </a:ext>
                </a:extLst>
              </a:tr>
              <a:tr h="3398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dirty="0">
                          <a:solidFill>
                            <a:srgbClr val="203661"/>
                          </a:solidFill>
                        </a:rPr>
                        <a:t>TEAE leading to death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rgbClr val="203661"/>
                          </a:solidFill>
                        </a:rPr>
                        <a:t>0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F4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3290466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779B830-AB91-C92E-4D21-07BA60097304}"/>
              </a:ext>
            </a:extLst>
          </p:cNvPr>
          <p:cNvSpPr>
            <a:spLocks/>
          </p:cNvSpPr>
          <p:nvPr/>
        </p:nvSpPr>
        <p:spPr bwMode="auto">
          <a:xfrm>
            <a:off x="0" y="5531952"/>
            <a:ext cx="12192000" cy="800219"/>
          </a:xfrm>
          <a:prstGeom prst="rect">
            <a:avLst/>
          </a:prstGeom>
          <a:solidFill>
            <a:srgbClr val="203661"/>
          </a:solidFill>
          <a:ln w="25400" cap="flat" cmpd="sng" algn="ctr">
            <a:solidFill>
              <a:srgbClr val="203661"/>
            </a:solidFill>
            <a:prstDash val="solid"/>
          </a:ln>
          <a:effectLst/>
        </p:spPr>
        <p:txBody>
          <a:bodyPr wrap="square" lIns="91440" tIns="91440" rIns="91440" bIns="91440" anchor="ctr">
            <a:spAutoFit/>
          </a:bodyPr>
          <a:lstStyle/>
          <a:p>
            <a:pPr marL="0" marR="0" lvl="0" indent="0" algn="ctr" defTabSz="121914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-1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itchFamily="34" charset="0"/>
              </a:rPr>
              <a:t>Overall, the study regimen was well tolerated; </a:t>
            </a:r>
          </a:p>
          <a:p>
            <a:pPr marL="0" marR="0" lvl="0" indent="0" algn="ctr" defTabSz="121914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spc="-10" dirty="0">
                <a:solidFill>
                  <a:srgbClr val="FFFFFF"/>
                </a:solidFill>
                <a:latin typeface="+mj-lt"/>
                <a:cs typeface="Arial" pitchFamily="34" charset="0"/>
              </a:rPr>
              <a:t>I</a:t>
            </a:r>
            <a:r>
              <a:rPr kumimoji="0" lang="en-US" sz="2000" b="1" i="0" u="none" strike="noStrike" kern="0" cap="none" spc="-10" normalizeH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itchFamily="34" charset="0"/>
              </a:rPr>
              <a:t>nfusion</a:t>
            </a:r>
            <a:r>
              <a:rPr kumimoji="0" lang="en-US" sz="2000" b="1" i="0" u="none" strike="noStrike" kern="0" cap="none" spc="-1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itchFamily="34" charset="0"/>
              </a:rPr>
              <a:t> related reactions were frequent (n=18, 90%), </a:t>
            </a:r>
            <a:r>
              <a:rPr lang="en-US" sz="2000" b="1" kern="0" spc="-10" dirty="0">
                <a:solidFill>
                  <a:srgbClr val="FFFFFF"/>
                </a:solidFill>
                <a:latin typeface="+mj-lt"/>
                <a:cs typeface="Arial" pitchFamily="34" charset="0"/>
              </a:rPr>
              <a:t> </a:t>
            </a:r>
            <a:r>
              <a:rPr kumimoji="0" lang="en-US" sz="2000" b="1" i="0" u="none" strike="noStrike" kern="0" cap="none" spc="-1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itchFamily="34" charset="0"/>
              </a:rPr>
              <a:t>but mostly mild in severity</a:t>
            </a:r>
          </a:p>
        </p:txBody>
      </p:sp>
    </p:spTree>
    <p:extLst>
      <p:ext uri="{BB962C8B-B14F-4D97-AF65-F5344CB8AC3E}">
        <p14:creationId xmlns:p14="http://schemas.microsoft.com/office/powerpoint/2010/main" val="19930632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B40CD2-01D3-3349-F8EE-1998B60DB51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994" y="1074704"/>
            <a:ext cx="11632998" cy="518212"/>
          </a:xfrm>
        </p:spPr>
        <p:txBody>
          <a:bodyPr/>
          <a:lstStyle/>
          <a:p>
            <a:r>
              <a:rPr lang="en-US" dirty="0"/>
              <a:t>Single-dose VRC07-523LS and CAP256V2LS each administered as 20 mg/kg IV at week 1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09BDF64F-D5ED-AD63-29CF-8AE463EE0B0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1E1E1E"/>
                </a:solidFill>
              </a:defRPr>
            </a:lvl1pPr>
          </a:lstStyle>
          <a:p>
            <a:pPr>
              <a:lnSpc>
                <a:spcPct val="85000"/>
              </a:lnSpc>
              <a:defRPr/>
            </a:pPr>
            <a:r>
              <a:rPr lang="en-US" b="1" dirty="0"/>
              <a:t> ART</a:t>
            </a:r>
            <a:r>
              <a:rPr lang="en-US" dirty="0"/>
              <a:t>, antiretroviral treatment; </a:t>
            </a:r>
            <a:r>
              <a:rPr lang="en-US" sz="1067" b="1" dirty="0">
                <a:solidFill>
                  <a:srgbClr val="000000"/>
                </a:solidFill>
                <a:latin typeface="Arial Narrow" panose="020B0606020202030204" pitchFamily="34" charset="0"/>
              </a:rPr>
              <a:t>ATI</a:t>
            </a:r>
            <a:r>
              <a:rPr lang="en-US" sz="1067" dirty="0">
                <a:solidFill>
                  <a:srgbClr val="000000"/>
                </a:solidFill>
                <a:latin typeface="Arial Narrow" panose="020B0606020202030204" pitchFamily="34" charset="0"/>
              </a:rPr>
              <a:t>, analytical treatment interruption; </a:t>
            </a:r>
            <a:r>
              <a:rPr lang="en-US" b="1" dirty="0"/>
              <a:t>bNAb</a:t>
            </a:r>
            <a:r>
              <a:rPr lang="en-US" dirty="0"/>
              <a:t>, broadly neutralizing antibody; </a:t>
            </a:r>
            <a:r>
              <a:rPr lang="en-US" b="1" dirty="0"/>
              <a:t>IC</a:t>
            </a:r>
            <a:r>
              <a:rPr lang="en-US" b="1" baseline="-25000" dirty="0"/>
              <a:t>50</a:t>
            </a:r>
            <a:r>
              <a:rPr lang="en-US" dirty="0"/>
              <a:t>, half-maximal inhibitory concentration; </a:t>
            </a:r>
            <a:r>
              <a:rPr lang="en-US" b="1" dirty="0"/>
              <a:t>VES</a:t>
            </a:r>
            <a:r>
              <a:rPr lang="en-US" dirty="0"/>
              <a:t>, vesatolimo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76771-017A-7197-C480-C2E6B23441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/>
              <a:t>bNAb Concentrations</a:t>
            </a:r>
            <a:endParaRPr lang="en-US" sz="2000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54E39DF-6684-111A-C80E-F96182D8B45E}"/>
              </a:ext>
            </a:extLst>
          </p:cNvPr>
          <p:cNvCxnSpPr>
            <a:cxnSpLocks/>
          </p:cNvCxnSpPr>
          <p:nvPr/>
        </p:nvCxnSpPr>
        <p:spPr>
          <a:xfrm>
            <a:off x="6349524" y="2128266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AutoShape 3">
            <a:extLst>
              <a:ext uri="{FF2B5EF4-FFF2-40B4-BE49-F238E27FC236}">
                <a16:creationId xmlns:a16="http://schemas.microsoft.com/office/drawing/2014/main" id="{26982D86-5EF4-FAE4-BD64-38B55EE6EE2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640417" y="1838262"/>
            <a:ext cx="8900585" cy="3316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85" name="Rectangle 6">
            <a:extLst>
              <a:ext uri="{FF2B5EF4-FFF2-40B4-BE49-F238E27FC236}">
                <a16:creationId xmlns:a16="http://schemas.microsoft.com/office/drawing/2014/main" id="{3D3691EB-14FF-B8AF-C393-AD853D6239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53734" y="2100729"/>
            <a:ext cx="3534834" cy="2518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86" name="Freeform 7">
            <a:extLst>
              <a:ext uri="{FF2B5EF4-FFF2-40B4-BE49-F238E27FC236}">
                <a16:creationId xmlns:a16="http://schemas.microsoft.com/office/drawing/2014/main" id="{4C4AC1B8-C7F8-0C5A-77D7-1B7B15BE9B1F}"/>
              </a:ext>
            </a:extLst>
          </p:cNvPr>
          <p:cNvSpPr>
            <a:spLocks/>
          </p:cNvSpPr>
          <p:nvPr/>
        </p:nvSpPr>
        <p:spPr bwMode="auto">
          <a:xfrm>
            <a:off x="2513332" y="2543113"/>
            <a:ext cx="3198284" cy="1293283"/>
          </a:xfrm>
          <a:custGeom>
            <a:avLst/>
            <a:gdLst>
              <a:gd name="T0" fmla="*/ 0 w 1511"/>
              <a:gd name="T1" fmla="*/ 2 h 611"/>
              <a:gd name="T2" fmla="*/ 39 w 1511"/>
              <a:gd name="T3" fmla="*/ 159 h 611"/>
              <a:gd name="T4" fmla="*/ 80 w 1511"/>
              <a:gd name="T5" fmla="*/ 184 h 611"/>
              <a:gd name="T6" fmla="*/ 119 w 1511"/>
              <a:gd name="T7" fmla="*/ 202 h 611"/>
              <a:gd name="T8" fmla="*/ 279 w 1511"/>
              <a:gd name="T9" fmla="*/ 255 h 611"/>
              <a:gd name="T10" fmla="*/ 438 w 1511"/>
              <a:gd name="T11" fmla="*/ 290 h 611"/>
              <a:gd name="T12" fmla="*/ 597 w 1511"/>
              <a:gd name="T13" fmla="*/ 332 h 611"/>
              <a:gd name="T14" fmla="*/ 715 w 1511"/>
              <a:gd name="T15" fmla="*/ 371 h 611"/>
              <a:gd name="T16" fmla="*/ 874 w 1511"/>
              <a:gd name="T17" fmla="*/ 420 h 611"/>
              <a:gd name="T18" fmla="*/ 1033 w 1511"/>
              <a:gd name="T19" fmla="*/ 478 h 611"/>
              <a:gd name="T20" fmla="*/ 1192 w 1511"/>
              <a:gd name="T21" fmla="*/ 517 h 611"/>
              <a:gd name="T22" fmla="*/ 1350 w 1511"/>
              <a:gd name="T23" fmla="*/ 553 h 611"/>
              <a:gd name="T24" fmla="*/ 1509 w 1511"/>
              <a:gd name="T25" fmla="*/ 611 h 611"/>
              <a:gd name="T26" fmla="*/ 1511 w 1511"/>
              <a:gd name="T27" fmla="*/ 603 h 611"/>
              <a:gd name="T28" fmla="*/ 1351 w 1511"/>
              <a:gd name="T29" fmla="*/ 545 h 611"/>
              <a:gd name="T30" fmla="*/ 1194 w 1511"/>
              <a:gd name="T31" fmla="*/ 511 h 611"/>
              <a:gd name="T32" fmla="*/ 1035 w 1511"/>
              <a:gd name="T33" fmla="*/ 470 h 611"/>
              <a:gd name="T34" fmla="*/ 876 w 1511"/>
              <a:gd name="T35" fmla="*/ 412 h 611"/>
              <a:gd name="T36" fmla="*/ 719 w 1511"/>
              <a:gd name="T37" fmla="*/ 363 h 611"/>
              <a:gd name="T38" fmla="*/ 599 w 1511"/>
              <a:gd name="T39" fmla="*/ 324 h 611"/>
              <a:gd name="T40" fmla="*/ 440 w 1511"/>
              <a:gd name="T41" fmla="*/ 283 h 611"/>
              <a:gd name="T42" fmla="*/ 280 w 1511"/>
              <a:gd name="T43" fmla="*/ 247 h 611"/>
              <a:gd name="T44" fmla="*/ 123 w 1511"/>
              <a:gd name="T45" fmla="*/ 197 h 611"/>
              <a:gd name="T46" fmla="*/ 84 w 1511"/>
              <a:gd name="T47" fmla="*/ 178 h 611"/>
              <a:gd name="T48" fmla="*/ 46 w 1511"/>
              <a:gd name="T49" fmla="*/ 156 h 611"/>
              <a:gd name="T50" fmla="*/ 7 w 1511"/>
              <a:gd name="T51" fmla="*/ 0 h 611"/>
              <a:gd name="T52" fmla="*/ 0 w 1511"/>
              <a:gd name="T53" fmla="*/ 2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511" h="611">
                <a:moveTo>
                  <a:pt x="0" y="2"/>
                </a:moveTo>
                <a:lnTo>
                  <a:pt x="39" y="159"/>
                </a:lnTo>
                <a:lnTo>
                  <a:pt x="80" y="184"/>
                </a:lnTo>
                <a:lnTo>
                  <a:pt x="119" y="202"/>
                </a:lnTo>
                <a:lnTo>
                  <a:pt x="279" y="255"/>
                </a:lnTo>
                <a:lnTo>
                  <a:pt x="438" y="290"/>
                </a:lnTo>
                <a:lnTo>
                  <a:pt x="597" y="332"/>
                </a:lnTo>
                <a:lnTo>
                  <a:pt x="715" y="371"/>
                </a:lnTo>
                <a:lnTo>
                  <a:pt x="874" y="420"/>
                </a:lnTo>
                <a:lnTo>
                  <a:pt x="1033" y="478"/>
                </a:lnTo>
                <a:lnTo>
                  <a:pt x="1192" y="517"/>
                </a:lnTo>
                <a:lnTo>
                  <a:pt x="1350" y="553"/>
                </a:lnTo>
                <a:lnTo>
                  <a:pt x="1509" y="611"/>
                </a:lnTo>
                <a:lnTo>
                  <a:pt x="1511" y="603"/>
                </a:lnTo>
                <a:lnTo>
                  <a:pt x="1351" y="545"/>
                </a:lnTo>
                <a:lnTo>
                  <a:pt x="1194" y="511"/>
                </a:lnTo>
                <a:lnTo>
                  <a:pt x="1035" y="470"/>
                </a:lnTo>
                <a:lnTo>
                  <a:pt x="876" y="412"/>
                </a:lnTo>
                <a:lnTo>
                  <a:pt x="719" y="363"/>
                </a:lnTo>
                <a:lnTo>
                  <a:pt x="599" y="324"/>
                </a:lnTo>
                <a:lnTo>
                  <a:pt x="440" y="283"/>
                </a:lnTo>
                <a:lnTo>
                  <a:pt x="280" y="247"/>
                </a:lnTo>
                <a:lnTo>
                  <a:pt x="123" y="197"/>
                </a:lnTo>
                <a:lnTo>
                  <a:pt x="84" y="178"/>
                </a:lnTo>
                <a:lnTo>
                  <a:pt x="46" y="156"/>
                </a:lnTo>
                <a:lnTo>
                  <a:pt x="7" y="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88" name="Rectangle 9">
            <a:extLst>
              <a:ext uri="{FF2B5EF4-FFF2-40B4-BE49-F238E27FC236}">
                <a16:creationId xmlns:a16="http://schemas.microsoft.com/office/drawing/2014/main" id="{CE5DBBFB-388E-3D34-B3A7-AF079AF0B6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952" y="2515596"/>
            <a:ext cx="14817" cy="71967"/>
          </a:xfrm>
          <a:prstGeom prst="rect">
            <a:avLst/>
          </a:prstGeom>
          <a:solidFill>
            <a:srgbClr val="008B8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89" name="Freeform 10">
            <a:extLst>
              <a:ext uri="{FF2B5EF4-FFF2-40B4-BE49-F238E27FC236}">
                <a16:creationId xmlns:a16="http://schemas.microsoft.com/office/drawing/2014/main" id="{FA45BCA6-A1BE-DC2B-2489-E6B710376D45}"/>
              </a:ext>
            </a:extLst>
          </p:cNvPr>
          <p:cNvSpPr>
            <a:spLocks/>
          </p:cNvSpPr>
          <p:nvPr/>
        </p:nvSpPr>
        <p:spPr bwMode="auto">
          <a:xfrm>
            <a:off x="2520952" y="2515596"/>
            <a:ext cx="14817" cy="71967"/>
          </a:xfrm>
          <a:custGeom>
            <a:avLst/>
            <a:gdLst>
              <a:gd name="T0" fmla="*/ 0 w 7"/>
              <a:gd name="T1" fmla="*/ 0 h 34"/>
              <a:gd name="T2" fmla="*/ 0 w 7"/>
              <a:gd name="T3" fmla="*/ 34 h 34"/>
              <a:gd name="T4" fmla="*/ 7 w 7"/>
              <a:gd name="T5" fmla="*/ 34 h 34"/>
              <a:gd name="T6" fmla="*/ 7 w 7"/>
              <a:gd name="T7" fmla="*/ 0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34">
                <a:moveTo>
                  <a:pt x="0" y="0"/>
                </a:moveTo>
                <a:lnTo>
                  <a:pt x="0" y="34"/>
                </a:lnTo>
                <a:lnTo>
                  <a:pt x="7" y="34"/>
                </a:lnTo>
                <a:lnTo>
                  <a:pt x="7" y="0"/>
                </a:ln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90" name="Rectangle 11">
            <a:extLst>
              <a:ext uri="{FF2B5EF4-FFF2-40B4-BE49-F238E27FC236}">
                <a16:creationId xmlns:a16="http://schemas.microsoft.com/office/drawing/2014/main" id="{C91B17E1-EFFE-D896-C4F1-8137975921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9785" y="2511362"/>
            <a:ext cx="52917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91" name="Rectangle 12">
            <a:extLst>
              <a:ext uri="{FF2B5EF4-FFF2-40B4-BE49-F238E27FC236}">
                <a16:creationId xmlns:a16="http://schemas.microsoft.com/office/drawing/2014/main" id="{5899BCAA-CC39-A31E-94D0-78BE31137C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9785" y="2583329"/>
            <a:ext cx="52917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92" name="Rectangle 13">
            <a:extLst>
              <a:ext uri="{FF2B5EF4-FFF2-40B4-BE49-F238E27FC236}">
                <a16:creationId xmlns:a16="http://schemas.microsoft.com/office/drawing/2014/main" id="{C120C5A0-8BC7-F5B7-7BC5-E06C41295B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03501" y="2841563"/>
            <a:ext cx="14817" cy="7408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93" name="Freeform 14">
            <a:extLst>
              <a:ext uri="{FF2B5EF4-FFF2-40B4-BE49-F238E27FC236}">
                <a16:creationId xmlns:a16="http://schemas.microsoft.com/office/drawing/2014/main" id="{7FC8CC7D-A0EB-E122-447D-6C067EBAD309}"/>
              </a:ext>
            </a:extLst>
          </p:cNvPr>
          <p:cNvSpPr>
            <a:spLocks/>
          </p:cNvSpPr>
          <p:nvPr/>
        </p:nvSpPr>
        <p:spPr bwMode="auto">
          <a:xfrm>
            <a:off x="2603501" y="2841563"/>
            <a:ext cx="14817" cy="74083"/>
          </a:xfrm>
          <a:custGeom>
            <a:avLst/>
            <a:gdLst>
              <a:gd name="T0" fmla="*/ 0 w 7"/>
              <a:gd name="T1" fmla="*/ 0 h 35"/>
              <a:gd name="T2" fmla="*/ 0 w 7"/>
              <a:gd name="T3" fmla="*/ 35 h 35"/>
              <a:gd name="T4" fmla="*/ 7 w 7"/>
              <a:gd name="T5" fmla="*/ 35 h 35"/>
              <a:gd name="T6" fmla="*/ 7 w 7"/>
              <a:gd name="T7" fmla="*/ 0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35">
                <a:moveTo>
                  <a:pt x="0" y="0"/>
                </a:moveTo>
                <a:lnTo>
                  <a:pt x="0" y="35"/>
                </a:lnTo>
                <a:lnTo>
                  <a:pt x="7" y="35"/>
                </a:lnTo>
                <a:lnTo>
                  <a:pt x="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94" name="Rectangle 15">
            <a:extLst>
              <a:ext uri="{FF2B5EF4-FFF2-40B4-BE49-F238E27FC236}">
                <a16:creationId xmlns:a16="http://schemas.microsoft.com/office/drawing/2014/main" id="{66BB0897-F01D-8FD1-8872-7B19B71891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4452" y="2837329"/>
            <a:ext cx="50800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95" name="Rectangle 16">
            <a:extLst>
              <a:ext uri="{FF2B5EF4-FFF2-40B4-BE49-F238E27FC236}">
                <a16:creationId xmlns:a16="http://schemas.microsoft.com/office/drawing/2014/main" id="{AF09479F-8960-1B59-D755-FB163AB3F1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4452" y="2911413"/>
            <a:ext cx="50800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96" name="Rectangle 17">
            <a:extLst>
              <a:ext uri="{FF2B5EF4-FFF2-40B4-BE49-F238E27FC236}">
                <a16:creationId xmlns:a16="http://schemas.microsoft.com/office/drawing/2014/main" id="{1087D69E-829F-EC08-F3AD-BDA0749422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86052" y="2896596"/>
            <a:ext cx="16933" cy="6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97" name="Freeform 18">
            <a:extLst>
              <a:ext uri="{FF2B5EF4-FFF2-40B4-BE49-F238E27FC236}">
                <a16:creationId xmlns:a16="http://schemas.microsoft.com/office/drawing/2014/main" id="{3784760E-5412-DB7D-3A3D-20EA3E245D21}"/>
              </a:ext>
            </a:extLst>
          </p:cNvPr>
          <p:cNvSpPr>
            <a:spLocks/>
          </p:cNvSpPr>
          <p:nvPr/>
        </p:nvSpPr>
        <p:spPr bwMode="auto">
          <a:xfrm>
            <a:off x="2686052" y="2896596"/>
            <a:ext cx="16933" cy="63500"/>
          </a:xfrm>
          <a:custGeom>
            <a:avLst/>
            <a:gdLst>
              <a:gd name="T0" fmla="*/ 0 w 8"/>
              <a:gd name="T1" fmla="*/ 0 h 30"/>
              <a:gd name="T2" fmla="*/ 0 w 8"/>
              <a:gd name="T3" fmla="*/ 30 h 30"/>
              <a:gd name="T4" fmla="*/ 8 w 8"/>
              <a:gd name="T5" fmla="*/ 30 h 30"/>
              <a:gd name="T6" fmla="*/ 8 w 8"/>
              <a:gd name="T7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30">
                <a:moveTo>
                  <a:pt x="0" y="0"/>
                </a:moveTo>
                <a:lnTo>
                  <a:pt x="0" y="30"/>
                </a:lnTo>
                <a:lnTo>
                  <a:pt x="8" y="30"/>
                </a:lnTo>
                <a:lnTo>
                  <a:pt x="8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98" name="Rectangle 19">
            <a:extLst>
              <a:ext uri="{FF2B5EF4-FFF2-40B4-BE49-F238E27FC236}">
                <a16:creationId xmlns:a16="http://schemas.microsoft.com/office/drawing/2014/main" id="{C84E5E4C-8E30-B5E8-83AE-ADB366B35E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7001" y="2892363"/>
            <a:ext cx="50800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99" name="Rectangle 20">
            <a:extLst>
              <a:ext uri="{FF2B5EF4-FFF2-40B4-BE49-F238E27FC236}">
                <a16:creationId xmlns:a16="http://schemas.microsoft.com/office/drawing/2014/main" id="{D8E6D674-F335-3BD5-3AE2-4C67872DA7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7001" y="2955863"/>
            <a:ext cx="50800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0" name="Rectangle 21">
            <a:extLst>
              <a:ext uri="{FF2B5EF4-FFF2-40B4-BE49-F238E27FC236}">
                <a16:creationId xmlns:a16="http://schemas.microsoft.com/office/drawing/2014/main" id="{3A9A432A-5048-4991-ABB6-8CE565121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0718" y="2928347"/>
            <a:ext cx="14817" cy="8678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1" name="Freeform 22">
            <a:extLst>
              <a:ext uri="{FF2B5EF4-FFF2-40B4-BE49-F238E27FC236}">
                <a16:creationId xmlns:a16="http://schemas.microsoft.com/office/drawing/2014/main" id="{2EC30B0B-F821-7801-ED2D-8210DE264943}"/>
              </a:ext>
            </a:extLst>
          </p:cNvPr>
          <p:cNvSpPr>
            <a:spLocks/>
          </p:cNvSpPr>
          <p:nvPr/>
        </p:nvSpPr>
        <p:spPr bwMode="auto">
          <a:xfrm>
            <a:off x="2770718" y="2928347"/>
            <a:ext cx="14817" cy="86783"/>
          </a:xfrm>
          <a:custGeom>
            <a:avLst/>
            <a:gdLst>
              <a:gd name="T0" fmla="*/ 0 w 7"/>
              <a:gd name="T1" fmla="*/ 0 h 41"/>
              <a:gd name="T2" fmla="*/ 0 w 7"/>
              <a:gd name="T3" fmla="*/ 41 h 41"/>
              <a:gd name="T4" fmla="*/ 7 w 7"/>
              <a:gd name="T5" fmla="*/ 41 h 41"/>
              <a:gd name="T6" fmla="*/ 7 w 7"/>
              <a:gd name="T7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41">
                <a:moveTo>
                  <a:pt x="0" y="0"/>
                </a:moveTo>
                <a:lnTo>
                  <a:pt x="0" y="41"/>
                </a:lnTo>
                <a:lnTo>
                  <a:pt x="7" y="41"/>
                </a:lnTo>
                <a:lnTo>
                  <a:pt x="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2" name="Rectangle 23">
            <a:extLst>
              <a:ext uri="{FF2B5EF4-FFF2-40B4-BE49-F238E27FC236}">
                <a16:creationId xmlns:a16="http://schemas.microsoft.com/office/drawing/2014/main" id="{0880DEAD-7C0E-AA00-69B0-EC103F93E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53785" y="2924113"/>
            <a:ext cx="50800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3" name="Rectangle 24">
            <a:extLst>
              <a:ext uri="{FF2B5EF4-FFF2-40B4-BE49-F238E27FC236}">
                <a16:creationId xmlns:a16="http://schemas.microsoft.com/office/drawing/2014/main" id="{94CE70AA-A155-6D81-D298-423464785E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53785" y="3010896"/>
            <a:ext cx="50800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4" name="Rectangle 25">
            <a:extLst>
              <a:ext uri="{FF2B5EF4-FFF2-40B4-BE49-F238E27FC236}">
                <a16:creationId xmlns:a16="http://schemas.microsoft.com/office/drawing/2014/main" id="{2A50CA59-97B3-863E-56C6-D0946240B0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7268" y="3034180"/>
            <a:ext cx="14817" cy="91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5" name="Freeform 26">
            <a:extLst>
              <a:ext uri="{FF2B5EF4-FFF2-40B4-BE49-F238E27FC236}">
                <a16:creationId xmlns:a16="http://schemas.microsoft.com/office/drawing/2014/main" id="{D5199131-ADCE-88BE-A99D-86ACC47A13F7}"/>
              </a:ext>
            </a:extLst>
          </p:cNvPr>
          <p:cNvSpPr>
            <a:spLocks/>
          </p:cNvSpPr>
          <p:nvPr/>
        </p:nvSpPr>
        <p:spPr bwMode="auto">
          <a:xfrm>
            <a:off x="3107268" y="3034180"/>
            <a:ext cx="14817" cy="91016"/>
          </a:xfrm>
          <a:custGeom>
            <a:avLst/>
            <a:gdLst>
              <a:gd name="T0" fmla="*/ 0 w 7"/>
              <a:gd name="T1" fmla="*/ 0 h 43"/>
              <a:gd name="T2" fmla="*/ 0 w 7"/>
              <a:gd name="T3" fmla="*/ 43 h 43"/>
              <a:gd name="T4" fmla="*/ 7 w 7"/>
              <a:gd name="T5" fmla="*/ 43 h 43"/>
              <a:gd name="T6" fmla="*/ 7 w 7"/>
              <a:gd name="T7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43">
                <a:moveTo>
                  <a:pt x="0" y="0"/>
                </a:moveTo>
                <a:lnTo>
                  <a:pt x="0" y="43"/>
                </a:lnTo>
                <a:lnTo>
                  <a:pt x="7" y="43"/>
                </a:lnTo>
                <a:lnTo>
                  <a:pt x="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6" name="Rectangle 27">
            <a:extLst>
              <a:ext uri="{FF2B5EF4-FFF2-40B4-BE49-F238E27FC236}">
                <a16:creationId xmlns:a16="http://schemas.microsoft.com/office/drawing/2014/main" id="{4A962294-3E37-B0AD-2F5D-C4D5153D5C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6101" y="3032063"/>
            <a:ext cx="52917" cy="6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7" name="Rectangle 28">
            <a:extLst>
              <a:ext uri="{FF2B5EF4-FFF2-40B4-BE49-F238E27FC236}">
                <a16:creationId xmlns:a16="http://schemas.microsoft.com/office/drawing/2014/main" id="{D57E026B-77F9-61DD-DA8B-6BBF9D03D3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6101" y="3123080"/>
            <a:ext cx="52917" cy="6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8" name="Rectangle 29">
            <a:extLst>
              <a:ext uri="{FF2B5EF4-FFF2-40B4-BE49-F238E27FC236}">
                <a16:creationId xmlns:a16="http://schemas.microsoft.com/office/drawing/2014/main" id="{793B224C-6BB9-67EF-3F56-EB001CEF56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3818" y="3110380"/>
            <a:ext cx="14817" cy="952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9" name="Freeform 30">
            <a:extLst>
              <a:ext uri="{FF2B5EF4-FFF2-40B4-BE49-F238E27FC236}">
                <a16:creationId xmlns:a16="http://schemas.microsoft.com/office/drawing/2014/main" id="{BDD0B037-F3AC-DD69-AFCC-8C2A08C345C7}"/>
              </a:ext>
            </a:extLst>
          </p:cNvPr>
          <p:cNvSpPr>
            <a:spLocks/>
          </p:cNvSpPr>
          <p:nvPr/>
        </p:nvSpPr>
        <p:spPr bwMode="auto">
          <a:xfrm>
            <a:off x="3443818" y="3110380"/>
            <a:ext cx="14817" cy="95249"/>
          </a:xfrm>
          <a:custGeom>
            <a:avLst/>
            <a:gdLst>
              <a:gd name="T0" fmla="*/ 0 w 7"/>
              <a:gd name="T1" fmla="*/ 0 h 45"/>
              <a:gd name="T2" fmla="*/ 0 w 7"/>
              <a:gd name="T3" fmla="*/ 45 h 45"/>
              <a:gd name="T4" fmla="*/ 7 w 7"/>
              <a:gd name="T5" fmla="*/ 45 h 45"/>
              <a:gd name="T6" fmla="*/ 7 w 7"/>
              <a:gd name="T7" fmla="*/ 0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45">
                <a:moveTo>
                  <a:pt x="0" y="0"/>
                </a:moveTo>
                <a:lnTo>
                  <a:pt x="0" y="45"/>
                </a:lnTo>
                <a:lnTo>
                  <a:pt x="7" y="45"/>
                </a:lnTo>
                <a:lnTo>
                  <a:pt x="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0" name="Rectangle 31">
            <a:extLst>
              <a:ext uri="{FF2B5EF4-FFF2-40B4-BE49-F238E27FC236}">
                <a16:creationId xmlns:a16="http://schemas.microsoft.com/office/drawing/2014/main" id="{A4C0B266-55A9-963A-7AD3-A418EAC766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2652" y="3106147"/>
            <a:ext cx="52917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1" name="Rectangle 32">
            <a:extLst>
              <a:ext uri="{FF2B5EF4-FFF2-40B4-BE49-F238E27FC236}">
                <a16:creationId xmlns:a16="http://schemas.microsoft.com/office/drawing/2014/main" id="{9A954810-43DE-DE54-16A8-1B54662211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2652" y="3201396"/>
            <a:ext cx="52917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2" name="Rectangle 33">
            <a:extLst>
              <a:ext uri="{FF2B5EF4-FFF2-40B4-BE49-F238E27FC236}">
                <a16:creationId xmlns:a16="http://schemas.microsoft.com/office/drawing/2014/main" id="{A4F91815-4ECE-B2FA-D6E8-642F5466F0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76134" y="3161180"/>
            <a:ext cx="16933" cy="19473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3" name="Freeform 34">
            <a:extLst>
              <a:ext uri="{FF2B5EF4-FFF2-40B4-BE49-F238E27FC236}">
                <a16:creationId xmlns:a16="http://schemas.microsoft.com/office/drawing/2014/main" id="{C7B1FEF2-5DDD-E431-1A19-D594C14803F4}"/>
              </a:ext>
            </a:extLst>
          </p:cNvPr>
          <p:cNvSpPr>
            <a:spLocks/>
          </p:cNvSpPr>
          <p:nvPr/>
        </p:nvSpPr>
        <p:spPr bwMode="auto">
          <a:xfrm>
            <a:off x="3776134" y="3161180"/>
            <a:ext cx="16933" cy="194733"/>
          </a:xfrm>
          <a:custGeom>
            <a:avLst/>
            <a:gdLst>
              <a:gd name="T0" fmla="*/ 0 w 8"/>
              <a:gd name="T1" fmla="*/ 0 h 92"/>
              <a:gd name="T2" fmla="*/ 0 w 8"/>
              <a:gd name="T3" fmla="*/ 92 h 92"/>
              <a:gd name="T4" fmla="*/ 8 w 8"/>
              <a:gd name="T5" fmla="*/ 92 h 92"/>
              <a:gd name="T6" fmla="*/ 8 w 8"/>
              <a:gd name="T7" fmla="*/ 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92">
                <a:moveTo>
                  <a:pt x="0" y="0"/>
                </a:moveTo>
                <a:lnTo>
                  <a:pt x="0" y="92"/>
                </a:lnTo>
                <a:lnTo>
                  <a:pt x="8" y="92"/>
                </a:lnTo>
                <a:lnTo>
                  <a:pt x="8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4" name="Rectangle 35">
            <a:extLst>
              <a:ext uri="{FF2B5EF4-FFF2-40B4-BE49-F238E27FC236}">
                <a16:creationId xmlns:a16="http://schemas.microsoft.com/office/drawing/2014/main" id="{11A2DDB2-AE42-1581-CF20-7D21BB6BD5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1318" y="3156947"/>
            <a:ext cx="50800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5" name="Rectangle 36">
            <a:extLst>
              <a:ext uri="{FF2B5EF4-FFF2-40B4-BE49-F238E27FC236}">
                <a16:creationId xmlns:a16="http://schemas.microsoft.com/office/drawing/2014/main" id="{C5BB2CB8-3C6F-10D8-861C-967A97E5C9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1318" y="3351680"/>
            <a:ext cx="50800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6" name="Rectangle 37">
            <a:extLst>
              <a:ext uri="{FF2B5EF4-FFF2-40B4-BE49-F238E27FC236}">
                <a16:creationId xmlns:a16="http://schemas.microsoft.com/office/drawing/2014/main" id="{58462636-12DC-C6FE-424A-257230D790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30134" y="3269129"/>
            <a:ext cx="14817" cy="127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7" name="Freeform 38">
            <a:extLst>
              <a:ext uri="{FF2B5EF4-FFF2-40B4-BE49-F238E27FC236}">
                <a16:creationId xmlns:a16="http://schemas.microsoft.com/office/drawing/2014/main" id="{37C5559B-11F8-D24B-09F1-A20D50F4AFCD}"/>
              </a:ext>
            </a:extLst>
          </p:cNvPr>
          <p:cNvSpPr>
            <a:spLocks/>
          </p:cNvSpPr>
          <p:nvPr/>
        </p:nvSpPr>
        <p:spPr bwMode="auto">
          <a:xfrm>
            <a:off x="4030134" y="3269129"/>
            <a:ext cx="14817" cy="127000"/>
          </a:xfrm>
          <a:custGeom>
            <a:avLst/>
            <a:gdLst>
              <a:gd name="T0" fmla="*/ 0 w 7"/>
              <a:gd name="T1" fmla="*/ 0 h 60"/>
              <a:gd name="T2" fmla="*/ 0 w 7"/>
              <a:gd name="T3" fmla="*/ 60 h 60"/>
              <a:gd name="T4" fmla="*/ 7 w 7"/>
              <a:gd name="T5" fmla="*/ 60 h 60"/>
              <a:gd name="T6" fmla="*/ 7 w 7"/>
              <a:gd name="T7" fmla="*/ 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60">
                <a:moveTo>
                  <a:pt x="0" y="0"/>
                </a:moveTo>
                <a:lnTo>
                  <a:pt x="0" y="60"/>
                </a:lnTo>
                <a:lnTo>
                  <a:pt x="7" y="60"/>
                </a:lnTo>
                <a:lnTo>
                  <a:pt x="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8" name="Rectangle 39">
            <a:extLst>
              <a:ext uri="{FF2B5EF4-FFF2-40B4-BE49-F238E27FC236}">
                <a16:creationId xmlns:a16="http://schemas.microsoft.com/office/drawing/2014/main" id="{80EDCFEA-17F2-3731-64AC-529570C4B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1085" y="3264896"/>
            <a:ext cx="50800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9" name="Rectangle 40">
            <a:extLst>
              <a:ext uri="{FF2B5EF4-FFF2-40B4-BE49-F238E27FC236}">
                <a16:creationId xmlns:a16="http://schemas.microsoft.com/office/drawing/2014/main" id="{D180B0B0-9D46-CD08-ADC8-2A41E4F724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1085" y="3391896"/>
            <a:ext cx="50800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20" name="Rectangle 41">
            <a:extLst>
              <a:ext uri="{FF2B5EF4-FFF2-40B4-BE49-F238E27FC236}">
                <a16:creationId xmlns:a16="http://schemas.microsoft.com/office/drawing/2014/main" id="{3FCECB87-270E-C005-6973-6469E00722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6685" y="3360147"/>
            <a:ext cx="16933" cy="1587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21" name="Rectangle 42">
            <a:extLst>
              <a:ext uri="{FF2B5EF4-FFF2-40B4-BE49-F238E27FC236}">
                <a16:creationId xmlns:a16="http://schemas.microsoft.com/office/drawing/2014/main" id="{A2542C2F-9E94-EDAC-0884-F0E113D0D8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6685" y="3360147"/>
            <a:ext cx="16933" cy="158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22" name="Rectangle 43">
            <a:extLst>
              <a:ext uri="{FF2B5EF4-FFF2-40B4-BE49-F238E27FC236}">
                <a16:creationId xmlns:a16="http://schemas.microsoft.com/office/drawing/2014/main" id="{E6843713-7B8C-4786-B906-695A646AA3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7635" y="3355913"/>
            <a:ext cx="50800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23" name="Rectangle 44">
            <a:extLst>
              <a:ext uri="{FF2B5EF4-FFF2-40B4-BE49-F238E27FC236}">
                <a16:creationId xmlns:a16="http://schemas.microsoft.com/office/drawing/2014/main" id="{21FACC80-E1E2-1470-C1E6-33D2E9FA7D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7635" y="3514663"/>
            <a:ext cx="50800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24" name="Rectangle 45">
            <a:extLst>
              <a:ext uri="{FF2B5EF4-FFF2-40B4-BE49-F238E27FC236}">
                <a16:creationId xmlns:a16="http://schemas.microsoft.com/office/drawing/2014/main" id="{2D2DEDA0-34F4-02AB-FC63-B34D19BE8E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001" y="3487147"/>
            <a:ext cx="16933" cy="1460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25" name="Rectangle 46">
            <a:extLst>
              <a:ext uri="{FF2B5EF4-FFF2-40B4-BE49-F238E27FC236}">
                <a16:creationId xmlns:a16="http://schemas.microsoft.com/office/drawing/2014/main" id="{EB3573E0-536A-76C0-54A0-E858C8120F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001" y="3487147"/>
            <a:ext cx="16933" cy="146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26" name="Rectangle 47">
            <a:extLst>
              <a:ext uri="{FF2B5EF4-FFF2-40B4-BE49-F238E27FC236}">
                <a16:creationId xmlns:a16="http://schemas.microsoft.com/office/drawing/2014/main" id="{C99F05F3-1E41-FF0B-87E7-63EB347049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4185" y="3482913"/>
            <a:ext cx="50800" cy="8467"/>
          </a:xfrm>
          <a:prstGeom prst="rect">
            <a:avLst/>
          </a:prstGeom>
          <a:solidFill>
            <a:srgbClr val="008B8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27" name="Rectangle 48">
            <a:extLst>
              <a:ext uri="{FF2B5EF4-FFF2-40B4-BE49-F238E27FC236}">
                <a16:creationId xmlns:a16="http://schemas.microsoft.com/office/drawing/2014/main" id="{5ED3B85F-CADF-240D-137A-B3B29E0B5D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4185" y="3482913"/>
            <a:ext cx="50800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28" name="Rectangle 49">
            <a:extLst>
              <a:ext uri="{FF2B5EF4-FFF2-40B4-BE49-F238E27FC236}">
                <a16:creationId xmlns:a16="http://schemas.microsoft.com/office/drawing/2014/main" id="{24E1CFAD-FA7C-F677-BB53-214F4B6954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4185" y="3628963"/>
            <a:ext cx="50800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29" name="Rectangle 50">
            <a:extLst>
              <a:ext uri="{FF2B5EF4-FFF2-40B4-BE49-F238E27FC236}">
                <a16:creationId xmlns:a16="http://schemas.microsoft.com/office/drawing/2014/main" id="{BC018CD4-E9F6-0C51-0836-5671A0D812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5552" y="3554880"/>
            <a:ext cx="16933" cy="1968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30" name="Freeform 51">
            <a:extLst>
              <a:ext uri="{FF2B5EF4-FFF2-40B4-BE49-F238E27FC236}">
                <a16:creationId xmlns:a16="http://schemas.microsoft.com/office/drawing/2014/main" id="{A9DABDD3-B492-8DBC-CED1-EBAEBF84AECF}"/>
              </a:ext>
            </a:extLst>
          </p:cNvPr>
          <p:cNvSpPr>
            <a:spLocks/>
          </p:cNvSpPr>
          <p:nvPr/>
        </p:nvSpPr>
        <p:spPr bwMode="auto">
          <a:xfrm>
            <a:off x="5035552" y="3554880"/>
            <a:ext cx="16933" cy="196849"/>
          </a:xfrm>
          <a:custGeom>
            <a:avLst/>
            <a:gdLst>
              <a:gd name="T0" fmla="*/ 0 w 8"/>
              <a:gd name="T1" fmla="*/ 0 h 93"/>
              <a:gd name="T2" fmla="*/ 0 w 8"/>
              <a:gd name="T3" fmla="*/ 93 h 93"/>
              <a:gd name="T4" fmla="*/ 8 w 8"/>
              <a:gd name="T5" fmla="*/ 93 h 93"/>
              <a:gd name="T6" fmla="*/ 8 w 8"/>
              <a:gd name="T7" fmla="*/ 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93">
                <a:moveTo>
                  <a:pt x="0" y="0"/>
                </a:moveTo>
                <a:lnTo>
                  <a:pt x="0" y="93"/>
                </a:lnTo>
                <a:lnTo>
                  <a:pt x="8" y="93"/>
                </a:lnTo>
                <a:lnTo>
                  <a:pt x="8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31" name="Rectangle 52">
            <a:extLst>
              <a:ext uri="{FF2B5EF4-FFF2-40B4-BE49-F238E27FC236}">
                <a16:creationId xmlns:a16="http://schemas.microsoft.com/office/drawing/2014/main" id="{8A3A640A-008E-031A-6532-F5AA094981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0735" y="3550647"/>
            <a:ext cx="50800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32" name="Rectangle 53">
            <a:extLst>
              <a:ext uri="{FF2B5EF4-FFF2-40B4-BE49-F238E27FC236}">
                <a16:creationId xmlns:a16="http://schemas.microsoft.com/office/drawing/2014/main" id="{A8C558AB-1CC0-5971-A7DE-1ABB03973F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0735" y="3747496"/>
            <a:ext cx="50800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33" name="Rectangle 54">
            <a:extLst>
              <a:ext uri="{FF2B5EF4-FFF2-40B4-BE49-F238E27FC236}">
                <a16:creationId xmlns:a16="http://schemas.microsoft.com/office/drawing/2014/main" id="{205BE42D-1165-3117-528C-10C1D750CF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4219" y="3624729"/>
            <a:ext cx="14817" cy="2116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34" name="Freeform 55">
            <a:extLst>
              <a:ext uri="{FF2B5EF4-FFF2-40B4-BE49-F238E27FC236}">
                <a16:creationId xmlns:a16="http://schemas.microsoft.com/office/drawing/2014/main" id="{48199BBF-E940-E2B0-F1DA-20DB54989BF1}"/>
              </a:ext>
            </a:extLst>
          </p:cNvPr>
          <p:cNvSpPr>
            <a:spLocks/>
          </p:cNvSpPr>
          <p:nvPr/>
        </p:nvSpPr>
        <p:spPr bwMode="auto">
          <a:xfrm>
            <a:off x="5374219" y="3624729"/>
            <a:ext cx="14817" cy="211667"/>
          </a:xfrm>
          <a:custGeom>
            <a:avLst/>
            <a:gdLst>
              <a:gd name="T0" fmla="*/ 0 w 7"/>
              <a:gd name="T1" fmla="*/ 0 h 100"/>
              <a:gd name="T2" fmla="*/ 0 w 7"/>
              <a:gd name="T3" fmla="*/ 100 h 100"/>
              <a:gd name="T4" fmla="*/ 7 w 7"/>
              <a:gd name="T5" fmla="*/ 100 h 100"/>
              <a:gd name="T6" fmla="*/ 7 w 7"/>
              <a:gd name="T7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100">
                <a:moveTo>
                  <a:pt x="0" y="0"/>
                </a:moveTo>
                <a:lnTo>
                  <a:pt x="0" y="100"/>
                </a:lnTo>
                <a:lnTo>
                  <a:pt x="7" y="100"/>
                </a:lnTo>
                <a:lnTo>
                  <a:pt x="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35" name="Rectangle 56">
            <a:extLst>
              <a:ext uri="{FF2B5EF4-FFF2-40B4-BE49-F238E27FC236}">
                <a16:creationId xmlns:a16="http://schemas.microsoft.com/office/drawing/2014/main" id="{4C913FB0-B513-530B-D91F-153FC0456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3052" y="3620496"/>
            <a:ext cx="52917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36" name="Rectangle 57">
            <a:extLst>
              <a:ext uri="{FF2B5EF4-FFF2-40B4-BE49-F238E27FC236}">
                <a16:creationId xmlns:a16="http://schemas.microsoft.com/office/drawing/2014/main" id="{840CC821-A76D-2BE9-4491-DA7157A00C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3052" y="3832163"/>
            <a:ext cx="52917" cy="6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37" name="Rectangle 58">
            <a:extLst>
              <a:ext uri="{FF2B5EF4-FFF2-40B4-BE49-F238E27FC236}">
                <a16:creationId xmlns:a16="http://schemas.microsoft.com/office/drawing/2014/main" id="{D62B244C-B076-9312-9F4C-52F706063A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0768" y="3715747"/>
            <a:ext cx="14817" cy="3577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38" name="Freeform 59">
            <a:extLst>
              <a:ext uri="{FF2B5EF4-FFF2-40B4-BE49-F238E27FC236}">
                <a16:creationId xmlns:a16="http://schemas.microsoft.com/office/drawing/2014/main" id="{B6D2541D-BE37-AC71-9A21-012125F2F6A7}"/>
              </a:ext>
            </a:extLst>
          </p:cNvPr>
          <p:cNvSpPr>
            <a:spLocks/>
          </p:cNvSpPr>
          <p:nvPr/>
        </p:nvSpPr>
        <p:spPr bwMode="auto">
          <a:xfrm>
            <a:off x="5710768" y="3715747"/>
            <a:ext cx="14817" cy="357716"/>
          </a:xfrm>
          <a:custGeom>
            <a:avLst/>
            <a:gdLst>
              <a:gd name="T0" fmla="*/ 0 w 7"/>
              <a:gd name="T1" fmla="*/ 0 h 169"/>
              <a:gd name="T2" fmla="*/ 0 w 7"/>
              <a:gd name="T3" fmla="*/ 169 h 169"/>
              <a:gd name="T4" fmla="*/ 7 w 7"/>
              <a:gd name="T5" fmla="*/ 169 h 169"/>
              <a:gd name="T6" fmla="*/ 7 w 7"/>
              <a:gd name="T7" fmla="*/ 0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169">
                <a:moveTo>
                  <a:pt x="0" y="0"/>
                </a:moveTo>
                <a:lnTo>
                  <a:pt x="0" y="169"/>
                </a:lnTo>
                <a:lnTo>
                  <a:pt x="7" y="169"/>
                </a:lnTo>
                <a:lnTo>
                  <a:pt x="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39" name="Rectangle 60">
            <a:extLst>
              <a:ext uri="{FF2B5EF4-FFF2-40B4-BE49-F238E27FC236}">
                <a16:creationId xmlns:a16="http://schemas.microsoft.com/office/drawing/2014/main" id="{B21559DB-4418-51BF-5AF7-37C7E2D738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3713629"/>
            <a:ext cx="52917" cy="6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40" name="Rectangle 61">
            <a:extLst>
              <a:ext uri="{FF2B5EF4-FFF2-40B4-BE49-F238E27FC236}">
                <a16:creationId xmlns:a16="http://schemas.microsoft.com/office/drawing/2014/main" id="{683BC742-9DDE-9A28-257F-2B32122209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069229"/>
            <a:ext cx="52917" cy="84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43" name="Rectangle 65">
            <a:extLst>
              <a:ext uri="{FF2B5EF4-FFF2-40B4-BE49-F238E27FC236}">
                <a16:creationId xmlns:a16="http://schemas.microsoft.com/office/drawing/2014/main" id="{3E8FB4D9-13E3-F403-CF3C-B51B65CE85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6685" y="3446929"/>
            <a:ext cx="16933" cy="31749"/>
          </a:xfrm>
          <a:prstGeom prst="rect">
            <a:avLst/>
          </a:prstGeom>
          <a:solidFill>
            <a:srgbClr val="008B8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44" name="Rectangle 66">
            <a:extLst>
              <a:ext uri="{FF2B5EF4-FFF2-40B4-BE49-F238E27FC236}">
                <a16:creationId xmlns:a16="http://schemas.microsoft.com/office/drawing/2014/main" id="{1D8195BE-D7BB-18E2-7587-71875CBFF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6685" y="3446929"/>
            <a:ext cx="16933" cy="31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46" name="Rectangle 68">
            <a:extLst>
              <a:ext uri="{FF2B5EF4-FFF2-40B4-BE49-F238E27FC236}">
                <a16:creationId xmlns:a16="http://schemas.microsoft.com/office/drawing/2014/main" id="{DE8D5BE2-BF4C-EACA-39B1-83F8907C5F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53734" y="3446929"/>
            <a:ext cx="491067" cy="31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47" name="Rectangle 69">
            <a:extLst>
              <a:ext uri="{FF2B5EF4-FFF2-40B4-BE49-F238E27FC236}">
                <a16:creationId xmlns:a16="http://schemas.microsoft.com/office/drawing/2014/main" id="{9795C22F-0932-0A7C-45DD-3299F12468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6552" y="3446929"/>
            <a:ext cx="1229784" cy="31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49" name="Freeform 71">
            <a:extLst>
              <a:ext uri="{FF2B5EF4-FFF2-40B4-BE49-F238E27FC236}">
                <a16:creationId xmlns:a16="http://schemas.microsoft.com/office/drawing/2014/main" id="{CEC6F819-6D16-7F53-BD87-2AE533C7C51B}"/>
              </a:ext>
            </a:extLst>
          </p:cNvPr>
          <p:cNvSpPr>
            <a:spLocks/>
          </p:cNvSpPr>
          <p:nvPr/>
        </p:nvSpPr>
        <p:spPr bwMode="auto">
          <a:xfrm>
            <a:off x="2844801" y="2996080"/>
            <a:ext cx="31751" cy="450849"/>
          </a:xfrm>
          <a:custGeom>
            <a:avLst/>
            <a:gdLst>
              <a:gd name="T0" fmla="*/ 0 w 15"/>
              <a:gd name="T1" fmla="*/ 0 h 213"/>
              <a:gd name="T2" fmla="*/ 0 w 15"/>
              <a:gd name="T3" fmla="*/ 213 h 213"/>
              <a:gd name="T4" fmla="*/ 15 w 15"/>
              <a:gd name="T5" fmla="*/ 213 h 213"/>
              <a:gd name="T6" fmla="*/ 15 w 15"/>
              <a:gd name="T7" fmla="*/ 5 h 213"/>
              <a:gd name="T8" fmla="*/ 0 w 15"/>
              <a:gd name="T9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213">
                <a:moveTo>
                  <a:pt x="0" y="0"/>
                </a:moveTo>
                <a:lnTo>
                  <a:pt x="0" y="213"/>
                </a:lnTo>
                <a:lnTo>
                  <a:pt x="15" y="213"/>
                </a:lnTo>
                <a:lnTo>
                  <a:pt x="15" y="5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50" name="Freeform 72">
            <a:extLst>
              <a:ext uri="{FF2B5EF4-FFF2-40B4-BE49-F238E27FC236}">
                <a16:creationId xmlns:a16="http://schemas.microsoft.com/office/drawing/2014/main" id="{640090B9-DDBC-2A9D-4D77-4F82ACFE6958}"/>
              </a:ext>
            </a:extLst>
          </p:cNvPr>
          <p:cNvSpPr>
            <a:spLocks/>
          </p:cNvSpPr>
          <p:nvPr/>
        </p:nvSpPr>
        <p:spPr bwMode="auto">
          <a:xfrm>
            <a:off x="2844801" y="2100729"/>
            <a:ext cx="31751" cy="891116"/>
          </a:xfrm>
          <a:custGeom>
            <a:avLst/>
            <a:gdLst>
              <a:gd name="T0" fmla="*/ 15 w 15"/>
              <a:gd name="T1" fmla="*/ 0 h 421"/>
              <a:gd name="T2" fmla="*/ 0 w 15"/>
              <a:gd name="T3" fmla="*/ 0 h 421"/>
              <a:gd name="T4" fmla="*/ 0 w 15"/>
              <a:gd name="T5" fmla="*/ 415 h 421"/>
              <a:gd name="T6" fmla="*/ 15 w 15"/>
              <a:gd name="T7" fmla="*/ 421 h 421"/>
              <a:gd name="T8" fmla="*/ 15 w 15"/>
              <a:gd name="T9" fmla="*/ 0 h 4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421">
                <a:moveTo>
                  <a:pt x="15" y="0"/>
                </a:moveTo>
                <a:lnTo>
                  <a:pt x="0" y="0"/>
                </a:lnTo>
                <a:lnTo>
                  <a:pt x="0" y="415"/>
                </a:lnTo>
                <a:lnTo>
                  <a:pt x="15" y="421"/>
                </a:lnTo>
                <a:lnTo>
                  <a:pt x="15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54" name="Rectangle 76">
            <a:extLst>
              <a:ext uri="{FF2B5EF4-FFF2-40B4-BE49-F238E27FC236}">
                <a16:creationId xmlns:a16="http://schemas.microsoft.com/office/drawing/2014/main" id="{A6F1C47F-BC06-F7F9-0B1A-A4BB083A44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1" y="3478680"/>
            <a:ext cx="31751" cy="1140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56" name="Rectangle 78">
            <a:extLst>
              <a:ext uri="{FF2B5EF4-FFF2-40B4-BE49-F238E27FC236}">
                <a16:creationId xmlns:a16="http://schemas.microsoft.com/office/drawing/2014/main" id="{D66B261E-7E98-F427-4F9B-54BABE78D7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4801" y="3446929"/>
            <a:ext cx="31751" cy="31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58" name="Freeform 80">
            <a:extLst>
              <a:ext uri="{FF2B5EF4-FFF2-40B4-BE49-F238E27FC236}">
                <a16:creationId xmlns:a16="http://schemas.microsoft.com/office/drawing/2014/main" id="{DB2C5007-9BF5-0D79-52C9-E8FB711FD86F}"/>
              </a:ext>
            </a:extLst>
          </p:cNvPr>
          <p:cNvSpPr>
            <a:spLocks/>
          </p:cNvSpPr>
          <p:nvPr/>
        </p:nvSpPr>
        <p:spPr bwMode="auto">
          <a:xfrm>
            <a:off x="4106334" y="3351680"/>
            <a:ext cx="29633" cy="95249"/>
          </a:xfrm>
          <a:custGeom>
            <a:avLst/>
            <a:gdLst>
              <a:gd name="T0" fmla="*/ 0 w 14"/>
              <a:gd name="T1" fmla="*/ 0 h 45"/>
              <a:gd name="T2" fmla="*/ 0 w 14"/>
              <a:gd name="T3" fmla="*/ 45 h 45"/>
              <a:gd name="T4" fmla="*/ 14 w 14"/>
              <a:gd name="T5" fmla="*/ 45 h 45"/>
              <a:gd name="T6" fmla="*/ 14 w 14"/>
              <a:gd name="T7" fmla="*/ 4 h 45"/>
              <a:gd name="T8" fmla="*/ 0 w 14"/>
              <a:gd name="T9" fmla="*/ 0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45">
                <a:moveTo>
                  <a:pt x="0" y="0"/>
                </a:moveTo>
                <a:lnTo>
                  <a:pt x="0" y="45"/>
                </a:lnTo>
                <a:lnTo>
                  <a:pt x="14" y="45"/>
                </a:lnTo>
                <a:lnTo>
                  <a:pt x="14" y="4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59" name="Freeform 81">
            <a:extLst>
              <a:ext uri="{FF2B5EF4-FFF2-40B4-BE49-F238E27FC236}">
                <a16:creationId xmlns:a16="http://schemas.microsoft.com/office/drawing/2014/main" id="{8FDA8E2A-E2AB-E0F1-D388-F94FD4E4F659}"/>
              </a:ext>
            </a:extLst>
          </p:cNvPr>
          <p:cNvSpPr>
            <a:spLocks/>
          </p:cNvSpPr>
          <p:nvPr/>
        </p:nvSpPr>
        <p:spPr bwMode="auto">
          <a:xfrm>
            <a:off x="4106334" y="2100729"/>
            <a:ext cx="29633" cy="1242483"/>
          </a:xfrm>
          <a:custGeom>
            <a:avLst/>
            <a:gdLst>
              <a:gd name="T0" fmla="*/ 14 w 14"/>
              <a:gd name="T1" fmla="*/ 0 h 587"/>
              <a:gd name="T2" fmla="*/ 0 w 14"/>
              <a:gd name="T3" fmla="*/ 0 h 587"/>
              <a:gd name="T4" fmla="*/ 0 w 14"/>
              <a:gd name="T5" fmla="*/ 582 h 587"/>
              <a:gd name="T6" fmla="*/ 14 w 14"/>
              <a:gd name="T7" fmla="*/ 587 h 587"/>
              <a:gd name="T8" fmla="*/ 14 w 14"/>
              <a:gd name="T9" fmla="*/ 0 h 5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587">
                <a:moveTo>
                  <a:pt x="14" y="0"/>
                </a:moveTo>
                <a:lnTo>
                  <a:pt x="0" y="0"/>
                </a:lnTo>
                <a:lnTo>
                  <a:pt x="0" y="582"/>
                </a:lnTo>
                <a:lnTo>
                  <a:pt x="14" y="587"/>
                </a:lnTo>
                <a:lnTo>
                  <a:pt x="14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57" name="Freeform 83">
            <a:extLst>
              <a:ext uri="{FF2B5EF4-FFF2-40B4-BE49-F238E27FC236}">
                <a16:creationId xmlns:a16="http://schemas.microsoft.com/office/drawing/2014/main" id="{124F30D2-421E-EA30-D0F0-DD89C8B11799}"/>
              </a:ext>
            </a:extLst>
          </p:cNvPr>
          <p:cNvSpPr>
            <a:spLocks/>
          </p:cNvSpPr>
          <p:nvPr/>
        </p:nvSpPr>
        <p:spPr bwMode="auto">
          <a:xfrm>
            <a:off x="4106334" y="3332629"/>
            <a:ext cx="29633" cy="27516"/>
          </a:xfrm>
          <a:custGeom>
            <a:avLst/>
            <a:gdLst>
              <a:gd name="T0" fmla="*/ 0 w 14"/>
              <a:gd name="T1" fmla="*/ 0 h 13"/>
              <a:gd name="T2" fmla="*/ 0 w 14"/>
              <a:gd name="T3" fmla="*/ 9 h 13"/>
              <a:gd name="T4" fmla="*/ 14 w 14"/>
              <a:gd name="T5" fmla="*/ 13 h 13"/>
              <a:gd name="T6" fmla="*/ 14 w 14"/>
              <a:gd name="T7" fmla="*/ 5 h 13"/>
              <a:gd name="T8" fmla="*/ 0 w 14"/>
              <a:gd name="T9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13">
                <a:moveTo>
                  <a:pt x="0" y="0"/>
                </a:moveTo>
                <a:lnTo>
                  <a:pt x="0" y="9"/>
                </a:lnTo>
                <a:lnTo>
                  <a:pt x="14" y="13"/>
                </a:lnTo>
                <a:lnTo>
                  <a:pt x="14" y="5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59" name="Rectangle 85">
            <a:extLst>
              <a:ext uri="{FF2B5EF4-FFF2-40B4-BE49-F238E27FC236}">
                <a16:creationId xmlns:a16="http://schemas.microsoft.com/office/drawing/2014/main" id="{5B429BE3-74F8-5E23-99DA-06DFCBB990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334" y="3478680"/>
            <a:ext cx="29633" cy="1140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61" name="Rectangle 87">
            <a:extLst>
              <a:ext uri="{FF2B5EF4-FFF2-40B4-BE49-F238E27FC236}">
                <a16:creationId xmlns:a16="http://schemas.microsoft.com/office/drawing/2014/main" id="{A351FED9-E6D3-E835-6B42-195EA86D22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334" y="3446929"/>
            <a:ext cx="29633" cy="31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62" name="Freeform 88">
            <a:extLst>
              <a:ext uri="{FF2B5EF4-FFF2-40B4-BE49-F238E27FC236}">
                <a16:creationId xmlns:a16="http://schemas.microsoft.com/office/drawing/2014/main" id="{ABBB95BC-D22D-ACB0-EA17-2B2C7B6EB155}"/>
              </a:ext>
            </a:extLst>
          </p:cNvPr>
          <p:cNvSpPr>
            <a:spLocks/>
          </p:cNvSpPr>
          <p:nvPr/>
        </p:nvSpPr>
        <p:spPr bwMode="auto">
          <a:xfrm>
            <a:off x="2345268" y="1988140"/>
            <a:ext cx="3556001" cy="2639890"/>
          </a:xfrm>
          <a:custGeom>
            <a:avLst/>
            <a:gdLst>
              <a:gd name="T0" fmla="*/ 4 w 1678"/>
              <a:gd name="T1" fmla="*/ 4 h 1198"/>
              <a:gd name="T2" fmla="*/ 4 w 1678"/>
              <a:gd name="T3" fmla="*/ 7 h 1198"/>
              <a:gd name="T4" fmla="*/ 1670 w 1678"/>
              <a:gd name="T5" fmla="*/ 7 h 1198"/>
              <a:gd name="T6" fmla="*/ 1670 w 1678"/>
              <a:gd name="T7" fmla="*/ 1191 h 1198"/>
              <a:gd name="T8" fmla="*/ 8 w 1678"/>
              <a:gd name="T9" fmla="*/ 1191 h 1198"/>
              <a:gd name="T10" fmla="*/ 8 w 1678"/>
              <a:gd name="T11" fmla="*/ 4 h 1198"/>
              <a:gd name="T12" fmla="*/ 4 w 1678"/>
              <a:gd name="T13" fmla="*/ 4 h 1198"/>
              <a:gd name="T14" fmla="*/ 4 w 1678"/>
              <a:gd name="T15" fmla="*/ 7 h 1198"/>
              <a:gd name="T16" fmla="*/ 4 w 1678"/>
              <a:gd name="T17" fmla="*/ 4 h 1198"/>
              <a:gd name="T18" fmla="*/ 0 w 1678"/>
              <a:gd name="T19" fmla="*/ 4 h 1198"/>
              <a:gd name="T20" fmla="*/ 0 w 1678"/>
              <a:gd name="T21" fmla="*/ 1198 h 1198"/>
              <a:gd name="T22" fmla="*/ 1678 w 1678"/>
              <a:gd name="T23" fmla="*/ 1198 h 1198"/>
              <a:gd name="T24" fmla="*/ 1678 w 1678"/>
              <a:gd name="T25" fmla="*/ 0 h 1198"/>
              <a:gd name="T26" fmla="*/ 0 w 1678"/>
              <a:gd name="T27" fmla="*/ 0 h 1198"/>
              <a:gd name="T28" fmla="*/ 0 w 1678"/>
              <a:gd name="T29" fmla="*/ 4 h 1198"/>
              <a:gd name="T30" fmla="*/ 4 w 1678"/>
              <a:gd name="T31" fmla="*/ 4 h 1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678" h="1198">
                <a:moveTo>
                  <a:pt x="4" y="4"/>
                </a:moveTo>
                <a:lnTo>
                  <a:pt x="4" y="7"/>
                </a:lnTo>
                <a:lnTo>
                  <a:pt x="1670" y="7"/>
                </a:lnTo>
                <a:lnTo>
                  <a:pt x="1670" y="1191"/>
                </a:lnTo>
                <a:lnTo>
                  <a:pt x="8" y="1191"/>
                </a:lnTo>
                <a:lnTo>
                  <a:pt x="8" y="4"/>
                </a:lnTo>
                <a:lnTo>
                  <a:pt x="4" y="4"/>
                </a:lnTo>
                <a:lnTo>
                  <a:pt x="4" y="7"/>
                </a:lnTo>
                <a:lnTo>
                  <a:pt x="4" y="4"/>
                </a:lnTo>
                <a:lnTo>
                  <a:pt x="0" y="4"/>
                </a:lnTo>
                <a:lnTo>
                  <a:pt x="0" y="1198"/>
                </a:lnTo>
                <a:lnTo>
                  <a:pt x="1678" y="1198"/>
                </a:lnTo>
                <a:lnTo>
                  <a:pt x="1678" y="0"/>
                </a:lnTo>
                <a:lnTo>
                  <a:pt x="0" y="0"/>
                </a:lnTo>
                <a:lnTo>
                  <a:pt x="0" y="4"/>
                </a:lnTo>
                <a:lnTo>
                  <a:pt x="4" y="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63" name="Rectangle 89">
            <a:extLst>
              <a:ext uri="{FF2B5EF4-FFF2-40B4-BE49-F238E27FC236}">
                <a16:creationId xmlns:a16="http://schemas.microsoft.com/office/drawing/2014/main" id="{C196005A-85A0-E1AB-FB54-03AE37DAC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4468" y="4496796"/>
            <a:ext cx="59267" cy="169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64" name="Freeform 90">
            <a:extLst>
              <a:ext uri="{FF2B5EF4-FFF2-40B4-BE49-F238E27FC236}">
                <a16:creationId xmlns:a16="http://schemas.microsoft.com/office/drawing/2014/main" id="{943AB3A2-DED6-C2C6-FE0B-CB2DAB62C294}"/>
              </a:ext>
            </a:extLst>
          </p:cNvPr>
          <p:cNvSpPr>
            <a:spLocks/>
          </p:cNvSpPr>
          <p:nvPr/>
        </p:nvSpPr>
        <p:spPr bwMode="auto">
          <a:xfrm>
            <a:off x="2294468" y="4496796"/>
            <a:ext cx="59267" cy="16933"/>
          </a:xfrm>
          <a:custGeom>
            <a:avLst/>
            <a:gdLst>
              <a:gd name="T0" fmla="*/ 0 w 28"/>
              <a:gd name="T1" fmla="*/ 8 h 8"/>
              <a:gd name="T2" fmla="*/ 28 w 28"/>
              <a:gd name="T3" fmla="*/ 8 h 8"/>
              <a:gd name="T4" fmla="*/ 28 w 28"/>
              <a:gd name="T5" fmla="*/ 0 h 8"/>
              <a:gd name="T6" fmla="*/ 0 w 28"/>
              <a:gd name="T7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" h="8">
                <a:moveTo>
                  <a:pt x="0" y="8"/>
                </a:moveTo>
                <a:lnTo>
                  <a:pt x="28" y="8"/>
                </a:lnTo>
                <a:lnTo>
                  <a:pt x="28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65" name="Rectangle 91">
            <a:extLst>
              <a:ext uri="{FF2B5EF4-FFF2-40B4-BE49-F238E27FC236}">
                <a16:creationId xmlns:a16="http://schemas.microsoft.com/office/drawing/2014/main" id="{6EF99176-9641-16AA-66D8-066DEB732C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4468" y="3961280"/>
            <a:ext cx="59267" cy="169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66" name="Freeform 92">
            <a:extLst>
              <a:ext uri="{FF2B5EF4-FFF2-40B4-BE49-F238E27FC236}">
                <a16:creationId xmlns:a16="http://schemas.microsoft.com/office/drawing/2014/main" id="{580902E5-2CA0-8E81-C1CD-55F7E3FC079A}"/>
              </a:ext>
            </a:extLst>
          </p:cNvPr>
          <p:cNvSpPr>
            <a:spLocks/>
          </p:cNvSpPr>
          <p:nvPr/>
        </p:nvSpPr>
        <p:spPr bwMode="auto">
          <a:xfrm>
            <a:off x="2294468" y="3961280"/>
            <a:ext cx="59267" cy="16933"/>
          </a:xfrm>
          <a:custGeom>
            <a:avLst/>
            <a:gdLst>
              <a:gd name="T0" fmla="*/ 0 w 28"/>
              <a:gd name="T1" fmla="*/ 8 h 8"/>
              <a:gd name="T2" fmla="*/ 28 w 28"/>
              <a:gd name="T3" fmla="*/ 8 h 8"/>
              <a:gd name="T4" fmla="*/ 28 w 28"/>
              <a:gd name="T5" fmla="*/ 0 h 8"/>
              <a:gd name="T6" fmla="*/ 0 w 28"/>
              <a:gd name="T7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" h="8">
                <a:moveTo>
                  <a:pt x="0" y="8"/>
                </a:moveTo>
                <a:lnTo>
                  <a:pt x="28" y="8"/>
                </a:lnTo>
                <a:lnTo>
                  <a:pt x="28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67" name="Rectangle 93">
            <a:extLst>
              <a:ext uri="{FF2B5EF4-FFF2-40B4-BE49-F238E27FC236}">
                <a16:creationId xmlns:a16="http://schemas.microsoft.com/office/drawing/2014/main" id="{684D22A9-AB55-F0CC-717E-86A506A341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4468" y="3432113"/>
            <a:ext cx="59267" cy="14816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68" name="Freeform 94">
            <a:extLst>
              <a:ext uri="{FF2B5EF4-FFF2-40B4-BE49-F238E27FC236}">
                <a16:creationId xmlns:a16="http://schemas.microsoft.com/office/drawing/2014/main" id="{CBFA5F12-6721-0973-7A1B-292EBA0833DD}"/>
              </a:ext>
            </a:extLst>
          </p:cNvPr>
          <p:cNvSpPr>
            <a:spLocks/>
          </p:cNvSpPr>
          <p:nvPr/>
        </p:nvSpPr>
        <p:spPr bwMode="auto">
          <a:xfrm>
            <a:off x="2294468" y="3432113"/>
            <a:ext cx="59267" cy="14816"/>
          </a:xfrm>
          <a:custGeom>
            <a:avLst/>
            <a:gdLst>
              <a:gd name="T0" fmla="*/ 0 w 28"/>
              <a:gd name="T1" fmla="*/ 7 h 7"/>
              <a:gd name="T2" fmla="*/ 28 w 28"/>
              <a:gd name="T3" fmla="*/ 7 h 7"/>
              <a:gd name="T4" fmla="*/ 28 w 28"/>
              <a:gd name="T5" fmla="*/ 0 h 7"/>
              <a:gd name="T6" fmla="*/ 0 w 28"/>
              <a:gd name="T7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" h="7">
                <a:moveTo>
                  <a:pt x="0" y="7"/>
                </a:moveTo>
                <a:lnTo>
                  <a:pt x="28" y="7"/>
                </a:lnTo>
                <a:lnTo>
                  <a:pt x="28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69" name="Rectangle 95">
            <a:extLst>
              <a:ext uri="{FF2B5EF4-FFF2-40B4-BE49-F238E27FC236}">
                <a16:creationId xmlns:a16="http://schemas.microsoft.com/office/drawing/2014/main" id="{50005723-E9A9-5D79-F7FB-2C8F406584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4468" y="2900829"/>
            <a:ext cx="59267" cy="14816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70" name="Freeform 96">
            <a:extLst>
              <a:ext uri="{FF2B5EF4-FFF2-40B4-BE49-F238E27FC236}">
                <a16:creationId xmlns:a16="http://schemas.microsoft.com/office/drawing/2014/main" id="{18898B87-F163-A5DF-E2AC-6C7C3CEE0042}"/>
              </a:ext>
            </a:extLst>
          </p:cNvPr>
          <p:cNvSpPr>
            <a:spLocks/>
          </p:cNvSpPr>
          <p:nvPr/>
        </p:nvSpPr>
        <p:spPr bwMode="auto">
          <a:xfrm>
            <a:off x="2294468" y="2900829"/>
            <a:ext cx="59267" cy="14816"/>
          </a:xfrm>
          <a:custGeom>
            <a:avLst/>
            <a:gdLst>
              <a:gd name="T0" fmla="*/ 0 w 28"/>
              <a:gd name="T1" fmla="*/ 7 h 7"/>
              <a:gd name="T2" fmla="*/ 28 w 28"/>
              <a:gd name="T3" fmla="*/ 7 h 7"/>
              <a:gd name="T4" fmla="*/ 28 w 28"/>
              <a:gd name="T5" fmla="*/ 0 h 7"/>
              <a:gd name="T6" fmla="*/ 0 w 28"/>
              <a:gd name="T7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" h="7">
                <a:moveTo>
                  <a:pt x="0" y="7"/>
                </a:moveTo>
                <a:lnTo>
                  <a:pt x="28" y="7"/>
                </a:lnTo>
                <a:lnTo>
                  <a:pt x="28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71" name="Rectangle 97">
            <a:extLst>
              <a:ext uri="{FF2B5EF4-FFF2-40B4-BE49-F238E27FC236}">
                <a16:creationId xmlns:a16="http://schemas.microsoft.com/office/drawing/2014/main" id="{E6C48F44-9ACC-A382-7F59-4F8773C8EA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4468" y="2365313"/>
            <a:ext cx="59267" cy="14816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72" name="Freeform 98">
            <a:extLst>
              <a:ext uri="{FF2B5EF4-FFF2-40B4-BE49-F238E27FC236}">
                <a16:creationId xmlns:a16="http://schemas.microsoft.com/office/drawing/2014/main" id="{B177A25C-34A1-8CC2-B176-A9391D766A6E}"/>
              </a:ext>
            </a:extLst>
          </p:cNvPr>
          <p:cNvSpPr>
            <a:spLocks/>
          </p:cNvSpPr>
          <p:nvPr/>
        </p:nvSpPr>
        <p:spPr bwMode="auto">
          <a:xfrm>
            <a:off x="2294468" y="2365313"/>
            <a:ext cx="59267" cy="14816"/>
          </a:xfrm>
          <a:custGeom>
            <a:avLst/>
            <a:gdLst>
              <a:gd name="T0" fmla="*/ 0 w 28"/>
              <a:gd name="T1" fmla="*/ 7 h 7"/>
              <a:gd name="T2" fmla="*/ 28 w 28"/>
              <a:gd name="T3" fmla="*/ 7 h 7"/>
              <a:gd name="T4" fmla="*/ 28 w 28"/>
              <a:gd name="T5" fmla="*/ 0 h 7"/>
              <a:gd name="T6" fmla="*/ 0 w 28"/>
              <a:gd name="T7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" h="7">
                <a:moveTo>
                  <a:pt x="0" y="7"/>
                </a:moveTo>
                <a:lnTo>
                  <a:pt x="28" y="7"/>
                </a:lnTo>
                <a:lnTo>
                  <a:pt x="28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73" name="Rectangle 99">
            <a:extLst>
              <a:ext uri="{FF2B5EF4-FFF2-40B4-BE49-F238E27FC236}">
                <a16:creationId xmlns:a16="http://schemas.microsoft.com/office/drawing/2014/main" id="{100A14D6-0CE5-1735-0F7A-AF1152DD74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2052" y="4619563"/>
            <a:ext cx="16933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74" name="Freeform 100">
            <a:extLst>
              <a:ext uri="{FF2B5EF4-FFF2-40B4-BE49-F238E27FC236}">
                <a16:creationId xmlns:a16="http://schemas.microsoft.com/office/drawing/2014/main" id="{D4B9C23F-E719-729E-24FE-3C47E0A7BBC0}"/>
              </a:ext>
            </a:extLst>
          </p:cNvPr>
          <p:cNvSpPr>
            <a:spLocks/>
          </p:cNvSpPr>
          <p:nvPr/>
        </p:nvSpPr>
        <p:spPr bwMode="auto">
          <a:xfrm>
            <a:off x="2432052" y="4619563"/>
            <a:ext cx="16933" cy="55033"/>
          </a:xfrm>
          <a:custGeom>
            <a:avLst/>
            <a:gdLst>
              <a:gd name="T0" fmla="*/ 8 w 8"/>
              <a:gd name="T1" fmla="*/ 26 h 26"/>
              <a:gd name="T2" fmla="*/ 8 w 8"/>
              <a:gd name="T3" fmla="*/ 0 h 26"/>
              <a:gd name="T4" fmla="*/ 0 w 8"/>
              <a:gd name="T5" fmla="*/ 0 h 26"/>
              <a:gd name="T6" fmla="*/ 0 w 8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26">
                <a:moveTo>
                  <a:pt x="8" y="26"/>
                </a:moveTo>
                <a:lnTo>
                  <a:pt x="8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75" name="Rectangle 101">
            <a:extLst>
              <a:ext uri="{FF2B5EF4-FFF2-40B4-BE49-F238E27FC236}">
                <a16:creationId xmlns:a16="http://schemas.microsoft.com/office/drawing/2014/main" id="{AF0F5BBE-1C25-CAC6-FDA0-EEB786A5F3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0718" y="4619563"/>
            <a:ext cx="14817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76" name="Freeform 102">
            <a:extLst>
              <a:ext uri="{FF2B5EF4-FFF2-40B4-BE49-F238E27FC236}">
                <a16:creationId xmlns:a16="http://schemas.microsoft.com/office/drawing/2014/main" id="{C2A81DC0-9D96-D77B-1885-CC8076BE0C67}"/>
              </a:ext>
            </a:extLst>
          </p:cNvPr>
          <p:cNvSpPr>
            <a:spLocks/>
          </p:cNvSpPr>
          <p:nvPr/>
        </p:nvSpPr>
        <p:spPr bwMode="auto">
          <a:xfrm>
            <a:off x="2770718" y="4619563"/>
            <a:ext cx="14817" cy="55033"/>
          </a:xfrm>
          <a:custGeom>
            <a:avLst/>
            <a:gdLst>
              <a:gd name="T0" fmla="*/ 7 w 7"/>
              <a:gd name="T1" fmla="*/ 26 h 26"/>
              <a:gd name="T2" fmla="*/ 7 w 7"/>
              <a:gd name="T3" fmla="*/ 0 h 26"/>
              <a:gd name="T4" fmla="*/ 0 w 7"/>
              <a:gd name="T5" fmla="*/ 0 h 26"/>
              <a:gd name="T6" fmla="*/ 0 w 7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26">
                <a:moveTo>
                  <a:pt x="7" y="26"/>
                </a:moveTo>
                <a:lnTo>
                  <a:pt x="7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77" name="Rectangle 103">
            <a:extLst>
              <a:ext uri="{FF2B5EF4-FFF2-40B4-BE49-F238E27FC236}">
                <a16:creationId xmlns:a16="http://schemas.microsoft.com/office/drawing/2014/main" id="{EDACE8B4-3E38-E744-AD04-6A77162906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7268" y="4619563"/>
            <a:ext cx="14817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78" name="Freeform 104">
            <a:extLst>
              <a:ext uri="{FF2B5EF4-FFF2-40B4-BE49-F238E27FC236}">
                <a16:creationId xmlns:a16="http://schemas.microsoft.com/office/drawing/2014/main" id="{AD83DB9B-AA55-045C-541E-437094B50B8D}"/>
              </a:ext>
            </a:extLst>
          </p:cNvPr>
          <p:cNvSpPr>
            <a:spLocks/>
          </p:cNvSpPr>
          <p:nvPr/>
        </p:nvSpPr>
        <p:spPr bwMode="auto">
          <a:xfrm>
            <a:off x="3107268" y="4619563"/>
            <a:ext cx="14817" cy="55033"/>
          </a:xfrm>
          <a:custGeom>
            <a:avLst/>
            <a:gdLst>
              <a:gd name="T0" fmla="*/ 7 w 7"/>
              <a:gd name="T1" fmla="*/ 26 h 26"/>
              <a:gd name="T2" fmla="*/ 7 w 7"/>
              <a:gd name="T3" fmla="*/ 0 h 26"/>
              <a:gd name="T4" fmla="*/ 0 w 7"/>
              <a:gd name="T5" fmla="*/ 0 h 26"/>
              <a:gd name="T6" fmla="*/ 0 w 7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26">
                <a:moveTo>
                  <a:pt x="7" y="26"/>
                </a:moveTo>
                <a:lnTo>
                  <a:pt x="7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79" name="Rectangle 105">
            <a:extLst>
              <a:ext uri="{FF2B5EF4-FFF2-40B4-BE49-F238E27FC236}">
                <a16:creationId xmlns:a16="http://schemas.microsoft.com/office/drawing/2014/main" id="{CE8D556B-C71C-E32E-3117-C66ECBDDC4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3818" y="4619563"/>
            <a:ext cx="14817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80" name="Freeform 106">
            <a:extLst>
              <a:ext uri="{FF2B5EF4-FFF2-40B4-BE49-F238E27FC236}">
                <a16:creationId xmlns:a16="http://schemas.microsoft.com/office/drawing/2014/main" id="{125EB744-AC4B-0721-4C80-178D5FD634F9}"/>
              </a:ext>
            </a:extLst>
          </p:cNvPr>
          <p:cNvSpPr>
            <a:spLocks/>
          </p:cNvSpPr>
          <p:nvPr/>
        </p:nvSpPr>
        <p:spPr bwMode="auto">
          <a:xfrm>
            <a:off x="3443818" y="4619563"/>
            <a:ext cx="14817" cy="55033"/>
          </a:xfrm>
          <a:custGeom>
            <a:avLst/>
            <a:gdLst>
              <a:gd name="T0" fmla="*/ 7 w 7"/>
              <a:gd name="T1" fmla="*/ 26 h 26"/>
              <a:gd name="T2" fmla="*/ 7 w 7"/>
              <a:gd name="T3" fmla="*/ 0 h 26"/>
              <a:gd name="T4" fmla="*/ 0 w 7"/>
              <a:gd name="T5" fmla="*/ 0 h 26"/>
              <a:gd name="T6" fmla="*/ 0 w 7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26">
                <a:moveTo>
                  <a:pt x="7" y="26"/>
                </a:moveTo>
                <a:lnTo>
                  <a:pt x="7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81" name="Rectangle 107">
            <a:extLst>
              <a:ext uri="{FF2B5EF4-FFF2-40B4-BE49-F238E27FC236}">
                <a16:creationId xmlns:a16="http://schemas.microsoft.com/office/drawing/2014/main" id="{8B6870B7-1F24-0C91-E4A0-6AD9F2D43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76134" y="4619563"/>
            <a:ext cx="16933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82" name="Freeform 108">
            <a:extLst>
              <a:ext uri="{FF2B5EF4-FFF2-40B4-BE49-F238E27FC236}">
                <a16:creationId xmlns:a16="http://schemas.microsoft.com/office/drawing/2014/main" id="{9B4F7B3F-6E1B-4CFE-1A62-51B6B9B11CBE}"/>
              </a:ext>
            </a:extLst>
          </p:cNvPr>
          <p:cNvSpPr>
            <a:spLocks/>
          </p:cNvSpPr>
          <p:nvPr/>
        </p:nvSpPr>
        <p:spPr bwMode="auto">
          <a:xfrm>
            <a:off x="3776134" y="4619563"/>
            <a:ext cx="16933" cy="55033"/>
          </a:xfrm>
          <a:custGeom>
            <a:avLst/>
            <a:gdLst>
              <a:gd name="T0" fmla="*/ 8 w 8"/>
              <a:gd name="T1" fmla="*/ 26 h 26"/>
              <a:gd name="T2" fmla="*/ 8 w 8"/>
              <a:gd name="T3" fmla="*/ 0 h 26"/>
              <a:gd name="T4" fmla="*/ 0 w 8"/>
              <a:gd name="T5" fmla="*/ 0 h 26"/>
              <a:gd name="T6" fmla="*/ 0 w 8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26">
                <a:moveTo>
                  <a:pt x="8" y="26"/>
                </a:moveTo>
                <a:lnTo>
                  <a:pt x="8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83" name="Rectangle 109">
            <a:extLst>
              <a:ext uri="{FF2B5EF4-FFF2-40B4-BE49-F238E27FC236}">
                <a16:creationId xmlns:a16="http://schemas.microsoft.com/office/drawing/2014/main" id="{90A0D7EB-421F-7776-16D3-431EB2E79A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2685" y="4619563"/>
            <a:ext cx="16933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84" name="Freeform 110">
            <a:extLst>
              <a:ext uri="{FF2B5EF4-FFF2-40B4-BE49-F238E27FC236}">
                <a16:creationId xmlns:a16="http://schemas.microsoft.com/office/drawing/2014/main" id="{FC7868E1-20CB-81EF-492F-4756A94FE091}"/>
              </a:ext>
            </a:extLst>
          </p:cNvPr>
          <p:cNvSpPr>
            <a:spLocks/>
          </p:cNvSpPr>
          <p:nvPr/>
        </p:nvSpPr>
        <p:spPr bwMode="auto">
          <a:xfrm>
            <a:off x="4112685" y="4619563"/>
            <a:ext cx="16933" cy="55033"/>
          </a:xfrm>
          <a:custGeom>
            <a:avLst/>
            <a:gdLst>
              <a:gd name="T0" fmla="*/ 8 w 8"/>
              <a:gd name="T1" fmla="*/ 26 h 26"/>
              <a:gd name="T2" fmla="*/ 8 w 8"/>
              <a:gd name="T3" fmla="*/ 0 h 26"/>
              <a:gd name="T4" fmla="*/ 0 w 8"/>
              <a:gd name="T5" fmla="*/ 0 h 26"/>
              <a:gd name="T6" fmla="*/ 0 w 8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26">
                <a:moveTo>
                  <a:pt x="8" y="26"/>
                </a:moveTo>
                <a:lnTo>
                  <a:pt x="8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85" name="Rectangle 111">
            <a:extLst>
              <a:ext uri="{FF2B5EF4-FFF2-40B4-BE49-F238E27FC236}">
                <a16:creationId xmlns:a16="http://schemas.microsoft.com/office/drawing/2014/main" id="{CDEBFEB1-E981-43A3-35AA-51EF3D1A3C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9235" y="4619563"/>
            <a:ext cx="16933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87" name="Freeform 112">
            <a:extLst>
              <a:ext uri="{FF2B5EF4-FFF2-40B4-BE49-F238E27FC236}">
                <a16:creationId xmlns:a16="http://schemas.microsoft.com/office/drawing/2014/main" id="{322EF4F0-D1D7-F7F8-3BA4-F9568D86ED1B}"/>
              </a:ext>
            </a:extLst>
          </p:cNvPr>
          <p:cNvSpPr>
            <a:spLocks/>
          </p:cNvSpPr>
          <p:nvPr/>
        </p:nvSpPr>
        <p:spPr bwMode="auto">
          <a:xfrm>
            <a:off x="4449235" y="4619563"/>
            <a:ext cx="16933" cy="55033"/>
          </a:xfrm>
          <a:custGeom>
            <a:avLst/>
            <a:gdLst>
              <a:gd name="T0" fmla="*/ 8 w 8"/>
              <a:gd name="T1" fmla="*/ 26 h 26"/>
              <a:gd name="T2" fmla="*/ 8 w 8"/>
              <a:gd name="T3" fmla="*/ 0 h 26"/>
              <a:gd name="T4" fmla="*/ 0 w 8"/>
              <a:gd name="T5" fmla="*/ 0 h 26"/>
              <a:gd name="T6" fmla="*/ 0 w 8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26">
                <a:moveTo>
                  <a:pt x="8" y="26"/>
                </a:moveTo>
                <a:lnTo>
                  <a:pt x="8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88" name="Rectangle 113">
            <a:extLst>
              <a:ext uri="{FF2B5EF4-FFF2-40B4-BE49-F238E27FC236}">
                <a16:creationId xmlns:a16="http://schemas.microsoft.com/office/drawing/2014/main" id="{19748C28-7FB0-3046-08DE-DCA6B22A15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7901" y="4619563"/>
            <a:ext cx="14817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89" name="Freeform 114">
            <a:extLst>
              <a:ext uri="{FF2B5EF4-FFF2-40B4-BE49-F238E27FC236}">
                <a16:creationId xmlns:a16="http://schemas.microsoft.com/office/drawing/2014/main" id="{59C76785-F670-4640-39F5-E29D11607438}"/>
              </a:ext>
            </a:extLst>
          </p:cNvPr>
          <p:cNvSpPr>
            <a:spLocks/>
          </p:cNvSpPr>
          <p:nvPr/>
        </p:nvSpPr>
        <p:spPr bwMode="auto">
          <a:xfrm>
            <a:off x="4787901" y="4619563"/>
            <a:ext cx="14817" cy="55033"/>
          </a:xfrm>
          <a:custGeom>
            <a:avLst/>
            <a:gdLst>
              <a:gd name="T0" fmla="*/ 7 w 7"/>
              <a:gd name="T1" fmla="*/ 26 h 26"/>
              <a:gd name="T2" fmla="*/ 7 w 7"/>
              <a:gd name="T3" fmla="*/ 0 h 26"/>
              <a:gd name="T4" fmla="*/ 0 w 7"/>
              <a:gd name="T5" fmla="*/ 0 h 26"/>
              <a:gd name="T6" fmla="*/ 0 w 7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26">
                <a:moveTo>
                  <a:pt x="7" y="26"/>
                </a:moveTo>
                <a:lnTo>
                  <a:pt x="7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90" name="Rectangle 115">
            <a:extLst>
              <a:ext uri="{FF2B5EF4-FFF2-40B4-BE49-F238E27FC236}">
                <a16:creationId xmlns:a16="http://schemas.microsoft.com/office/drawing/2014/main" id="{4B06BB37-08C9-0D1E-4012-F6ACC45A82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0219" y="4619563"/>
            <a:ext cx="14817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91" name="Freeform 116">
            <a:extLst>
              <a:ext uri="{FF2B5EF4-FFF2-40B4-BE49-F238E27FC236}">
                <a16:creationId xmlns:a16="http://schemas.microsoft.com/office/drawing/2014/main" id="{EF0E5411-821C-DA39-3E07-8EAF86DC7820}"/>
              </a:ext>
            </a:extLst>
          </p:cNvPr>
          <p:cNvSpPr>
            <a:spLocks/>
          </p:cNvSpPr>
          <p:nvPr/>
        </p:nvSpPr>
        <p:spPr bwMode="auto">
          <a:xfrm>
            <a:off x="5120219" y="4619563"/>
            <a:ext cx="14817" cy="55033"/>
          </a:xfrm>
          <a:custGeom>
            <a:avLst/>
            <a:gdLst>
              <a:gd name="T0" fmla="*/ 7 w 7"/>
              <a:gd name="T1" fmla="*/ 26 h 26"/>
              <a:gd name="T2" fmla="*/ 7 w 7"/>
              <a:gd name="T3" fmla="*/ 0 h 26"/>
              <a:gd name="T4" fmla="*/ 0 w 7"/>
              <a:gd name="T5" fmla="*/ 0 h 26"/>
              <a:gd name="T6" fmla="*/ 0 w 7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26">
                <a:moveTo>
                  <a:pt x="7" y="26"/>
                </a:moveTo>
                <a:lnTo>
                  <a:pt x="7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92" name="Rectangle 117">
            <a:extLst>
              <a:ext uri="{FF2B5EF4-FFF2-40B4-BE49-F238E27FC236}">
                <a16:creationId xmlns:a16="http://schemas.microsoft.com/office/drawing/2014/main" id="{DA1E6545-21D8-2855-8E35-0334D6439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768" y="4619563"/>
            <a:ext cx="14817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93" name="Freeform 118">
            <a:extLst>
              <a:ext uri="{FF2B5EF4-FFF2-40B4-BE49-F238E27FC236}">
                <a16:creationId xmlns:a16="http://schemas.microsoft.com/office/drawing/2014/main" id="{DA117D89-CDFE-A598-6C9A-F684B01D358C}"/>
              </a:ext>
            </a:extLst>
          </p:cNvPr>
          <p:cNvSpPr>
            <a:spLocks/>
          </p:cNvSpPr>
          <p:nvPr/>
        </p:nvSpPr>
        <p:spPr bwMode="auto">
          <a:xfrm>
            <a:off x="5456768" y="4619563"/>
            <a:ext cx="14817" cy="55033"/>
          </a:xfrm>
          <a:custGeom>
            <a:avLst/>
            <a:gdLst>
              <a:gd name="T0" fmla="*/ 7 w 7"/>
              <a:gd name="T1" fmla="*/ 26 h 26"/>
              <a:gd name="T2" fmla="*/ 7 w 7"/>
              <a:gd name="T3" fmla="*/ 0 h 26"/>
              <a:gd name="T4" fmla="*/ 0 w 7"/>
              <a:gd name="T5" fmla="*/ 0 h 26"/>
              <a:gd name="T6" fmla="*/ 0 w 7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26">
                <a:moveTo>
                  <a:pt x="7" y="26"/>
                </a:moveTo>
                <a:lnTo>
                  <a:pt x="7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94" name="Rectangle 119">
            <a:extLst>
              <a:ext uri="{FF2B5EF4-FFF2-40B4-BE49-F238E27FC236}">
                <a16:creationId xmlns:a16="http://schemas.microsoft.com/office/drawing/2014/main" id="{316A235C-E32E-059E-2659-9ED9A4395D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3319" y="4619563"/>
            <a:ext cx="16933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95" name="Freeform 120">
            <a:extLst>
              <a:ext uri="{FF2B5EF4-FFF2-40B4-BE49-F238E27FC236}">
                <a16:creationId xmlns:a16="http://schemas.microsoft.com/office/drawing/2014/main" id="{1FB6BBF5-AFEB-0D12-140E-580A56C249A0}"/>
              </a:ext>
            </a:extLst>
          </p:cNvPr>
          <p:cNvSpPr>
            <a:spLocks/>
          </p:cNvSpPr>
          <p:nvPr/>
        </p:nvSpPr>
        <p:spPr bwMode="auto">
          <a:xfrm>
            <a:off x="5793319" y="4619563"/>
            <a:ext cx="16933" cy="55033"/>
          </a:xfrm>
          <a:custGeom>
            <a:avLst/>
            <a:gdLst>
              <a:gd name="T0" fmla="*/ 8 w 8"/>
              <a:gd name="T1" fmla="*/ 26 h 26"/>
              <a:gd name="T2" fmla="*/ 8 w 8"/>
              <a:gd name="T3" fmla="*/ 0 h 26"/>
              <a:gd name="T4" fmla="*/ 0 w 8"/>
              <a:gd name="T5" fmla="*/ 0 h 26"/>
              <a:gd name="T6" fmla="*/ 0 w 8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26">
                <a:moveTo>
                  <a:pt x="8" y="26"/>
                </a:moveTo>
                <a:lnTo>
                  <a:pt x="8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96" name="Rectangle 121">
            <a:extLst>
              <a:ext uri="{FF2B5EF4-FFF2-40B4-BE49-F238E27FC236}">
                <a16:creationId xmlns:a16="http://schemas.microsoft.com/office/drawing/2014/main" id="{B55B5A6E-0EB9-3D81-3B4D-858AD1F8F9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4732" y="1672431"/>
            <a:ext cx="425430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400" b="1" dirty="0">
                <a:solidFill>
                  <a:srgbClr val="000000"/>
                </a:solidFill>
              </a:rPr>
              <a:t>Mean (SD) VRC07-523LS Concentration–Time Plot</a:t>
            </a:r>
            <a:endParaRPr lang="en-US" altLang="en-US" sz="2800" b="1" dirty="0"/>
          </a:p>
        </p:txBody>
      </p:sp>
      <p:sp>
        <p:nvSpPr>
          <p:cNvPr id="1167" name="Rectangle 192">
            <a:extLst>
              <a:ext uri="{FF2B5EF4-FFF2-40B4-BE49-F238E27FC236}">
                <a16:creationId xmlns:a16="http://schemas.microsoft.com/office/drawing/2014/main" id="{8F9DFFB1-D792-96CB-28F4-F6FB70C9DA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9184" y="1672431"/>
            <a:ext cx="421583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400" b="1" dirty="0">
                <a:solidFill>
                  <a:srgbClr val="000000"/>
                </a:solidFill>
              </a:rPr>
              <a:t>Mean (SD) CAP256V2LS Concentration–Time Plot</a:t>
            </a:r>
            <a:endParaRPr lang="en-US" altLang="en-US" sz="2800" b="1" dirty="0"/>
          </a:p>
        </p:txBody>
      </p:sp>
      <p:sp>
        <p:nvSpPr>
          <p:cNvPr id="1170" name="Rectangle 195">
            <a:extLst>
              <a:ext uri="{FF2B5EF4-FFF2-40B4-BE49-F238E27FC236}">
                <a16:creationId xmlns:a16="http://schemas.microsoft.com/office/drawing/2014/main" id="{16B3D5AA-0F27-B826-A675-AA2F90BD5C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001" y="2289113"/>
            <a:ext cx="3398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 dirty="0">
                <a:solidFill>
                  <a:srgbClr val="000000"/>
                </a:solidFill>
              </a:rPr>
              <a:t>1000</a:t>
            </a:r>
            <a:endParaRPr lang="en-US" altLang="en-US" sz="1200" dirty="0"/>
          </a:p>
        </p:txBody>
      </p:sp>
      <p:sp>
        <p:nvSpPr>
          <p:cNvPr id="1171" name="Rectangle 196">
            <a:extLst>
              <a:ext uri="{FF2B5EF4-FFF2-40B4-BE49-F238E27FC236}">
                <a16:creationId xmlns:a16="http://schemas.microsoft.com/office/drawing/2014/main" id="{F4D618FF-668D-3DF0-4057-102EB1A432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89960" y="2820396"/>
            <a:ext cx="25487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>
                <a:solidFill>
                  <a:srgbClr val="000000"/>
                </a:solidFill>
              </a:rPr>
              <a:t>100</a:t>
            </a:r>
            <a:endParaRPr lang="en-US" altLang="en-US" sz="1200"/>
          </a:p>
        </p:txBody>
      </p:sp>
      <p:sp>
        <p:nvSpPr>
          <p:cNvPr id="1172" name="Rectangle 197">
            <a:extLst>
              <a:ext uri="{FF2B5EF4-FFF2-40B4-BE49-F238E27FC236}">
                <a16:creationId xmlns:a16="http://schemas.microsoft.com/office/drawing/2014/main" id="{6404F060-E7BA-61F4-DB77-EC995FB4B5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93376" y="4702114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 dirty="0">
                <a:solidFill>
                  <a:srgbClr val="000000"/>
                </a:solidFill>
              </a:rPr>
              <a:t>0</a:t>
            </a:r>
            <a:endParaRPr lang="en-US" altLang="en-US" sz="1200" dirty="0"/>
          </a:p>
        </p:txBody>
      </p:sp>
      <p:sp>
        <p:nvSpPr>
          <p:cNvPr id="1173" name="Rectangle 198">
            <a:extLst>
              <a:ext uri="{FF2B5EF4-FFF2-40B4-BE49-F238E27FC236}">
                <a16:creationId xmlns:a16="http://schemas.microsoft.com/office/drawing/2014/main" id="{BCF3851B-7355-AB0F-54DC-07DBFACEC6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9925" y="4702114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>
                <a:solidFill>
                  <a:srgbClr val="000000"/>
                </a:solidFill>
              </a:rPr>
              <a:t>4</a:t>
            </a:r>
            <a:endParaRPr lang="en-US" altLang="en-US" sz="1200"/>
          </a:p>
        </p:txBody>
      </p:sp>
      <p:sp>
        <p:nvSpPr>
          <p:cNvPr id="1174" name="Rectangle 199">
            <a:extLst>
              <a:ext uri="{FF2B5EF4-FFF2-40B4-BE49-F238E27FC236}">
                <a16:creationId xmlns:a16="http://schemas.microsoft.com/office/drawing/2014/main" id="{0B4CF5DB-14C8-1611-E6CF-B539A8FB7A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6476" y="4702114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>
                <a:solidFill>
                  <a:srgbClr val="000000"/>
                </a:solidFill>
              </a:rPr>
              <a:t>8</a:t>
            </a:r>
            <a:endParaRPr lang="en-US" altLang="en-US" sz="1200"/>
          </a:p>
        </p:txBody>
      </p:sp>
      <p:sp>
        <p:nvSpPr>
          <p:cNvPr id="1175" name="Rectangle 200">
            <a:extLst>
              <a:ext uri="{FF2B5EF4-FFF2-40B4-BE49-F238E27FC236}">
                <a16:creationId xmlns:a16="http://schemas.microsoft.com/office/drawing/2014/main" id="{1503836D-6CF5-25A3-88AF-34D8C8DB91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8000" y="4702114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>
                <a:solidFill>
                  <a:srgbClr val="000000"/>
                </a:solidFill>
              </a:rPr>
              <a:t>12</a:t>
            </a:r>
            <a:endParaRPr lang="en-US" altLang="en-US" sz="1200"/>
          </a:p>
        </p:txBody>
      </p:sp>
      <p:sp>
        <p:nvSpPr>
          <p:cNvPr id="1176" name="Rectangle 201">
            <a:extLst>
              <a:ext uri="{FF2B5EF4-FFF2-40B4-BE49-F238E27FC236}">
                <a16:creationId xmlns:a16="http://schemas.microsoft.com/office/drawing/2014/main" id="{A37245EB-4BC8-257E-686C-F280242E8D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2434" y="4702114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>
                <a:solidFill>
                  <a:srgbClr val="000000"/>
                </a:solidFill>
              </a:rPr>
              <a:t>16</a:t>
            </a:r>
            <a:endParaRPr lang="en-US" altLang="en-US" sz="1200"/>
          </a:p>
        </p:txBody>
      </p:sp>
      <p:sp>
        <p:nvSpPr>
          <p:cNvPr id="1177" name="Rectangle 202">
            <a:extLst>
              <a:ext uri="{FF2B5EF4-FFF2-40B4-BE49-F238E27FC236}">
                <a16:creationId xmlns:a16="http://schemas.microsoft.com/office/drawing/2014/main" id="{C5593D34-D65D-263B-368B-4586EBDC80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8983" y="4702114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>
                <a:solidFill>
                  <a:srgbClr val="000000"/>
                </a:solidFill>
              </a:rPr>
              <a:t>20</a:t>
            </a:r>
            <a:endParaRPr lang="en-US" altLang="en-US" sz="1200"/>
          </a:p>
        </p:txBody>
      </p:sp>
      <p:sp>
        <p:nvSpPr>
          <p:cNvPr id="1178" name="Rectangle 203">
            <a:extLst>
              <a:ext uri="{FF2B5EF4-FFF2-40B4-BE49-F238E27FC236}">
                <a16:creationId xmlns:a16="http://schemas.microsoft.com/office/drawing/2014/main" id="{87C492E1-E1C4-8749-80C9-0BF66C5B43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9191" y="4980711"/>
            <a:ext cx="86927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 b="1" dirty="0">
                <a:solidFill>
                  <a:srgbClr val="000000"/>
                </a:solidFill>
              </a:rPr>
              <a:t>Study Week</a:t>
            </a:r>
            <a:endParaRPr lang="en-US" altLang="en-US" sz="1200" b="1" dirty="0"/>
          </a:p>
        </p:txBody>
      </p:sp>
      <p:sp>
        <p:nvSpPr>
          <p:cNvPr id="21" name="Rectangle 207">
            <a:extLst>
              <a:ext uri="{FF2B5EF4-FFF2-40B4-BE49-F238E27FC236}">
                <a16:creationId xmlns:a16="http://schemas.microsoft.com/office/drawing/2014/main" id="{391F96B2-5159-79B3-267C-2498E0665D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3511" y="2004596"/>
            <a:ext cx="496361" cy="225094"/>
          </a:xfrm>
          <a:prstGeom prst="rect">
            <a:avLst/>
          </a:prstGeom>
          <a:solidFill>
            <a:srgbClr val="D1E6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900" b="1" dirty="0">
                <a:solidFill>
                  <a:srgbClr val="000000"/>
                </a:solidFill>
              </a:rPr>
              <a:t>Period 1</a:t>
            </a:r>
            <a:endParaRPr lang="en-US" altLang="en-US" sz="2400" b="1" dirty="0"/>
          </a:p>
        </p:txBody>
      </p:sp>
      <p:sp>
        <p:nvSpPr>
          <p:cNvPr id="22" name="Rectangle 208">
            <a:extLst>
              <a:ext uri="{FF2B5EF4-FFF2-40B4-BE49-F238E27FC236}">
                <a16:creationId xmlns:a16="http://schemas.microsoft.com/office/drawing/2014/main" id="{198DCFE4-44F2-27A1-EFEA-C17B089074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7500" y="2000060"/>
            <a:ext cx="1269205" cy="229630"/>
          </a:xfrm>
          <a:prstGeom prst="rect">
            <a:avLst/>
          </a:prstGeom>
          <a:solidFill>
            <a:srgbClr val="55A2A8"/>
          </a:solidFill>
          <a:ln>
            <a:noFill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000" b="1" dirty="0"/>
              <a:t>Period 2</a:t>
            </a:r>
          </a:p>
        </p:txBody>
      </p:sp>
      <p:sp>
        <p:nvSpPr>
          <p:cNvPr id="23" name="Rectangle 209">
            <a:extLst>
              <a:ext uri="{FF2B5EF4-FFF2-40B4-BE49-F238E27FC236}">
                <a16:creationId xmlns:a16="http://schemas.microsoft.com/office/drawing/2014/main" id="{E6EEDF08-CC89-B3FE-E4BC-B8CFA5551D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5533" y="4702114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>
                <a:solidFill>
                  <a:srgbClr val="000000"/>
                </a:solidFill>
              </a:rPr>
              <a:t>24</a:t>
            </a:r>
            <a:endParaRPr lang="en-US" altLang="en-US" sz="1200"/>
          </a:p>
        </p:txBody>
      </p:sp>
      <p:sp>
        <p:nvSpPr>
          <p:cNvPr id="24" name="Rectangle 210">
            <a:extLst>
              <a:ext uri="{FF2B5EF4-FFF2-40B4-BE49-F238E27FC236}">
                <a16:creationId xmlns:a16="http://schemas.microsoft.com/office/drawing/2014/main" id="{48F8F6E8-DF5F-368A-27B3-09557269A1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2083" y="4702114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>
                <a:solidFill>
                  <a:srgbClr val="000000"/>
                </a:solidFill>
              </a:rPr>
              <a:t>28</a:t>
            </a:r>
            <a:endParaRPr lang="en-US" altLang="en-US" sz="1200"/>
          </a:p>
        </p:txBody>
      </p:sp>
      <p:sp>
        <p:nvSpPr>
          <p:cNvPr id="25" name="Rectangle 211">
            <a:extLst>
              <a:ext uri="{FF2B5EF4-FFF2-40B4-BE49-F238E27FC236}">
                <a16:creationId xmlns:a16="http://schemas.microsoft.com/office/drawing/2014/main" id="{DD167C92-55FC-17C1-B180-9D11146B9F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8633" y="4702114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>
                <a:solidFill>
                  <a:srgbClr val="000000"/>
                </a:solidFill>
              </a:rPr>
              <a:t>32</a:t>
            </a:r>
            <a:endParaRPr lang="en-US" altLang="en-US" sz="1200"/>
          </a:p>
        </p:txBody>
      </p:sp>
      <p:sp>
        <p:nvSpPr>
          <p:cNvPr id="56" name="Rectangle 242">
            <a:extLst>
              <a:ext uri="{FF2B5EF4-FFF2-40B4-BE49-F238E27FC236}">
                <a16:creationId xmlns:a16="http://schemas.microsoft.com/office/drawing/2014/main" id="{D42983B1-B4CE-71B8-A0AE-87C9E72C2A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0950" y="4702114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>
                <a:solidFill>
                  <a:srgbClr val="000000"/>
                </a:solidFill>
              </a:rPr>
              <a:t>36</a:t>
            </a:r>
            <a:endParaRPr lang="en-US" altLang="en-US" sz="1200"/>
          </a:p>
        </p:txBody>
      </p:sp>
      <p:sp>
        <p:nvSpPr>
          <p:cNvPr id="57" name="Rectangle 243">
            <a:extLst>
              <a:ext uri="{FF2B5EF4-FFF2-40B4-BE49-F238E27FC236}">
                <a16:creationId xmlns:a16="http://schemas.microsoft.com/office/drawing/2014/main" id="{5AE00C8F-DCCB-3B66-1C3C-9E9FB5B4BA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9617" y="4702114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>
                <a:solidFill>
                  <a:srgbClr val="000000"/>
                </a:solidFill>
              </a:rPr>
              <a:t>40</a:t>
            </a:r>
            <a:endParaRPr lang="en-US" altLang="en-US" sz="1200"/>
          </a:p>
        </p:txBody>
      </p:sp>
      <p:sp>
        <p:nvSpPr>
          <p:cNvPr id="58" name="Rectangle 244">
            <a:extLst>
              <a:ext uri="{FF2B5EF4-FFF2-40B4-BE49-F238E27FC236}">
                <a16:creationId xmlns:a16="http://schemas.microsoft.com/office/drawing/2014/main" id="{7CB147E9-61DE-C1D3-9A77-52B20BBC32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74920" y="3351680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>
                <a:solidFill>
                  <a:srgbClr val="000000"/>
                </a:solidFill>
              </a:rPr>
              <a:t>10</a:t>
            </a:r>
            <a:endParaRPr lang="en-US" altLang="en-US" sz="1200"/>
          </a:p>
        </p:txBody>
      </p:sp>
      <p:sp>
        <p:nvSpPr>
          <p:cNvPr id="59" name="Rectangle 245">
            <a:extLst>
              <a:ext uri="{FF2B5EF4-FFF2-40B4-BE49-F238E27FC236}">
                <a16:creationId xmlns:a16="http://schemas.microsoft.com/office/drawing/2014/main" id="{B581476D-EFC9-B3A6-B8A6-277BC7A282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9878" y="3882963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>
                <a:solidFill>
                  <a:srgbClr val="000000"/>
                </a:solidFill>
              </a:rPr>
              <a:t>1</a:t>
            </a:r>
            <a:endParaRPr lang="en-US" altLang="en-US" sz="1200"/>
          </a:p>
        </p:txBody>
      </p:sp>
      <p:sp>
        <p:nvSpPr>
          <p:cNvPr id="60" name="Rectangle 246">
            <a:extLst>
              <a:ext uri="{FF2B5EF4-FFF2-40B4-BE49-F238E27FC236}">
                <a16:creationId xmlns:a16="http://schemas.microsoft.com/office/drawing/2014/main" id="{7DC9CBC5-D14E-95C2-2DE5-BDC6BAF37E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1638" y="4414247"/>
            <a:ext cx="21320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 dirty="0">
                <a:solidFill>
                  <a:srgbClr val="000000"/>
                </a:solidFill>
              </a:rPr>
              <a:t>0.1</a:t>
            </a:r>
            <a:endParaRPr lang="en-US" altLang="en-US" sz="1200" dirty="0"/>
          </a:p>
        </p:txBody>
      </p:sp>
      <p:sp>
        <p:nvSpPr>
          <p:cNvPr id="61" name="Rectangle 247">
            <a:extLst>
              <a:ext uri="{FF2B5EF4-FFF2-40B4-BE49-F238E27FC236}">
                <a16:creationId xmlns:a16="http://schemas.microsoft.com/office/drawing/2014/main" id="{06185CE1-256E-CE7E-C9DB-F2379E68419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86404" y="3284960"/>
            <a:ext cx="268663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 b="1" dirty="0">
                <a:solidFill>
                  <a:srgbClr val="000000"/>
                </a:solidFill>
              </a:rPr>
              <a:t>VRC07-523LS Concentration (µg/mL)</a:t>
            </a:r>
            <a:endParaRPr lang="en-US" altLang="en-US" sz="1200" b="1" dirty="0"/>
          </a:p>
        </p:txBody>
      </p:sp>
      <p:sp>
        <p:nvSpPr>
          <p:cNvPr id="72" name="Rectangle 258">
            <a:extLst>
              <a:ext uri="{FF2B5EF4-FFF2-40B4-BE49-F238E27FC236}">
                <a16:creationId xmlns:a16="http://schemas.microsoft.com/office/drawing/2014/main" id="{3B0F36E5-B5DA-E558-8631-FE06528265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0604" y="2289113"/>
            <a:ext cx="3398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 dirty="0">
                <a:solidFill>
                  <a:srgbClr val="000000"/>
                </a:solidFill>
              </a:rPr>
              <a:t>1000</a:t>
            </a:r>
            <a:endParaRPr lang="en-US" altLang="en-US" sz="1200" dirty="0"/>
          </a:p>
        </p:txBody>
      </p:sp>
      <p:sp>
        <p:nvSpPr>
          <p:cNvPr id="77" name="Rectangle 263">
            <a:extLst>
              <a:ext uri="{FF2B5EF4-FFF2-40B4-BE49-F238E27FC236}">
                <a16:creationId xmlns:a16="http://schemas.microsoft.com/office/drawing/2014/main" id="{EAF9BA73-C512-8449-89DE-A59DE20FBDBC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065195" y="3284960"/>
            <a:ext cx="265297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 b="1" dirty="0">
                <a:solidFill>
                  <a:srgbClr val="000000"/>
                </a:solidFill>
              </a:rPr>
              <a:t>CAP256V2LS Concentration (µg/mL)</a:t>
            </a:r>
            <a:endParaRPr lang="en-US" altLang="en-US" sz="1200" b="1" dirty="0"/>
          </a:p>
        </p:txBody>
      </p:sp>
      <p:sp>
        <p:nvSpPr>
          <p:cNvPr id="78" name="Rectangle 264">
            <a:extLst>
              <a:ext uri="{FF2B5EF4-FFF2-40B4-BE49-F238E27FC236}">
                <a16:creationId xmlns:a16="http://schemas.microsoft.com/office/drawing/2014/main" id="{5161B906-5C06-DDB6-B7B6-0DECF58482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26707" y="2000062"/>
            <a:ext cx="1759745" cy="229628"/>
          </a:xfrm>
          <a:prstGeom prst="rect">
            <a:avLst/>
          </a:prstGeom>
          <a:solidFill>
            <a:srgbClr val="55A2A8"/>
          </a:solidFill>
          <a:ln>
            <a:noFill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000" b="1" dirty="0"/>
              <a:t>Period 3</a:t>
            </a:r>
            <a:endParaRPr lang="en-US" altLang="en-US" sz="2800" b="1" dirty="0"/>
          </a:p>
        </p:txBody>
      </p:sp>
      <p:sp>
        <p:nvSpPr>
          <p:cNvPr id="82" name="Rectangle 268">
            <a:extLst>
              <a:ext uri="{FF2B5EF4-FFF2-40B4-BE49-F238E27FC236}">
                <a16:creationId xmlns:a16="http://schemas.microsoft.com/office/drawing/2014/main" id="{33FF43FE-4D5D-8ADB-A776-3F63B19508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9717" y="3576051"/>
            <a:ext cx="2263440" cy="16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/>
            <a:r>
              <a:rPr lang="en-US" altLang="en-US" sz="1067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100× median baseline IC</a:t>
            </a:r>
            <a:r>
              <a:rPr lang="en-US" altLang="en-US" sz="1067" baseline="-250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50</a:t>
            </a:r>
            <a:r>
              <a:rPr lang="en-US" altLang="en-US" sz="1067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 = 9 ug/mL</a:t>
            </a:r>
            <a:endParaRPr lang="en-US" altLang="en-US" sz="240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1181" name="Straight Connector 1180">
            <a:extLst>
              <a:ext uri="{FF2B5EF4-FFF2-40B4-BE49-F238E27FC236}">
                <a16:creationId xmlns:a16="http://schemas.microsoft.com/office/drawing/2014/main" id="{E0F4247C-0367-2CB3-6657-24535D68A833}"/>
              </a:ext>
            </a:extLst>
          </p:cNvPr>
          <p:cNvCxnSpPr>
            <a:cxnSpLocks/>
          </p:cNvCxnSpPr>
          <p:nvPr/>
        </p:nvCxnSpPr>
        <p:spPr>
          <a:xfrm>
            <a:off x="2344208" y="3463862"/>
            <a:ext cx="3520440" cy="0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5" name="Straight Connector 1184">
            <a:extLst>
              <a:ext uri="{FF2B5EF4-FFF2-40B4-BE49-F238E27FC236}">
                <a16:creationId xmlns:a16="http://schemas.microsoft.com/office/drawing/2014/main" id="{02D7F966-C128-5F1D-7687-4D9B703B93BF}"/>
              </a:ext>
            </a:extLst>
          </p:cNvPr>
          <p:cNvCxnSpPr>
            <a:cxnSpLocks/>
          </p:cNvCxnSpPr>
          <p:nvPr/>
        </p:nvCxnSpPr>
        <p:spPr>
          <a:xfrm>
            <a:off x="2857491" y="2003808"/>
            <a:ext cx="0" cy="2615326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4" name="Straight Connector 1183">
            <a:extLst>
              <a:ext uri="{FF2B5EF4-FFF2-40B4-BE49-F238E27FC236}">
                <a16:creationId xmlns:a16="http://schemas.microsoft.com/office/drawing/2014/main" id="{136F1B74-E07C-C1A9-FF95-7C80633AEC84}"/>
              </a:ext>
            </a:extLst>
          </p:cNvPr>
          <p:cNvCxnSpPr>
            <a:cxnSpLocks/>
          </p:cNvCxnSpPr>
          <p:nvPr/>
        </p:nvCxnSpPr>
        <p:spPr>
          <a:xfrm>
            <a:off x="4126705" y="1996188"/>
            <a:ext cx="784" cy="2615326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9861EC39-42FF-27BC-FE2F-305FDF4E008D}"/>
              </a:ext>
            </a:extLst>
          </p:cNvPr>
          <p:cNvSpPr>
            <a:spLocks/>
          </p:cNvSpPr>
          <p:nvPr/>
        </p:nvSpPr>
        <p:spPr bwMode="auto">
          <a:xfrm>
            <a:off x="0" y="5677053"/>
            <a:ext cx="12192000" cy="510016"/>
          </a:xfrm>
          <a:prstGeom prst="rect">
            <a:avLst/>
          </a:prstGeom>
          <a:solidFill>
            <a:srgbClr val="203661"/>
          </a:solidFill>
          <a:ln w="25400" cap="flat" cmpd="sng" algn="ctr">
            <a:solidFill>
              <a:srgbClr val="203661"/>
            </a:solidFill>
            <a:prstDash val="solid"/>
          </a:ln>
          <a:effectLst/>
        </p:spPr>
        <p:txBody>
          <a:bodyPr wrap="square" lIns="91440" tIns="45719" rIns="91440" bIns="45719" anchor="ctr">
            <a:noAutofit/>
          </a:bodyPr>
          <a:lstStyle/>
          <a:p>
            <a:pPr algn="ctr" defTabSz="121914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itchFamily="34" charset="0"/>
              </a:rPr>
              <a:t>As expected, mean bNAb concentrations remained above therapeutic levels through the end of Period 2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CD8CADA-35F2-012D-53DE-4FDF419B2CE8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0" y="6291610"/>
            <a:ext cx="432000" cy="432573"/>
          </a:xfrm>
          <a:noFill/>
        </p:spPr>
        <p:txBody>
          <a:bodyPr vert="horz" lIns="0" tIns="0" rIns="0" bIns="0" rtlCol="0" anchor="ctr"/>
          <a:lstStyle/>
          <a:p>
            <a:fld id="{4BEAA09E-D67E-864E-8466-C38E88600C4F}" type="slidenum">
              <a:rPr lang="en-US"/>
              <a:pPr/>
              <a:t>12</a:t>
            </a:fld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6C425C4-8C4A-A126-1297-C5DA7D9065DF}"/>
              </a:ext>
            </a:extLst>
          </p:cNvPr>
          <p:cNvGrpSpPr/>
          <p:nvPr/>
        </p:nvGrpSpPr>
        <p:grpSpPr>
          <a:xfrm>
            <a:off x="4144265" y="5244533"/>
            <a:ext cx="1770587" cy="430887"/>
            <a:chOff x="2095778" y="5078074"/>
            <a:chExt cx="1541148" cy="43088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BA6F8B1-4C59-C6BA-B3DD-97E5A774C0F6}"/>
                </a:ext>
              </a:extLst>
            </p:cNvPr>
            <p:cNvSpPr/>
            <p:nvPr/>
          </p:nvSpPr>
          <p:spPr>
            <a:xfrm>
              <a:off x="2095778" y="5152321"/>
              <a:ext cx="97972" cy="97971"/>
            </a:xfrm>
            <a:prstGeom prst="rect">
              <a:avLst/>
            </a:prstGeom>
            <a:solidFill>
              <a:srgbClr val="D1E6E8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B3A8A2D-7C57-F534-9D7C-CEFA77A45C5B}"/>
                </a:ext>
              </a:extLst>
            </p:cNvPr>
            <p:cNvSpPr txBox="1"/>
            <p:nvPr/>
          </p:nvSpPr>
          <p:spPr>
            <a:xfrm>
              <a:off x="2142020" y="5078074"/>
              <a:ext cx="1494906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/>
                <a:t>Period 1: bNAb + VES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B687EBE-D342-3F02-FC12-1D181E376015}"/>
              </a:ext>
            </a:extLst>
          </p:cNvPr>
          <p:cNvGrpSpPr/>
          <p:nvPr/>
        </p:nvGrpSpPr>
        <p:grpSpPr>
          <a:xfrm>
            <a:off x="5903707" y="5243137"/>
            <a:ext cx="1598150" cy="261610"/>
            <a:chOff x="2095778" y="5242176"/>
            <a:chExt cx="1391056" cy="26161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17302F5-E4FB-534C-1A08-2B2D53FFA6E2}"/>
                </a:ext>
              </a:extLst>
            </p:cNvPr>
            <p:cNvSpPr/>
            <p:nvPr/>
          </p:nvSpPr>
          <p:spPr>
            <a:xfrm>
              <a:off x="2095778" y="5321379"/>
              <a:ext cx="97972" cy="97971"/>
            </a:xfrm>
            <a:prstGeom prst="rect">
              <a:avLst/>
            </a:prstGeom>
            <a:solidFill>
              <a:srgbClr val="BBDADC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76A6790-5251-7BDD-4BF3-E968C0A4E9EA}"/>
                </a:ext>
              </a:extLst>
            </p:cNvPr>
            <p:cNvSpPr txBox="1"/>
            <p:nvPr/>
          </p:nvSpPr>
          <p:spPr>
            <a:xfrm>
              <a:off x="2144327" y="5242176"/>
              <a:ext cx="134250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/>
                <a:t>Period 2: VES + ATI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75714085-730C-17C7-3480-CBE97556F7E9}"/>
              </a:ext>
            </a:extLst>
          </p:cNvPr>
          <p:cNvSpPr/>
          <p:nvPr/>
        </p:nvSpPr>
        <p:spPr>
          <a:xfrm>
            <a:off x="7491712" y="5323097"/>
            <a:ext cx="112558" cy="97971"/>
          </a:xfrm>
          <a:prstGeom prst="rect">
            <a:avLst/>
          </a:prstGeom>
          <a:solidFill>
            <a:srgbClr val="55A2A8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A7FB79E-0958-F2B0-DD34-95BF68C728DA}"/>
              </a:ext>
            </a:extLst>
          </p:cNvPr>
          <p:cNvSpPr txBox="1"/>
          <p:nvPr/>
        </p:nvSpPr>
        <p:spPr>
          <a:xfrm>
            <a:off x="7547991" y="5243137"/>
            <a:ext cx="12076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/>
              <a:t>Period 3: ATI</a:t>
            </a:r>
          </a:p>
        </p:txBody>
      </p: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E19301D9-A2B5-6776-7D20-77510C5EE511}"/>
              </a:ext>
            </a:extLst>
          </p:cNvPr>
          <p:cNvCxnSpPr/>
          <p:nvPr/>
        </p:nvCxnSpPr>
        <p:spPr>
          <a:xfrm>
            <a:off x="2853214" y="4619563"/>
            <a:ext cx="0" cy="373778"/>
          </a:xfrm>
          <a:prstGeom prst="straightConnector1">
            <a:avLst/>
          </a:prstGeom>
          <a:ln w="127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TextBox 154">
            <a:extLst>
              <a:ext uri="{FF2B5EF4-FFF2-40B4-BE49-F238E27FC236}">
                <a16:creationId xmlns:a16="http://schemas.microsoft.com/office/drawing/2014/main" id="{C54A335E-79DE-7944-0914-AC1C8D3B62ED}"/>
              </a:ext>
            </a:extLst>
          </p:cNvPr>
          <p:cNvSpPr txBox="1"/>
          <p:nvPr/>
        </p:nvSpPr>
        <p:spPr>
          <a:xfrm>
            <a:off x="2395632" y="4942239"/>
            <a:ext cx="922867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1100" b="1" dirty="0"/>
              <a:t>ART stopped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769B7D33-4E79-8045-67C1-E9DA193FF0AE}"/>
              </a:ext>
            </a:extLst>
          </p:cNvPr>
          <p:cNvSpPr/>
          <p:nvPr/>
        </p:nvSpPr>
        <p:spPr>
          <a:xfrm>
            <a:off x="2862264" y="2351220"/>
            <a:ext cx="2992440" cy="281412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306C035-81F3-504E-32AC-BD9B4E1C6EE9}"/>
              </a:ext>
            </a:extLst>
          </p:cNvPr>
          <p:cNvSpPr txBox="1"/>
          <p:nvPr/>
        </p:nvSpPr>
        <p:spPr>
          <a:xfrm>
            <a:off x="4039601" y="2357575"/>
            <a:ext cx="8289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/>
              <a:t>ATI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BF3C948-0856-3D2C-6C50-2FF2E6B36F93}"/>
              </a:ext>
            </a:extLst>
          </p:cNvPr>
          <p:cNvCxnSpPr>
            <a:cxnSpLocks/>
          </p:cNvCxnSpPr>
          <p:nvPr/>
        </p:nvCxnSpPr>
        <p:spPr>
          <a:xfrm>
            <a:off x="7004937" y="2128266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9" name="Rectangle 124">
            <a:extLst>
              <a:ext uri="{FF2B5EF4-FFF2-40B4-BE49-F238E27FC236}">
                <a16:creationId xmlns:a16="http://schemas.microsoft.com/office/drawing/2014/main" id="{F8A1A5E2-632A-A7B3-2F84-5AF32A639C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6189" y="2100729"/>
            <a:ext cx="2894430" cy="2518834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00" name="Rectangle 125">
            <a:extLst>
              <a:ext uri="{FF2B5EF4-FFF2-40B4-BE49-F238E27FC236}">
                <a16:creationId xmlns:a16="http://schemas.microsoft.com/office/drawing/2014/main" id="{1FB3608A-E0D9-04ED-E866-18FB641E2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6189" y="2100729"/>
            <a:ext cx="2894430" cy="2518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01" name="Freeform 126">
            <a:extLst>
              <a:ext uri="{FF2B5EF4-FFF2-40B4-BE49-F238E27FC236}">
                <a16:creationId xmlns:a16="http://schemas.microsoft.com/office/drawing/2014/main" id="{38CC651D-1EFF-DD09-75BA-306DDC569892}"/>
              </a:ext>
            </a:extLst>
          </p:cNvPr>
          <p:cNvSpPr>
            <a:spLocks/>
          </p:cNvSpPr>
          <p:nvPr/>
        </p:nvSpPr>
        <p:spPr bwMode="auto">
          <a:xfrm>
            <a:off x="7083605" y="2475380"/>
            <a:ext cx="2617859" cy="1733550"/>
          </a:xfrm>
          <a:custGeom>
            <a:avLst/>
            <a:gdLst>
              <a:gd name="T0" fmla="*/ 0 w 1505"/>
              <a:gd name="T1" fmla="*/ 2 h 819"/>
              <a:gd name="T2" fmla="*/ 50 w 1505"/>
              <a:gd name="T3" fmla="*/ 188 h 819"/>
              <a:gd name="T4" fmla="*/ 101 w 1505"/>
              <a:gd name="T5" fmla="*/ 240 h 819"/>
              <a:gd name="T6" fmla="*/ 151 w 1505"/>
              <a:gd name="T7" fmla="*/ 277 h 819"/>
              <a:gd name="T8" fmla="*/ 352 w 1505"/>
              <a:gd name="T9" fmla="*/ 388 h 819"/>
              <a:gd name="T10" fmla="*/ 552 w 1505"/>
              <a:gd name="T11" fmla="*/ 444 h 819"/>
              <a:gd name="T12" fmla="*/ 752 w 1505"/>
              <a:gd name="T13" fmla="*/ 500 h 819"/>
              <a:gd name="T14" fmla="*/ 902 w 1505"/>
              <a:gd name="T15" fmla="*/ 566 h 819"/>
              <a:gd name="T16" fmla="*/ 1102 w 1505"/>
              <a:gd name="T17" fmla="*/ 626 h 819"/>
              <a:gd name="T18" fmla="*/ 1301 w 1505"/>
              <a:gd name="T19" fmla="*/ 697 h 819"/>
              <a:gd name="T20" fmla="*/ 1501 w 1505"/>
              <a:gd name="T21" fmla="*/ 819 h 819"/>
              <a:gd name="T22" fmla="*/ 1505 w 1505"/>
              <a:gd name="T23" fmla="*/ 813 h 819"/>
              <a:gd name="T24" fmla="*/ 1305 w 1505"/>
              <a:gd name="T25" fmla="*/ 689 h 819"/>
              <a:gd name="T26" fmla="*/ 1104 w 1505"/>
              <a:gd name="T27" fmla="*/ 618 h 819"/>
              <a:gd name="T28" fmla="*/ 904 w 1505"/>
              <a:gd name="T29" fmla="*/ 558 h 819"/>
              <a:gd name="T30" fmla="*/ 754 w 1505"/>
              <a:gd name="T31" fmla="*/ 493 h 819"/>
              <a:gd name="T32" fmla="*/ 554 w 1505"/>
              <a:gd name="T33" fmla="*/ 439 h 819"/>
              <a:gd name="T34" fmla="*/ 554 w 1505"/>
              <a:gd name="T35" fmla="*/ 439 h 819"/>
              <a:gd name="T36" fmla="*/ 355 w 1505"/>
              <a:gd name="T37" fmla="*/ 380 h 819"/>
              <a:gd name="T38" fmla="*/ 155 w 1505"/>
              <a:gd name="T39" fmla="*/ 270 h 819"/>
              <a:gd name="T40" fmla="*/ 106 w 1505"/>
              <a:gd name="T41" fmla="*/ 234 h 819"/>
              <a:gd name="T42" fmla="*/ 58 w 1505"/>
              <a:gd name="T43" fmla="*/ 184 h 819"/>
              <a:gd name="T44" fmla="*/ 7 w 1505"/>
              <a:gd name="T45" fmla="*/ 0 h 819"/>
              <a:gd name="T46" fmla="*/ 0 w 1505"/>
              <a:gd name="T47" fmla="*/ 2 h 8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505" h="819">
                <a:moveTo>
                  <a:pt x="0" y="2"/>
                </a:moveTo>
                <a:lnTo>
                  <a:pt x="50" y="188"/>
                </a:lnTo>
                <a:lnTo>
                  <a:pt x="101" y="240"/>
                </a:lnTo>
                <a:lnTo>
                  <a:pt x="151" y="277"/>
                </a:lnTo>
                <a:lnTo>
                  <a:pt x="352" y="388"/>
                </a:lnTo>
                <a:lnTo>
                  <a:pt x="552" y="444"/>
                </a:lnTo>
                <a:lnTo>
                  <a:pt x="752" y="500"/>
                </a:lnTo>
                <a:lnTo>
                  <a:pt x="902" y="566"/>
                </a:lnTo>
                <a:lnTo>
                  <a:pt x="1102" y="626"/>
                </a:lnTo>
                <a:lnTo>
                  <a:pt x="1301" y="697"/>
                </a:lnTo>
                <a:lnTo>
                  <a:pt x="1501" y="819"/>
                </a:lnTo>
                <a:lnTo>
                  <a:pt x="1505" y="813"/>
                </a:lnTo>
                <a:lnTo>
                  <a:pt x="1305" y="689"/>
                </a:lnTo>
                <a:lnTo>
                  <a:pt x="1104" y="618"/>
                </a:lnTo>
                <a:lnTo>
                  <a:pt x="904" y="558"/>
                </a:lnTo>
                <a:lnTo>
                  <a:pt x="754" y="493"/>
                </a:lnTo>
                <a:lnTo>
                  <a:pt x="554" y="439"/>
                </a:lnTo>
                <a:lnTo>
                  <a:pt x="554" y="439"/>
                </a:lnTo>
                <a:lnTo>
                  <a:pt x="355" y="380"/>
                </a:lnTo>
                <a:lnTo>
                  <a:pt x="155" y="270"/>
                </a:lnTo>
                <a:lnTo>
                  <a:pt x="106" y="234"/>
                </a:lnTo>
                <a:lnTo>
                  <a:pt x="58" y="184"/>
                </a:lnTo>
                <a:lnTo>
                  <a:pt x="7" y="0"/>
                </a:lnTo>
                <a:lnTo>
                  <a:pt x="0" y="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02" name="Freeform 127">
            <a:extLst>
              <a:ext uri="{FF2B5EF4-FFF2-40B4-BE49-F238E27FC236}">
                <a16:creationId xmlns:a16="http://schemas.microsoft.com/office/drawing/2014/main" id="{568FDDBD-E878-297F-5ADE-321F2058D169}"/>
              </a:ext>
            </a:extLst>
          </p:cNvPr>
          <p:cNvSpPr>
            <a:spLocks/>
          </p:cNvSpPr>
          <p:nvPr/>
        </p:nvSpPr>
        <p:spPr bwMode="auto">
          <a:xfrm>
            <a:off x="7083605" y="2475380"/>
            <a:ext cx="2617859" cy="1733550"/>
          </a:xfrm>
          <a:custGeom>
            <a:avLst/>
            <a:gdLst>
              <a:gd name="T0" fmla="*/ 0 w 1505"/>
              <a:gd name="T1" fmla="*/ 2 h 819"/>
              <a:gd name="T2" fmla="*/ 50 w 1505"/>
              <a:gd name="T3" fmla="*/ 188 h 819"/>
              <a:gd name="T4" fmla="*/ 101 w 1505"/>
              <a:gd name="T5" fmla="*/ 240 h 819"/>
              <a:gd name="T6" fmla="*/ 151 w 1505"/>
              <a:gd name="T7" fmla="*/ 277 h 819"/>
              <a:gd name="T8" fmla="*/ 352 w 1505"/>
              <a:gd name="T9" fmla="*/ 388 h 819"/>
              <a:gd name="T10" fmla="*/ 552 w 1505"/>
              <a:gd name="T11" fmla="*/ 444 h 819"/>
              <a:gd name="T12" fmla="*/ 752 w 1505"/>
              <a:gd name="T13" fmla="*/ 500 h 819"/>
              <a:gd name="T14" fmla="*/ 902 w 1505"/>
              <a:gd name="T15" fmla="*/ 566 h 819"/>
              <a:gd name="T16" fmla="*/ 1102 w 1505"/>
              <a:gd name="T17" fmla="*/ 626 h 819"/>
              <a:gd name="T18" fmla="*/ 1301 w 1505"/>
              <a:gd name="T19" fmla="*/ 697 h 819"/>
              <a:gd name="T20" fmla="*/ 1501 w 1505"/>
              <a:gd name="T21" fmla="*/ 819 h 819"/>
              <a:gd name="T22" fmla="*/ 1505 w 1505"/>
              <a:gd name="T23" fmla="*/ 813 h 819"/>
              <a:gd name="T24" fmla="*/ 1305 w 1505"/>
              <a:gd name="T25" fmla="*/ 689 h 819"/>
              <a:gd name="T26" fmla="*/ 1104 w 1505"/>
              <a:gd name="T27" fmla="*/ 618 h 819"/>
              <a:gd name="T28" fmla="*/ 904 w 1505"/>
              <a:gd name="T29" fmla="*/ 558 h 819"/>
              <a:gd name="T30" fmla="*/ 754 w 1505"/>
              <a:gd name="T31" fmla="*/ 493 h 819"/>
              <a:gd name="T32" fmla="*/ 554 w 1505"/>
              <a:gd name="T33" fmla="*/ 439 h 819"/>
              <a:gd name="T34" fmla="*/ 554 w 1505"/>
              <a:gd name="T35" fmla="*/ 439 h 819"/>
              <a:gd name="T36" fmla="*/ 355 w 1505"/>
              <a:gd name="T37" fmla="*/ 380 h 819"/>
              <a:gd name="T38" fmla="*/ 155 w 1505"/>
              <a:gd name="T39" fmla="*/ 270 h 819"/>
              <a:gd name="T40" fmla="*/ 106 w 1505"/>
              <a:gd name="T41" fmla="*/ 234 h 819"/>
              <a:gd name="T42" fmla="*/ 58 w 1505"/>
              <a:gd name="T43" fmla="*/ 184 h 819"/>
              <a:gd name="T44" fmla="*/ 7 w 1505"/>
              <a:gd name="T45" fmla="*/ 0 h 819"/>
              <a:gd name="T46" fmla="*/ 0 w 1505"/>
              <a:gd name="T47" fmla="*/ 2 h 8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505" h="819">
                <a:moveTo>
                  <a:pt x="0" y="2"/>
                </a:moveTo>
                <a:lnTo>
                  <a:pt x="50" y="188"/>
                </a:lnTo>
                <a:lnTo>
                  <a:pt x="101" y="240"/>
                </a:lnTo>
                <a:lnTo>
                  <a:pt x="151" y="277"/>
                </a:lnTo>
                <a:lnTo>
                  <a:pt x="352" y="388"/>
                </a:lnTo>
                <a:lnTo>
                  <a:pt x="552" y="444"/>
                </a:lnTo>
                <a:lnTo>
                  <a:pt x="752" y="500"/>
                </a:lnTo>
                <a:lnTo>
                  <a:pt x="902" y="566"/>
                </a:lnTo>
                <a:lnTo>
                  <a:pt x="1102" y="626"/>
                </a:lnTo>
                <a:lnTo>
                  <a:pt x="1301" y="697"/>
                </a:lnTo>
                <a:lnTo>
                  <a:pt x="1501" y="819"/>
                </a:lnTo>
                <a:lnTo>
                  <a:pt x="1505" y="813"/>
                </a:lnTo>
                <a:lnTo>
                  <a:pt x="1305" y="689"/>
                </a:lnTo>
                <a:lnTo>
                  <a:pt x="1104" y="618"/>
                </a:lnTo>
                <a:lnTo>
                  <a:pt x="904" y="558"/>
                </a:lnTo>
                <a:lnTo>
                  <a:pt x="754" y="493"/>
                </a:lnTo>
                <a:lnTo>
                  <a:pt x="554" y="439"/>
                </a:lnTo>
                <a:lnTo>
                  <a:pt x="554" y="439"/>
                </a:lnTo>
                <a:lnTo>
                  <a:pt x="355" y="380"/>
                </a:lnTo>
                <a:lnTo>
                  <a:pt x="155" y="270"/>
                </a:lnTo>
                <a:lnTo>
                  <a:pt x="106" y="234"/>
                </a:lnTo>
                <a:lnTo>
                  <a:pt x="58" y="184"/>
                </a:lnTo>
                <a:lnTo>
                  <a:pt x="7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03" name="Rectangle 128">
            <a:extLst>
              <a:ext uri="{FF2B5EF4-FFF2-40B4-BE49-F238E27FC236}">
                <a16:creationId xmlns:a16="http://schemas.microsoft.com/office/drawing/2014/main" id="{1CE96497-3F9A-1DCD-A92E-6F31EBA75E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3605" y="2388596"/>
            <a:ext cx="12176" cy="234949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04" name="Freeform 129">
            <a:extLst>
              <a:ext uri="{FF2B5EF4-FFF2-40B4-BE49-F238E27FC236}">
                <a16:creationId xmlns:a16="http://schemas.microsoft.com/office/drawing/2014/main" id="{C2D48132-6268-9BA9-3D06-0786BE1CB4F5}"/>
              </a:ext>
            </a:extLst>
          </p:cNvPr>
          <p:cNvSpPr>
            <a:spLocks/>
          </p:cNvSpPr>
          <p:nvPr/>
        </p:nvSpPr>
        <p:spPr bwMode="auto">
          <a:xfrm>
            <a:off x="7083605" y="2388596"/>
            <a:ext cx="12176" cy="234949"/>
          </a:xfrm>
          <a:custGeom>
            <a:avLst/>
            <a:gdLst>
              <a:gd name="T0" fmla="*/ 0 w 7"/>
              <a:gd name="T1" fmla="*/ 0 h 111"/>
              <a:gd name="T2" fmla="*/ 0 w 7"/>
              <a:gd name="T3" fmla="*/ 111 h 111"/>
              <a:gd name="T4" fmla="*/ 7 w 7"/>
              <a:gd name="T5" fmla="*/ 111 h 111"/>
              <a:gd name="T6" fmla="*/ 7 w 7"/>
              <a:gd name="T7" fmla="*/ 0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111">
                <a:moveTo>
                  <a:pt x="0" y="0"/>
                </a:moveTo>
                <a:lnTo>
                  <a:pt x="0" y="111"/>
                </a:lnTo>
                <a:lnTo>
                  <a:pt x="7" y="111"/>
                </a:lnTo>
                <a:lnTo>
                  <a:pt x="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05" name="Rectangle 130">
            <a:extLst>
              <a:ext uri="{FF2B5EF4-FFF2-40B4-BE49-F238E27FC236}">
                <a16:creationId xmlns:a16="http://schemas.microsoft.com/office/drawing/2014/main" id="{567F298F-F003-2889-5A18-D0169C4576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690" y="2384362"/>
            <a:ext cx="41747" cy="8467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06" name="Rectangle 131">
            <a:extLst>
              <a:ext uri="{FF2B5EF4-FFF2-40B4-BE49-F238E27FC236}">
                <a16:creationId xmlns:a16="http://schemas.microsoft.com/office/drawing/2014/main" id="{6C9C26CD-F73C-CB68-2C09-CCBD0ED811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690" y="2619313"/>
            <a:ext cx="41747" cy="8467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07" name="Rectangle 132">
            <a:extLst>
              <a:ext uri="{FF2B5EF4-FFF2-40B4-BE49-F238E27FC236}">
                <a16:creationId xmlns:a16="http://schemas.microsoft.com/office/drawing/2014/main" id="{3033C769-C955-5326-B081-312F5E3E2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70578" y="2814047"/>
            <a:ext cx="13915" cy="137583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08" name="Freeform 133">
            <a:extLst>
              <a:ext uri="{FF2B5EF4-FFF2-40B4-BE49-F238E27FC236}">
                <a16:creationId xmlns:a16="http://schemas.microsoft.com/office/drawing/2014/main" id="{3FC55DF0-1B10-110A-2722-956D66D252EE}"/>
              </a:ext>
            </a:extLst>
          </p:cNvPr>
          <p:cNvSpPr>
            <a:spLocks/>
          </p:cNvSpPr>
          <p:nvPr/>
        </p:nvSpPr>
        <p:spPr bwMode="auto">
          <a:xfrm>
            <a:off x="7170578" y="2814047"/>
            <a:ext cx="13915" cy="137583"/>
          </a:xfrm>
          <a:custGeom>
            <a:avLst/>
            <a:gdLst>
              <a:gd name="T0" fmla="*/ 0 w 8"/>
              <a:gd name="T1" fmla="*/ 0 h 65"/>
              <a:gd name="T2" fmla="*/ 0 w 8"/>
              <a:gd name="T3" fmla="*/ 65 h 65"/>
              <a:gd name="T4" fmla="*/ 8 w 8"/>
              <a:gd name="T5" fmla="*/ 65 h 65"/>
              <a:gd name="T6" fmla="*/ 8 w 8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65">
                <a:moveTo>
                  <a:pt x="0" y="0"/>
                </a:moveTo>
                <a:lnTo>
                  <a:pt x="0" y="65"/>
                </a:lnTo>
                <a:lnTo>
                  <a:pt x="8" y="65"/>
                </a:lnTo>
                <a:lnTo>
                  <a:pt x="8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09" name="Rectangle 134">
            <a:extLst>
              <a:ext uri="{FF2B5EF4-FFF2-40B4-BE49-F238E27FC236}">
                <a16:creationId xmlns:a16="http://schemas.microsoft.com/office/drawing/2014/main" id="{E0AE508A-57BC-C2B0-3BDB-FFBBFA616C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8400" y="2809813"/>
            <a:ext cx="41747" cy="6349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10" name="Rectangle 135">
            <a:extLst>
              <a:ext uri="{FF2B5EF4-FFF2-40B4-BE49-F238E27FC236}">
                <a16:creationId xmlns:a16="http://schemas.microsoft.com/office/drawing/2014/main" id="{1C6D2298-F0FF-E954-E9D3-BD2D5ECFD4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8400" y="2947396"/>
            <a:ext cx="41747" cy="8467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11" name="Rectangle 136">
            <a:extLst>
              <a:ext uri="{FF2B5EF4-FFF2-40B4-BE49-F238E27FC236}">
                <a16:creationId xmlns:a16="http://schemas.microsoft.com/office/drawing/2014/main" id="{E6726319-0DBF-62BE-C6F3-3846698FEE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59288" y="2943163"/>
            <a:ext cx="12176" cy="76200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12" name="Freeform 137">
            <a:extLst>
              <a:ext uri="{FF2B5EF4-FFF2-40B4-BE49-F238E27FC236}">
                <a16:creationId xmlns:a16="http://schemas.microsoft.com/office/drawing/2014/main" id="{A0792F48-C671-B6A3-47BB-7A5F13082682}"/>
              </a:ext>
            </a:extLst>
          </p:cNvPr>
          <p:cNvSpPr>
            <a:spLocks/>
          </p:cNvSpPr>
          <p:nvPr/>
        </p:nvSpPr>
        <p:spPr bwMode="auto">
          <a:xfrm>
            <a:off x="7259288" y="2943163"/>
            <a:ext cx="12176" cy="76200"/>
          </a:xfrm>
          <a:custGeom>
            <a:avLst/>
            <a:gdLst>
              <a:gd name="T0" fmla="*/ 0 w 7"/>
              <a:gd name="T1" fmla="*/ 0 h 36"/>
              <a:gd name="T2" fmla="*/ 0 w 7"/>
              <a:gd name="T3" fmla="*/ 36 h 36"/>
              <a:gd name="T4" fmla="*/ 7 w 7"/>
              <a:gd name="T5" fmla="*/ 36 h 36"/>
              <a:gd name="T6" fmla="*/ 7 w 7"/>
              <a:gd name="T7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36">
                <a:moveTo>
                  <a:pt x="0" y="0"/>
                </a:moveTo>
                <a:lnTo>
                  <a:pt x="0" y="36"/>
                </a:lnTo>
                <a:lnTo>
                  <a:pt x="7" y="36"/>
                </a:lnTo>
                <a:lnTo>
                  <a:pt x="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13" name="Rectangle 138">
            <a:extLst>
              <a:ext uri="{FF2B5EF4-FFF2-40B4-BE49-F238E27FC236}">
                <a16:creationId xmlns:a16="http://schemas.microsoft.com/office/drawing/2014/main" id="{4CA1716F-018B-494B-FD39-2D811E3BB9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41894" y="2938929"/>
            <a:ext cx="43486" cy="8467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14" name="Rectangle 139">
            <a:extLst>
              <a:ext uri="{FF2B5EF4-FFF2-40B4-BE49-F238E27FC236}">
                <a16:creationId xmlns:a16="http://schemas.microsoft.com/office/drawing/2014/main" id="{B8E21EB2-4A95-9F1E-EDC7-70E4CDA4C8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41894" y="3015129"/>
            <a:ext cx="43486" cy="8467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15" name="Rectangle 140">
            <a:extLst>
              <a:ext uri="{FF2B5EF4-FFF2-40B4-BE49-F238E27FC236}">
                <a16:creationId xmlns:a16="http://schemas.microsoft.com/office/drawing/2014/main" id="{1588EC2D-DEFD-1176-AEA0-293688E0C6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42781" y="3019363"/>
            <a:ext cx="13915" cy="74083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16" name="Freeform 141">
            <a:extLst>
              <a:ext uri="{FF2B5EF4-FFF2-40B4-BE49-F238E27FC236}">
                <a16:creationId xmlns:a16="http://schemas.microsoft.com/office/drawing/2014/main" id="{3813D826-369F-43EB-3D36-9C8892F40C1C}"/>
              </a:ext>
            </a:extLst>
          </p:cNvPr>
          <p:cNvSpPr>
            <a:spLocks/>
          </p:cNvSpPr>
          <p:nvPr/>
        </p:nvSpPr>
        <p:spPr bwMode="auto">
          <a:xfrm>
            <a:off x="7342781" y="3019363"/>
            <a:ext cx="13915" cy="74083"/>
          </a:xfrm>
          <a:custGeom>
            <a:avLst/>
            <a:gdLst>
              <a:gd name="T0" fmla="*/ 0 w 8"/>
              <a:gd name="T1" fmla="*/ 0 h 35"/>
              <a:gd name="T2" fmla="*/ 0 w 8"/>
              <a:gd name="T3" fmla="*/ 35 h 35"/>
              <a:gd name="T4" fmla="*/ 8 w 8"/>
              <a:gd name="T5" fmla="*/ 35 h 35"/>
              <a:gd name="T6" fmla="*/ 8 w 8"/>
              <a:gd name="T7" fmla="*/ 0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35">
                <a:moveTo>
                  <a:pt x="0" y="0"/>
                </a:moveTo>
                <a:lnTo>
                  <a:pt x="0" y="35"/>
                </a:lnTo>
                <a:lnTo>
                  <a:pt x="8" y="35"/>
                </a:lnTo>
                <a:lnTo>
                  <a:pt x="8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17" name="Rectangle 142">
            <a:extLst>
              <a:ext uri="{FF2B5EF4-FFF2-40B4-BE49-F238E27FC236}">
                <a16:creationId xmlns:a16="http://schemas.microsoft.com/office/drawing/2014/main" id="{810181A5-6CF7-075D-09D2-F23C25E901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30606" y="3015129"/>
            <a:ext cx="41747" cy="8467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18" name="Rectangle 143">
            <a:extLst>
              <a:ext uri="{FF2B5EF4-FFF2-40B4-BE49-F238E27FC236}">
                <a16:creationId xmlns:a16="http://schemas.microsoft.com/office/drawing/2014/main" id="{8909BED7-B5AD-A459-B852-428473322B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30606" y="3091329"/>
            <a:ext cx="41747" cy="6349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19" name="Rectangle 144">
            <a:extLst>
              <a:ext uri="{FF2B5EF4-FFF2-40B4-BE49-F238E27FC236}">
                <a16:creationId xmlns:a16="http://schemas.microsoft.com/office/drawing/2014/main" id="{24BE221D-7232-7314-04CA-1B77F34557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2410" y="3228913"/>
            <a:ext cx="12176" cy="143933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20" name="Freeform 145">
            <a:extLst>
              <a:ext uri="{FF2B5EF4-FFF2-40B4-BE49-F238E27FC236}">
                <a16:creationId xmlns:a16="http://schemas.microsoft.com/office/drawing/2014/main" id="{1B94CD74-7991-EDF0-6809-114F64F4B7F5}"/>
              </a:ext>
            </a:extLst>
          </p:cNvPr>
          <p:cNvSpPr>
            <a:spLocks/>
          </p:cNvSpPr>
          <p:nvPr/>
        </p:nvSpPr>
        <p:spPr bwMode="auto">
          <a:xfrm>
            <a:off x="7692410" y="3228913"/>
            <a:ext cx="12176" cy="143933"/>
          </a:xfrm>
          <a:custGeom>
            <a:avLst/>
            <a:gdLst>
              <a:gd name="T0" fmla="*/ 0 w 7"/>
              <a:gd name="T1" fmla="*/ 0 h 68"/>
              <a:gd name="T2" fmla="*/ 0 w 7"/>
              <a:gd name="T3" fmla="*/ 68 h 68"/>
              <a:gd name="T4" fmla="*/ 7 w 7"/>
              <a:gd name="T5" fmla="*/ 68 h 68"/>
              <a:gd name="T6" fmla="*/ 7 w 7"/>
              <a:gd name="T7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68">
                <a:moveTo>
                  <a:pt x="0" y="0"/>
                </a:moveTo>
                <a:lnTo>
                  <a:pt x="0" y="68"/>
                </a:lnTo>
                <a:lnTo>
                  <a:pt x="7" y="68"/>
                </a:lnTo>
                <a:lnTo>
                  <a:pt x="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21" name="Rectangle 146">
            <a:extLst>
              <a:ext uri="{FF2B5EF4-FFF2-40B4-BE49-F238E27FC236}">
                <a16:creationId xmlns:a16="http://schemas.microsoft.com/office/drawing/2014/main" id="{E20F2147-084A-82CD-036C-2E32FC278F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8494" y="3224680"/>
            <a:ext cx="43486" cy="8467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22" name="Rectangle 147">
            <a:extLst>
              <a:ext uri="{FF2B5EF4-FFF2-40B4-BE49-F238E27FC236}">
                <a16:creationId xmlns:a16="http://schemas.microsoft.com/office/drawing/2014/main" id="{D18BD812-A0A6-C08B-CD9B-C6993D7C14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8494" y="3368613"/>
            <a:ext cx="43486" cy="6349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23" name="Rectangle 148">
            <a:extLst>
              <a:ext uri="{FF2B5EF4-FFF2-40B4-BE49-F238E27FC236}">
                <a16:creationId xmlns:a16="http://schemas.microsoft.com/office/drawing/2014/main" id="{72E68C96-F8CC-C454-2B10-46D17B3C6C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40298" y="3360147"/>
            <a:ext cx="13915" cy="118533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24" name="Freeform 149">
            <a:extLst>
              <a:ext uri="{FF2B5EF4-FFF2-40B4-BE49-F238E27FC236}">
                <a16:creationId xmlns:a16="http://schemas.microsoft.com/office/drawing/2014/main" id="{E1927419-13DF-3492-BF7C-536C6D723FD9}"/>
              </a:ext>
            </a:extLst>
          </p:cNvPr>
          <p:cNvSpPr>
            <a:spLocks/>
          </p:cNvSpPr>
          <p:nvPr/>
        </p:nvSpPr>
        <p:spPr bwMode="auto">
          <a:xfrm>
            <a:off x="8040298" y="3360147"/>
            <a:ext cx="13915" cy="118533"/>
          </a:xfrm>
          <a:custGeom>
            <a:avLst/>
            <a:gdLst>
              <a:gd name="T0" fmla="*/ 0 w 8"/>
              <a:gd name="T1" fmla="*/ 0 h 56"/>
              <a:gd name="T2" fmla="*/ 0 w 8"/>
              <a:gd name="T3" fmla="*/ 56 h 56"/>
              <a:gd name="T4" fmla="*/ 8 w 8"/>
              <a:gd name="T5" fmla="*/ 56 h 56"/>
              <a:gd name="T6" fmla="*/ 8 w 8"/>
              <a:gd name="T7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56">
                <a:moveTo>
                  <a:pt x="0" y="0"/>
                </a:moveTo>
                <a:lnTo>
                  <a:pt x="0" y="56"/>
                </a:lnTo>
                <a:lnTo>
                  <a:pt x="8" y="56"/>
                </a:lnTo>
                <a:lnTo>
                  <a:pt x="8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25" name="Rectangle 150">
            <a:extLst>
              <a:ext uri="{FF2B5EF4-FFF2-40B4-BE49-F238E27FC236}">
                <a16:creationId xmlns:a16="http://schemas.microsoft.com/office/drawing/2014/main" id="{EF3E1ED0-EF61-4B5E-3BF0-93AF8D4E1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24642" y="3355913"/>
            <a:ext cx="41747" cy="8467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26" name="Rectangle 151">
            <a:extLst>
              <a:ext uri="{FF2B5EF4-FFF2-40B4-BE49-F238E27FC236}">
                <a16:creationId xmlns:a16="http://schemas.microsoft.com/office/drawing/2014/main" id="{A5981F26-FB9F-CF93-C199-CFE9C0DD03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24642" y="3474447"/>
            <a:ext cx="41747" cy="8467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27" name="Rectangle 152">
            <a:extLst>
              <a:ext uri="{FF2B5EF4-FFF2-40B4-BE49-F238E27FC236}">
                <a16:creationId xmlns:a16="http://schemas.microsoft.com/office/drawing/2014/main" id="{BFA3A23F-DFDA-7D42-8B8A-75F8D08B0E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8186" y="3410947"/>
            <a:ext cx="13915" cy="364067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28" name="Freeform 153">
            <a:extLst>
              <a:ext uri="{FF2B5EF4-FFF2-40B4-BE49-F238E27FC236}">
                <a16:creationId xmlns:a16="http://schemas.microsoft.com/office/drawing/2014/main" id="{A4F4BFC1-27F9-13FD-289A-0243C59E8121}"/>
              </a:ext>
            </a:extLst>
          </p:cNvPr>
          <p:cNvSpPr>
            <a:spLocks/>
          </p:cNvSpPr>
          <p:nvPr/>
        </p:nvSpPr>
        <p:spPr bwMode="auto">
          <a:xfrm>
            <a:off x="8388186" y="3410947"/>
            <a:ext cx="13915" cy="364067"/>
          </a:xfrm>
          <a:custGeom>
            <a:avLst/>
            <a:gdLst>
              <a:gd name="T0" fmla="*/ 0 w 8"/>
              <a:gd name="T1" fmla="*/ 0 h 172"/>
              <a:gd name="T2" fmla="*/ 0 w 8"/>
              <a:gd name="T3" fmla="*/ 172 h 172"/>
              <a:gd name="T4" fmla="*/ 8 w 8"/>
              <a:gd name="T5" fmla="*/ 172 h 172"/>
              <a:gd name="T6" fmla="*/ 8 w 8"/>
              <a:gd name="T7" fmla="*/ 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172">
                <a:moveTo>
                  <a:pt x="0" y="0"/>
                </a:moveTo>
                <a:lnTo>
                  <a:pt x="0" y="172"/>
                </a:lnTo>
                <a:lnTo>
                  <a:pt x="8" y="172"/>
                </a:lnTo>
                <a:lnTo>
                  <a:pt x="8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29" name="Rectangle 154">
            <a:extLst>
              <a:ext uri="{FF2B5EF4-FFF2-40B4-BE49-F238E27FC236}">
                <a16:creationId xmlns:a16="http://schemas.microsoft.com/office/drawing/2014/main" id="{6DABD27D-7A4E-6EB8-1CB1-6438AE04CD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2531" y="3406713"/>
            <a:ext cx="41747" cy="8467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30" name="Rectangle 155">
            <a:extLst>
              <a:ext uri="{FF2B5EF4-FFF2-40B4-BE49-F238E27FC236}">
                <a16:creationId xmlns:a16="http://schemas.microsoft.com/office/drawing/2014/main" id="{99E4EB36-5355-80C8-F955-DD5D2D1173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2531" y="3772896"/>
            <a:ext cx="41747" cy="6349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31" name="Rectangle 156">
            <a:extLst>
              <a:ext uri="{FF2B5EF4-FFF2-40B4-BE49-F238E27FC236}">
                <a16:creationId xmlns:a16="http://schemas.microsoft.com/office/drawing/2014/main" id="{D0B70234-B43B-DC9C-23DC-B647DAF777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49103" y="3582396"/>
            <a:ext cx="13915" cy="218016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32" name="Freeform 157">
            <a:extLst>
              <a:ext uri="{FF2B5EF4-FFF2-40B4-BE49-F238E27FC236}">
                <a16:creationId xmlns:a16="http://schemas.microsoft.com/office/drawing/2014/main" id="{30D1D493-9054-0CFE-839E-80B0C146A347}"/>
              </a:ext>
            </a:extLst>
          </p:cNvPr>
          <p:cNvSpPr>
            <a:spLocks/>
          </p:cNvSpPr>
          <p:nvPr/>
        </p:nvSpPr>
        <p:spPr bwMode="auto">
          <a:xfrm>
            <a:off x="8649103" y="3582396"/>
            <a:ext cx="13915" cy="218016"/>
          </a:xfrm>
          <a:custGeom>
            <a:avLst/>
            <a:gdLst>
              <a:gd name="T0" fmla="*/ 0 w 8"/>
              <a:gd name="T1" fmla="*/ 0 h 103"/>
              <a:gd name="T2" fmla="*/ 0 w 8"/>
              <a:gd name="T3" fmla="*/ 103 h 103"/>
              <a:gd name="T4" fmla="*/ 8 w 8"/>
              <a:gd name="T5" fmla="*/ 103 h 103"/>
              <a:gd name="T6" fmla="*/ 8 w 8"/>
              <a:gd name="T7" fmla="*/ 0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103">
                <a:moveTo>
                  <a:pt x="0" y="0"/>
                </a:moveTo>
                <a:lnTo>
                  <a:pt x="0" y="103"/>
                </a:lnTo>
                <a:lnTo>
                  <a:pt x="8" y="103"/>
                </a:lnTo>
                <a:lnTo>
                  <a:pt x="8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33" name="Rectangle 158">
            <a:extLst>
              <a:ext uri="{FF2B5EF4-FFF2-40B4-BE49-F238E27FC236}">
                <a16:creationId xmlns:a16="http://schemas.microsoft.com/office/drawing/2014/main" id="{7E6413F6-736A-7BBB-0BD2-282B867153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33447" y="3578163"/>
            <a:ext cx="41747" cy="8467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34" name="Rectangle 159">
            <a:extLst>
              <a:ext uri="{FF2B5EF4-FFF2-40B4-BE49-F238E27FC236}">
                <a16:creationId xmlns:a16="http://schemas.microsoft.com/office/drawing/2014/main" id="{AC4EAB93-13DC-8403-4DD0-C3EFE31B82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33447" y="3796180"/>
            <a:ext cx="41747" cy="8467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35" name="Rectangle 160">
            <a:extLst>
              <a:ext uri="{FF2B5EF4-FFF2-40B4-BE49-F238E27FC236}">
                <a16:creationId xmlns:a16="http://schemas.microsoft.com/office/drawing/2014/main" id="{7C77CB86-2F7E-08C8-BC23-B7BB0A6526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95251" y="3673413"/>
            <a:ext cx="12176" cy="387349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36" name="Freeform 161">
            <a:extLst>
              <a:ext uri="{FF2B5EF4-FFF2-40B4-BE49-F238E27FC236}">
                <a16:creationId xmlns:a16="http://schemas.microsoft.com/office/drawing/2014/main" id="{9EFEBAEA-EB05-F1F4-D35F-E3C7943846B8}"/>
              </a:ext>
            </a:extLst>
          </p:cNvPr>
          <p:cNvSpPr>
            <a:spLocks/>
          </p:cNvSpPr>
          <p:nvPr/>
        </p:nvSpPr>
        <p:spPr bwMode="auto">
          <a:xfrm>
            <a:off x="8995251" y="3673413"/>
            <a:ext cx="12176" cy="387349"/>
          </a:xfrm>
          <a:custGeom>
            <a:avLst/>
            <a:gdLst>
              <a:gd name="T0" fmla="*/ 0 w 7"/>
              <a:gd name="T1" fmla="*/ 0 h 183"/>
              <a:gd name="T2" fmla="*/ 0 w 7"/>
              <a:gd name="T3" fmla="*/ 183 h 183"/>
              <a:gd name="T4" fmla="*/ 7 w 7"/>
              <a:gd name="T5" fmla="*/ 183 h 183"/>
              <a:gd name="T6" fmla="*/ 7 w 7"/>
              <a:gd name="T7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183">
                <a:moveTo>
                  <a:pt x="0" y="0"/>
                </a:moveTo>
                <a:lnTo>
                  <a:pt x="0" y="183"/>
                </a:lnTo>
                <a:lnTo>
                  <a:pt x="7" y="183"/>
                </a:lnTo>
                <a:lnTo>
                  <a:pt x="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37" name="Rectangle 162">
            <a:extLst>
              <a:ext uri="{FF2B5EF4-FFF2-40B4-BE49-F238E27FC236}">
                <a16:creationId xmlns:a16="http://schemas.microsoft.com/office/drawing/2014/main" id="{094CFD77-F44E-DB57-6FDD-83BBD5D6A2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81335" y="3669180"/>
            <a:ext cx="41747" cy="8467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38" name="Rectangle 163">
            <a:extLst>
              <a:ext uri="{FF2B5EF4-FFF2-40B4-BE49-F238E27FC236}">
                <a16:creationId xmlns:a16="http://schemas.microsoft.com/office/drawing/2014/main" id="{EF0DCC69-E1EE-3247-03B3-367A362CB3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81335" y="4056529"/>
            <a:ext cx="41747" cy="8467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39" name="Rectangle 164">
            <a:extLst>
              <a:ext uri="{FF2B5EF4-FFF2-40B4-BE49-F238E27FC236}">
                <a16:creationId xmlns:a16="http://schemas.microsoft.com/office/drawing/2014/main" id="{63108B57-93BE-BD9C-1395-082B27ACE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43139" y="3806763"/>
            <a:ext cx="12176" cy="524933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40" name="Rectangle 165">
            <a:extLst>
              <a:ext uri="{FF2B5EF4-FFF2-40B4-BE49-F238E27FC236}">
                <a16:creationId xmlns:a16="http://schemas.microsoft.com/office/drawing/2014/main" id="{BD8C5B7C-D7A5-4112-2A96-FF1F73B006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43139" y="3806763"/>
            <a:ext cx="12176" cy="524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41" name="Rectangle 166">
            <a:extLst>
              <a:ext uri="{FF2B5EF4-FFF2-40B4-BE49-F238E27FC236}">
                <a16:creationId xmlns:a16="http://schemas.microsoft.com/office/drawing/2014/main" id="{5F4E21CF-E4B2-D122-BF5A-8ACA11E719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27485" y="3804647"/>
            <a:ext cx="41747" cy="6349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42" name="Rectangle 167">
            <a:extLst>
              <a:ext uri="{FF2B5EF4-FFF2-40B4-BE49-F238E27FC236}">
                <a16:creationId xmlns:a16="http://schemas.microsoft.com/office/drawing/2014/main" id="{9DE1771F-F157-0D6C-0127-2498E1550B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27485" y="4327463"/>
            <a:ext cx="41747" cy="6349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44" name="Rectangle 169">
            <a:extLst>
              <a:ext uri="{FF2B5EF4-FFF2-40B4-BE49-F238E27FC236}">
                <a16:creationId xmlns:a16="http://schemas.microsoft.com/office/drawing/2014/main" id="{F3B72BF8-E93A-8463-BA40-4C1E90FEAF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6189" y="4219513"/>
            <a:ext cx="478347" cy="31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45" name="Rectangle 170">
            <a:extLst>
              <a:ext uri="{FF2B5EF4-FFF2-40B4-BE49-F238E27FC236}">
                <a16:creationId xmlns:a16="http://schemas.microsoft.com/office/drawing/2014/main" id="{3D563FC4-0EF3-7A5F-962B-4ACEBE194E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50626" y="4219513"/>
            <a:ext cx="1276749" cy="31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46" name="Rectangle 171">
            <a:extLst>
              <a:ext uri="{FF2B5EF4-FFF2-40B4-BE49-F238E27FC236}">
                <a16:creationId xmlns:a16="http://schemas.microsoft.com/office/drawing/2014/main" id="{A8EA84D4-750F-1F59-DFE0-257CB1BFC9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53469" y="4219513"/>
            <a:ext cx="589671" cy="31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47" name="Rectangle 172">
            <a:extLst>
              <a:ext uri="{FF2B5EF4-FFF2-40B4-BE49-F238E27FC236}">
                <a16:creationId xmlns:a16="http://schemas.microsoft.com/office/drawing/2014/main" id="{A67ED518-356D-BAD2-5D8D-F127A96C98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5315" y="4219513"/>
            <a:ext cx="485305" cy="31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48" name="Rectangle 173">
            <a:extLst>
              <a:ext uri="{FF2B5EF4-FFF2-40B4-BE49-F238E27FC236}">
                <a16:creationId xmlns:a16="http://schemas.microsoft.com/office/drawing/2014/main" id="{E963C66C-BE59-E8EB-9847-D4DD11B1B8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43139" y="4219513"/>
            <a:ext cx="12176" cy="31749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49" name="Rectangle 174">
            <a:extLst>
              <a:ext uri="{FF2B5EF4-FFF2-40B4-BE49-F238E27FC236}">
                <a16:creationId xmlns:a16="http://schemas.microsoft.com/office/drawing/2014/main" id="{45F0DC67-B134-63AF-901D-8865EFE851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43139" y="4219513"/>
            <a:ext cx="12176" cy="31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51" name="Rectangle 176">
            <a:extLst>
              <a:ext uri="{FF2B5EF4-FFF2-40B4-BE49-F238E27FC236}">
                <a16:creationId xmlns:a16="http://schemas.microsoft.com/office/drawing/2014/main" id="{ACA360C8-6BA1-6531-AEF2-BAF44E3793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4536" y="4251263"/>
            <a:ext cx="26092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52" name="Freeform 177">
            <a:extLst>
              <a:ext uri="{FF2B5EF4-FFF2-40B4-BE49-F238E27FC236}">
                <a16:creationId xmlns:a16="http://schemas.microsoft.com/office/drawing/2014/main" id="{DC38A861-1CBA-525C-C98E-3E21A951F393}"/>
              </a:ext>
            </a:extLst>
          </p:cNvPr>
          <p:cNvSpPr>
            <a:spLocks/>
          </p:cNvSpPr>
          <p:nvPr/>
        </p:nvSpPr>
        <p:spPr bwMode="auto">
          <a:xfrm>
            <a:off x="7424536" y="3114613"/>
            <a:ext cx="26092" cy="1104900"/>
          </a:xfrm>
          <a:custGeom>
            <a:avLst/>
            <a:gdLst>
              <a:gd name="T0" fmla="*/ 0 w 15"/>
              <a:gd name="T1" fmla="*/ 0 h 522"/>
              <a:gd name="T2" fmla="*/ 0 w 15"/>
              <a:gd name="T3" fmla="*/ 522 h 522"/>
              <a:gd name="T4" fmla="*/ 15 w 15"/>
              <a:gd name="T5" fmla="*/ 522 h 522"/>
              <a:gd name="T6" fmla="*/ 15 w 15"/>
              <a:gd name="T7" fmla="*/ 7 h 522"/>
              <a:gd name="T8" fmla="*/ 0 w 15"/>
              <a:gd name="T9" fmla="*/ 0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522">
                <a:moveTo>
                  <a:pt x="0" y="0"/>
                </a:moveTo>
                <a:lnTo>
                  <a:pt x="0" y="522"/>
                </a:lnTo>
                <a:lnTo>
                  <a:pt x="15" y="522"/>
                </a:lnTo>
                <a:lnTo>
                  <a:pt x="15" y="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53" name="Freeform 178">
            <a:extLst>
              <a:ext uri="{FF2B5EF4-FFF2-40B4-BE49-F238E27FC236}">
                <a16:creationId xmlns:a16="http://schemas.microsoft.com/office/drawing/2014/main" id="{DAF42030-7317-9ECE-7655-4FFE826DC198}"/>
              </a:ext>
            </a:extLst>
          </p:cNvPr>
          <p:cNvSpPr>
            <a:spLocks/>
          </p:cNvSpPr>
          <p:nvPr/>
        </p:nvSpPr>
        <p:spPr bwMode="auto">
          <a:xfrm>
            <a:off x="7424536" y="2100729"/>
            <a:ext cx="26092" cy="1013883"/>
          </a:xfrm>
          <a:custGeom>
            <a:avLst/>
            <a:gdLst>
              <a:gd name="T0" fmla="*/ 15 w 15"/>
              <a:gd name="T1" fmla="*/ 0 h 479"/>
              <a:gd name="T2" fmla="*/ 0 w 15"/>
              <a:gd name="T3" fmla="*/ 0 h 479"/>
              <a:gd name="T4" fmla="*/ 0 w 15"/>
              <a:gd name="T5" fmla="*/ 469 h 479"/>
              <a:gd name="T6" fmla="*/ 15 w 15"/>
              <a:gd name="T7" fmla="*/ 479 h 479"/>
              <a:gd name="T8" fmla="*/ 15 w 15"/>
              <a:gd name="T9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479">
                <a:moveTo>
                  <a:pt x="15" y="0"/>
                </a:moveTo>
                <a:lnTo>
                  <a:pt x="0" y="0"/>
                </a:lnTo>
                <a:lnTo>
                  <a:pt x="0" y="469"/>
                </a:lnTo>
                <a:lnTo>
                  <a:pt x="15" y="479"/>
                </a:lnTo>
                <a:lnTo>
                  <a:pt x="15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55" name="Freeform 180">
            <a:extLst>
              <a:ext uri="{FF2B5EF4-FFF2-40B4-BE49-F238E27FC236}">
                <a16:creationId xmlns:a16="http://schemas.microsoft.com/office/drawing/2014/main" id="{0D421BC4-D794-FCFF-7E52-FCE0F5F68972}"/>
              </a:ext>
            </a:extLst>
          </p:cNvPr>
          <p:cNvSpPr>
            <a:spLocks/>
          </p:cNvSpPr>
          <p:nvPr/>
        </p:nvSpPr>
        <p:spPr bwMode="auto">
          <a:xfrm>
            <a:off x="7424536" y="3093447"/>
            <a:ext cx="26092" cy="35983"/>
          </a:xfrm>
          <a:custGeom>
            <a:avLst/>
            <a:gdLst>
              <a:gd name="T0" fmla="*/ 0 w 15"/>
              <a:gd name="T1" fmla="*/ 0 h 17"/>
              <a:gd name="T2" fmla="*/ 0 w 15"/>
              <a:gd name="T3" fmla="*/ 10 h 17"/>
              <a:gd name="T4" fmla="*/ 15 w 15"/>
              <a:gd name="T5" fmla="*/ 17 h 17"/>
              <a:gd name="T6" fmla="*/ 15 w 15"/>
              <a:gd name="T7" fmla="*/ 10 h 17"/>
              <a:gd name="T8" fmla="*/ 0 w 15"/>
              <a:gd name="T9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7">
                <a:moveTo>
                  <a:pt x="0" y="0"/>
                </a:moveTo>
                <a:lnTo>
                  <a:pt x="0" y="10"/>
                </a:lnTo>
                <a:lnTo>
                  <a:pt x="15" y="17"/>
                </a:lnTo>
                <a:lnTo>
                  <a:pt x="15" y="1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57" name="Rectangle 182">
            <a:extLst>
              <a:ext uri="{FF2B5EF4-FFF2-40B4-BE49-F238E27FC236}">
                <a16:creationId xmlns:a16="http://schemas.microsoft.com/office/drawing/2014/main" id="{9C7BE516-9289-52DB-C1A2-FB114B7FAE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4536" y="4219513"/>
            <a:ext cx="26092" cy="31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59" name="Rectangle 184">
            <a:extLst>
              <a:ext uri="{FF2B5EF4-FFF2-40B4-BE49-F238E27FC236}">
                <a16:creationId xmlns:a16="http://schemas.microsoft.com/office/drawing/2014/main" id="{E258EFB9-93FF-E747-C9D0-5CA214C77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7377" y="4251263"/>
            <a:ext cx="26092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60" name="Freeform 185">
            <a:extLst>
              <a:ext uri="{FF2B5EF4-FFF2-40B4-BE49-F238E27FC236}">
                <a16:creationId xmlns:a16="http://schemas.microsoft.com/office/drawing/2014/main" id="{CD63B663-1C94-35B1-1D47-C5C79E4A21D4}"/>
              </a:ext>
            </a:extLst>
          </p:cNvPr>
          <p:cNvSpPr>
            <a:spLocks/>
          </p:cNvSpPr>
          <p:nvPr/>
        </p:nvSpPr>
        <p:spPr bwMode="auto">
          <a:xfrm>
            <a:off x="8727377" y="3700929"/>
            <a:ext cx="26092" cy="518583"/>
          </a:xfrm>
          <a:custGeom>
            <a:avLst/>
            <a:gdLst>
              <a:gd name="T0" fmla="*/ 0 w 15"/>
              <a:gd name="T1" fmla="*/ 0 h 245"/>
              <a:gd name="T2" fmla="*/ 0 w 15"/>
              <a:gd name="T3" fmla="*/ 245 h 245"/>
              <a:gd name="T4" fmla="*/ 15 w 15"/>
              <a:gd name="T5" fmla="*/ 245 h 245"/>
              <a:gd name="T6" fmla="*/ 15 w 15"/>
              <a:gd name="T7" fmla="*/ 4 h 245"/>
              <a:gd name="T8" fmla="*/ 0 w 15"/>
              <a:gd name="T9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245">
                <a:moveTo>
                  <a:pt x="0" y="0"/>
                </a:moveTo>
                <a:lnTo>
                  <a:pt x="0" y="245"/>
                </a:lnTo>
                <a:lnTo>
                  <a:pt x="15" y="245"/>
                </a:lnTo>
                <a:lnTo>
                  <a:pt x="15" y="4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61" name="Freeform 186">
            <a:extLst>
              <a:ext uri="{FF2B5EF4-FFF2-40B4-BE49-F238E27FC236}">
                <a16:creationId xmlns:a16="http://schemas.microsoft.com/office/drawing/2014/main" id="{E7DE6453-76F1-2DCF-C50E-045FF9AB31F1}"/>
              </a:ext>
            </a:extLst>
          </p:cNvPr>
          <p:cNvSpPr>
            <a:spLocks/>
          </p:cNvSpPr>
          <p:nvPr/>
        </p:nvSpPr>
        <p:spPr bwMode="auto">
          <a:xfrm>
            <a:off x="8727377" y="2100729"/>
            <a:ext cx="26092" cy="1591734"/>
          </a:xfrm>
          <a:custGeom>
            <a:avLst/>
            <a:gdLst>
              <a:gd name="T0" fmla="*/ 15 w 15"/>
              <a:gd name="T1" fmla="*/ 0 h 752"/>
              <a:gd name="T2" fmla="*/ 0 w 15"/>
              <a:gd name="T3" fmla="*/ 0 h 752"/>
              <a:gd name="T4" fmla="*/ 0 w 15"/>
              <a:gd name="T5" fmla="*/ 747 h 752"/>
              <a:gd name="T6" fmla="*/ 15 w 15"/>
              <a:gd name="T7" fmla="*/ 752 h 752"/>
              <a:gd name="T8" fmla="*/ 15 w 15"/>
              <a:gd name="T9" fmla="*/ 0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752">
                <a:moveTo>
                  <a:pt x="15" y="0"/>
                </a:moveTo>
                <a:lnTo>
                  <a:pt x="0" y="0"/>
                </a:lnTo>
                <a:lnTo>
                  <a:pt x="0" y="747"/>
                </a:lnTo>
                <a:lnTo>
                  <a:pt x="15" y="752"/>
                </a:lnTo>
                <a:lnTo>
                  <a:pt x="15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63" name="Freeform 188">
            <a:extLst>
              <a:ext uri="{FF2B5EF4-FFF2-40B4-BE49-F238E27FC236}">
                <a16:creationId xmlns:a16="http://schemas.microsoft.com/office/drawing/2014/main" id="{CB9BA8CB-9FD8-FF11-36B5-19833AB6F9F6}"/>
              </a:ext>
            </a:extLst>
          </p:cNvPr>
          <p:cNvSpPr>
            <a:spLocks/>
          </p:cNvSpPr>
          <p:nvPr/>
        </p:nvSpPr>
        <p:spPr bwMode="auto">
          <a:xfrm>
            <a:off x="8727377" y="3681880"/>
            <a:ext cx="26092" cy="27516"/>
          </a:xfrm>
          <a:custGeom>
            <a:avLst/>
            <a:gdLst>
              <a:gd name="T0" fmla="*/ 0 w 15"/>
              <a:gd name="T1" fmla="*/ 0 h 13"/>
              <a:gd name="T2" fmla="*/ 0 w 15"/>
              <a:gd name="T3" fmla="*/ 9 h 13"/>
              <a:gd name="T4" fmla="*/ 15 w 15"/>
              <a:gd name="T5" fmla="*/ 13 h 13"/>
              <a:gd name="T6" fmla="*/ 15 w 15"/>
              <a:gd name="T7" fmla="*/ 5 h 13"/>
              <a:gd name="T8" fmla="*/ 0 w 15"/>
              <a:gd name="T9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3">
                <a:moveTo>
                  <a:pt x="0" y="0"/>
                </a:moveTo>
                <a:lnTo>
                  <a:pt x="0" y="9"/>
                </a:lnTo>
                <a:lnTo>
                  <a:pt x="15" y="13"/>
                </a:lnTo>
                <a:lnTo>
                  <a:pt x="15" y="5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65" name="Rectangle 190">
            <a:extLst>
              <a:ext uri="{FF2B5EF4-FFF2-40B4-BE49-F238E27FC236}">
                <a16:creationId xmlns:a16="http://schemas.microsoft.com/office/drawing/2014/main" id="{76335ABE-DB64-6466-F6CF-4B345F721E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7377" y="4219513"/>
            <a:ext cx="26092" cy="31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66" name="Freeform 191">
            <a:extLst>
              <a:ext uri="{FF2B5EF4-FFF2-40B4-BE49-F238E27FC236}">
                <a16:creationId xmlns:a16="http://schemas.microsoft.com/office/drawing/2014/main" id="{768632D6-1237-2591-73EB-0BBE1048C072}"/>
              </a:ext>
            </a:extLst>
          </p:cNvPr>
          <p:cNvSpPr>
            <a:spLocks/>
          </p:cNvSpPr>
          <p:nvPr/>
        </p:nvSpPr>
        <p:spPr bwMode="auto">
          <a:xfrm>
            <a:off x="6939231" y="1978564"/>
            <a:ext cx="3547794" cy="2649466"/>
          </a:xfrm>
          <a:custGeom>
            <a:avLst/>
            <a:gdLst>
              <a:gd name="T0" fmla="*/ 4 w 1672"/>
              <a:gd name="T1" fmla="*/ 4 h 1198"/>
              <a:gd name="T2" fmla="*/ 4 w 1672"/>
              <a:gd name="T3" fmla="*/ 7 h 1198"/>
              <a:gd name="T4" fmla="*/ 1665 w 1672"/>
              <a:gd name="T5" fmla="*/ 7 h 1198"/>
              <a:gd name="T6" fmla="*/ 1665 w 1672"/>
              <a:gd name="T7" fmla="*/ 1191 h 1198"/>
              <a:gd name="T8" fmla="*/ 8 w 1672"/>
              <a:gd name="T9" fmla="*/ 1191 h 1198"/>
              <a:gd name="T10" fmla="*/ 8 w 1672"/>
              <a:gd name="T11" fmla="*/ 4 h 1198"/>
              <a:gd name="T12" fmla="*/ 4 w 1672"/>
              <a:gd name="T13" fmla="*/ 4 h 1198"/>
              <a:gd name="T14" fmla="*/ 4 w 1672"/>
              <a:gd name="T15" fmla="*/ 7 h 1198"/>
              <a:gd name="T16" fmla="*/ 4 w 1672"/>
              <a:gd name="T17" fmla="*/ 4 h 1198"/>
              <a:gd name="T18" fmla="*/ 0 w 1672"/>
              <a:gd name="T19" fmla="*/ 4 h 1198"/>
              <a:gd name="T20" fmla="*/ 0 w 1672"/>
              <a:gd name="T21" fmla="*/ 1198 h 1198"/>
              <a:gd name="T22" fmla="*/ 1672 w 1672"/>
              <a:gd name="T23" fmla="*/ 1198 h 1198"/>
              <a:gd name="T24" fmla="*/ 1672 w 1672"/>
              <a:gd name="T25" fmla="*/ 0 h 1198"/>
              <a:gd name="T26" fmla="*/ 0 w 1672"/>
              <a:gd name="T27" fmla="*/ 0 h 1198"/>
              <a:gd name="T28" fmla="*/ 0 w 1672"/>
              <a:gd name="T29" fmla="*/ 4 h 1198"/>
              <a:gd name="T30" fmla="*/ 4 w 1672"/>
              <a:gd name="T31" fmla="*/ 4 h 1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672" h="1198">
                <a:moveTo>
                  <a:pt x="4" y="4"/>
                </a:moveTo>
                <a:lnTo>
                  <a:pt x="4" y="7"/>
                </a:lnTo>
                <a:lnTo>
                  <a:pt x="1665" y="7"/>
                </a:lnTo>
                <a:lnTo>
                  <a:pt x="1665" y="1191"/>
                </a:lnTo>
                <a:lnTo>
                  <a:pt x="8" y="1191"/>
                </a:lnTo>
                <a:lnTo>
                  <a:pt x="8" y="4"/>
                </a:lnTo>
                <a:lnTo>
                  <a:pt x="4" y="4"/>
                </a:lnTo>
                <a:lnTo>
                  <a:pt x="4" y="7"/>
                </a:lnTo>
                <a:lnTo>
                  <a:pt x="4" y="4"/>
                </a:lnTo>
                <a:lnTo>
                  <a:pt x="0" y="4"/>
                </a:lnTo>
                <a:lnTo>
                  <a:pt x="0" y="1198"/>
                </a:lnTo>
                <a:lnTo>
                  <a:pt x="1672" y="1198"/>
                </a:lnTo>
                <a:lnTo>
                  <a:pt x="1672" y="0"/>
                </a:lnTo>
                <a:lnTo>
                  <a:pt x="0" y="0"/>
                </a:lnTo>
                <a:lnTo>
                  <a:pt x="0" y="4"/>
                </a:lnTo>
                <a:lnTo>
                  <a:pt x="4" y="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26" name="Rectangle 212">
            <a:extLst>
              <a:ext uri="{FF2B5EF4-FFF2-40B4-BE49-F238E27FC236}">
                <a16:creationId xmlns:a16="http://schemas.microsoft.com/office/drawing/2014/main" id="{2DD2E486-732F-8843-6089-99403CB89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8372" y="4619563"/>
            <a:ext cx="12176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7" name="Freeform 213">
            <a:extLst>
              <a:ext uri="{FF2B5EF4-FFF2-40B4-BE49-F238E27FC236}">
                <a16:creationId xmlns:a16="http://schemas.microsoft.com/office/drawing/2014/main" id="{6DC54CC8-1DD4-6091-0985-0A97ACD43F4D}"/>
              </a:ext>
            </a:extLst>
          </p:cNvPr>
          <p:cNvSpPr>
            <a:spLocks/>
          </p:cNvSpPr>
          <p:nvPr/>
        </p:nvSpPr>
        <p:spPr bwMode="auto">
          <a:xfrm>
            <a:off x="6998372" y="4619563"/>
            <a:ext cx="12176" cy="55033"/>
          </a:xfrm>
          <a:custGeom>
            <a:avLst/>
            <a:gdLst>
              <a:gd name="T0" fmla="*/ 7 w 7"/>
              <a:gd name="T1" fmla="*/ 26 h 26"/>
              <a:gd name="T2" fmla="*/ 7 w 7"/>
              <a:gd name="T3" fmla="*/ 0 h 26"/>
              <a:gd name="T4" fmla="*/ 0 w 7"/>
              <a:gd name="T5" fmla="*/ 0 h 26"/>
              <a:gd name="T6" fmla="*/ 0 w 7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26">
                <a:moveTo>
                  <a:pt x="7" y="26"/>
                </a:moveTo>
                <a:lnTo>
                  <a:pt x="7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8" name="Rectangle 214">
            <a:extLst>
              <a:ext uri="{FF2B5EF4-FFF2-40B4-BE49-F238E27FC236}">
                <a16:creationId xmlns:a16="http://schemas.microsoft.com/office/drawing/2014/main" id="{7C83FB59-E55A-A567-713E-9CC7E58F7D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46260" y="4619563"/>
            <a:ext cx="13915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9" name="Freeform 215">
            <a:extLst>
              <a:ext uri="{FF2B5EF4-FFF2-40B4-BE49-F238E27FC236}">
                <a16:creationId xmlns:a16="http://schemas.microsoft.com/office/drawing/2014/main" id="{93FC90C5-5889-D62D-3D75-3A1FD0C6F8E9}"/>
              </a:ext>
            </a:extLst>
          </p:cNvPr>
          <p:cNvSpPr>
            <a:spLocks/>
          </p:cNvSpPr>
          <p:nvPr/>
        </p:nvSpPr>
        <p:spPr bwMode="auto">
          <a:xfrm>
            <a:off x="7346260" y="4619563"/>
            <a:ext cx="13915" cy="55033"/>
          </a:xfrm>
          <a:custGeom>
            <a:avLst/>
            <a:gdLst>
              <a:gd name="T0" fmla="*/ 8 w 8"/>
              <a:gd name="T1" fmla="*/ 26 h 26"/>
              <a:gd name="T2" fmla="*/ 8 w 8"/>
              <a:gd name="T3" fmla="*/ 0 h 26"/>
              <a:gd name="T4" fmla="*/ 0 w 8"/>
              <a:gd name="T5" fmla="*/ 0 h 26"/>
              <a:gd name="T6" fmla="*/ 0 w 8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26">
                <a:moveTo>
                  <a:pt x="8" y="26"/>
                </a:moveTo>
                <a:lnTo>
                  <a:pt x="8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30" name="Rectangle 216">
            <a:extLst>
              <a:ext uri="{FF2B5EF4-FFF2-40B4-BE49-F238E27FC236}">
                <a16:creationId xmlns:a16="http://schemas.microsoft.com/office/drawing/2014/main" id="{2409F483-A2B0-3603-5ABA-964E344FBB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5888" y="4619563"/>
            <a:ext cx="12176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31" name="Freeform 217">
            <a:extLst>
              <a:ext uri="{FF2B5EF4-FFF2-40B4-BE49-F238E27FC236}">
                <a16:creationId xmlns:a16="http://schemas.microsoft.com/office/drawing/2014/main" id="{794520A7-2417-F2D5-5C58-1EA393B20B8C}"/>
              </a:ext>
            </a:extLst>
          </p:cNvPr>
          <p:cNvSpPr>
            <a:spLocks/>
          </p:cNvSpPr>
          <p:nvPr/>
        </p:nvSpPr>
        <p:spPr bwMode="auto">
          <a:xfrm>
            <a:off x="7695888" y="4619563"/>
            <a:ext cx="12176" cy="55033"/>
          </a:xfrm>
          <a:custGeom>
            <a:avLst/>
            <a:gdLst>
              <a:gd name="T0" fmla="*/ 7 w 7"/>
              <a:gd name="T1" fmla="*/ 26 h 26"/>
              <a:gd name="T2" fmla="*/ 7 w 7"/>
              <a:gd name="T3" fmla="*/ 0 h 26"/>
              <a:gd name="T4" fmla="*/ 0 w 7"/>
              <a:gd name="T5" fmla="*/ 0 h 26"/>
              <a:gd name="T6" fmla="*/ 0 w 7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26">
                <a:moveTo>
                  <a:pt x="7" y="26"/>
                </a:moveTo>
                <a:lnTo>
                  <a:pt x="7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32" name="Rectangle 218">
            <a:extLst>
              <a:ext uri="{FF2B5EF4-FFF2-40B4-BE49-F238E27FC236}">
                <a16:creationId xmlns:a16="http://schemas.microsoft.com/office/drawing/2014/main" id="{0622BE6F-DBA4-52B3-BC6B-2E126160A1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40297" y="4619563"/>
            <a:ext cx="13915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33" name="Freeform 219">
            <a:extLst>
              <a:ext uri="{FF2B5EF4-FFF2-40B4-BE49-F238E27FC236}">
                <a16:creationId xmlns:a16="http://schemas.microsoft.com/office/drawing/2014/main" id="{EF7564A9-28E4-33B6-7FD1-D41B1D985350}"/>
              </a:ext>
            </a:extLst>
          </p:cNvPr>
          <p:cNvSpPr>
            <a:spLocks/>
          </p:cNvSpPr>
          <p:nvPr/>
        </p:nvSpPr>
        <p:spPr bwMode="auto">
          <a:xfrm>
            <a:off x="8040297" y="4619563"/>
            <a:ext cx="13915" cy="55033"/>
          </a:xfrm>
          <a:custGeom>
            <a:avLst/>
            <a:gdLst>
              <a:gd name="T0" fmla="*/ 8 w 8"/>
              <a:gd name="T1" fmla="*/ 26 h 26"/>
              <a:gd name="T2" fmla="*/ 8 w 8"/>
              <a:gd name="T3" fmla="*/ 0 h 26"/>
              <a:gd name="T4" fmla="*/ 0 w 8"/>
              <a:gd name="T5" fmla="*/ 0 h 26"/>
              <a:gd name="T6" fmla="*/ 0 w 8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26">
                <a:moveTo>
                  <a:pt x="8" y="26"/>
                </a:moveTo>
                <a:lnTo>
                  <a:pt x="8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34" name="Rectangle 220">
            <a:extLst>
              <a:ext uri="{FF2B5EF4-FFF2-40B4-BE49-F238E27FC236}">
                <a16:creationId xmlns:a16="http://schemas.microsoft.com/office/drawing/2014/main" id="{AD1FB591-84A6-CFD6-F918-F81783A3B9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8185" y="4619563"/>
            <a:ext cx="13915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35" name="Freeform 221">
            <a:extLst>
              <a:ext uri="{FF2B5EF4-FFF2-40B4-BE49-F238E27FC236}">
                <a16:creationId xmlns:a16="http://schemas.microsoft.com/office/drawing/2014/main" id="{AF3DAAAE-6E83-84A3-316D-300DD9F0EE1C}"/>
              </a:ext>
            </a:extLst>
          </p:cNvPr>
          <p:cNvSpPr>
            <a:spLocks/>
          </p:cNvSpPr>
          <p:nvPr/>
        </p:nvSpPr>
        <p:spPr bwMode="auto">
          <a:xfrm>
            <a:off x="8388185" y="4619563"/>
            <a:ext cx="13915" cy="55033"/>
          </a:xfrm>
          <a:custGeom>
            <a:avLst/>
            <a:gdLst>
              <a:gd name="T0" fmla="*/ 8 w 8"/>
              <a:gd name="T1" fmla="*/ 26 h 26"/>
              <a:gd name="T2" fmla="*/ 8 w 8"/>
              <a:gd name="T3" fmla="*/ 0 h 26"/>
              <a:gd name="T4" fmla="*/ 0 w 8"/>
              <a:gd name="T5" fmla="*/ 0 h 26"/>
              <a:gd name="T6" fmla="*/ 0 w 8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26">
                <a:moveTo>
                  <a:pt x="8" y="26"/>
                </a:moveTo>
                <a:lnTo>
                  <a:pt x="8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36" name="Rectangle 222">
            <a:extLst>
              <a:ext uri="{FF2B5EF4-FFF2-40B4-BE49-F238E27FC236}">
                <a16:creationId xmlns:a16="http://schemas.microsoft.com/office/drawing/2014/main" id="{1A21E6B2-BE21-B882-A808-224EC9605D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7813" y="4619563"/>
            <a:ext cx="12176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37" name="Freeform 223">
            <a:extLst>
              <a:ext uri="{FF2B5EF4-FFF2-40B4-BE49-F238E27FC236}">
                <a16:creationId xmlns:a16="http://schemas.microsoft.com/office/drawing/2014/main" id="{98B0DF5D-05B4-C9B0-669E-0192B6939C49}"/>
              </a:ext>
            </a:extLst>
          </p:cNvPr>
          <p:cNvSpPr>
            <a:spLocks/>
          </p:cNvSpPr>
          <p:nvPr/>
        </p:nvSpPr>
        <p:spPr bwMode="auto">
          <a:xfrm>
            <a:off x="8737813" y="4619563"/>
            <a:ext cx="12176" cy="55033"/>
          </a:xfrm>
          <a:custGeom>
            <a:avLst/>
            <a:gdLst>
              <a:gd name="T0" fmla="*/ 7 w 7"/>
              <a:gd name="T1" fmla="*/ 26 h 26"/>
              <a:gd name="T2" fmla="*/ 7 w 7"/>
              <a:gd name="T3" fmla="*/ 0 h 26"/>
              <a:gd name="T4" fmla="*/ 0 w 7"/>
              <a:gd name="T5" fmla="*/ 0 h 26"/>
              <a:gd name="T6" fmla="*/ 0 w 7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26">
                <a:moveTo>
                  <a:pt x="7" y="26"/>
                </a:moveTo>
                <a:lnTo>
                  <a:pt x="7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38" name="Rectangle 224">
            <a:extLst>
              <a:ext uri="{FF2B5EF4-FFF2-40B4-BE49-F238E27FC236}">
                <a16:creationId xmlns:a16="http://schemas.microsoft.com/office/drawing/2014/main" id="{E8D26679-3A33-B64B-E78D-C786B2550D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82223" y="4619563"/>
            <a:ext cx="13915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39" name="Freeform 225">
            <a:extLst>
              <a:ext uri="{FF2B5EF4-FFF2-40B4-BE49-F238E27FC236}">
                <a16:creationId xmlns:a16="http://schemas.microsoft.com/office/drawing/2014/main" id="{4FF339A1-5B4A-BAF8-11EB-D3A04410577C}"/>
              </a:ext>
            </a:extLst>
          </p:cNvPr>
          <p:cNvSpPr>
            <a:spLocks/>
          </p:cNvSpPr>
          <p:nvPr/>
        </p:nvSpPr>
        <p:spPr bwMode="auto">
          <a:xfrm>
            <a:off x="9082223" y="4619563"/>
            <a:ext cx="13915" cy="55033"/>
          </a:xfrm>
          <a:custGeom>
            <a:avLst/>
            <a:gdLst>
              <a:gd name="T0" fmla="*/ 8 w 8"/>
              <a:gd name="T1" fmla="*/ 26 h 26"/>
              <a:gd name="T2" fmla="*/ 8 w 8"/>
              <a:gd name="T3" fmla="*/ 0 h 26"/>
              <a:gd name="T4" fmla="*/ 0 w 8"/>
              <a:gd name="T5" fmla="*/ 0 h 26"/>
              <a:gd name="T6" fmla="*/ 0 w 8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26">
                <a:moveTo>
                  <a:pt x="8" y="26"/>
                </a:moveTo>
                <a:lnTo>
                  <a:pt x="8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0" name="Rectangle 226">
            <a:extLst>
              <a:ext uri="{FF2B5EF4-FFF2-40B4-BE49-F238E27FC236}">
                <a16:creationId xmlns:a16="http://schemas.microsoft.com/office/drawing/2014/main" id="{8A76AAE3-DE73-66E2-EA7B-1704C49A02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30110" y="4619563"/>
            <a:ext cx="13915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1" name="Freeform 227">
            <a:extLst>
              <a:ext uri="{FF2B5EF4-FFF2-40B4-BE49-F238E27FC236}">
                <a16:creationId xmlns:a16="http://schemas.microsoft.com/office/drawing/2014/main" id="{826C9127-DE42-C686-0D41-3CACB1BB0501}"/>
              </a:ext>
            </a:extLst>
          </p:cNvPr>
          <p:cNvSpPr>
            <a:spLocks/>
          </p:cNvSpPr>
          <p:nvPr/>
        </p:nvSpPr>
        <p:spPr bwMode="auto">
          <a:xfrm>
            <a:off x="9430110" y="4619563"/>
            <a:ext cx="13915" cy="55033"/>
          </a:xfrm>
          <a:custGeom>
            <a:avLst/>
            <a:gdLst>
              <a:gd name="T0" fmla="*/ 8 w 8"/>
              <a:gd name="T1" fmla="*/ 26 h 26"/>
              <a:gd name="T2" fmla="*/ 8 w 8"/>
              <a:gd name="T3" fmla="*/ 0 h 26"/>
              <a:gd name="T4" fmla="*/ 0 w 8"/>
              <a:gd name="T5" fmla="*/ 0 h 26"/>
              <a:gd name="T6" fmla="*/ 0 w 8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26">
                <a:moveTo>
                  <a:pt x="8" y="26"/>
                </a:moveTo>
                <a:lnTo>
                  <a:pt x="8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2" name="Rectangle 228">
            <a:extLst>
              <a:ext uri="{FF2B5EF4-FFF2-40B4-BE49-F238E27FC236}">
                <a16:creationId xmlns:a16="http://schemas.microsoft.com/office/drawing/2014/main" id="{F5A37A78-508F-BF35-71C0-4AC12EDB08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9738" y="4619563"/>
            <a:ext cx="12176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3" name="Freeform 229">
            <a:extLst>
              <a:ext uri="{FF2B5EF4-FFF2-40B4-BE49-F238E27FC236}">
                <a16:creationId xmlns:a16="http://schemas.microsoft.com/office/drawing/2014/main" id="{7CFB8868-684E-7851-CAFA-072EFBA36183}"/>
              </a:ext>
            </a:extLst>
          </p:cNvPr>
          <p:cNvSpPr>
            <a:spLocks/>
          </p:cNvSpPr>
          <p:nvPr/>
        </p:nvSpPr>
        <p:spPr bwMode="auto">
          <a:xfrm>
            <a:off x="9779738" y="4619563"/>
            <a:ext cx="12176" cy="55033"/>
          </a:xfrm>
          <a:custGeom>
            <a:avLst/>
            <a:gdLst>
              <a:gd name="T0" fmla="*/ 7 w 7"/>
              <a:gd name="T1" fmla="*/ 26 h 26"/>
              <a:gd name="T2" fmla="*/ 7 w 7"/>
              <a:gd name="T3" fmla="*/ 0 h 26"/>
              <a:gd name="T4" fmla="*/ 0 w 7"/>
              <a:gd name="T5" fmla="*/ 0 h 26"/>
              <a:gd name="T6" fmla="*/ 0 w 7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26">
                <a:moveTo>
                  <a:pt x="7" y="26"/>
                </a:moveTo>
                <a:lnTo>
                  <a:pt x="7" y="0"/>
                </a:lnTo>
                <a:lnTo>
                  <a:pt x="0" y="0"/>
                </a:lnTo>
                <a:lnTo>
                  <a:pt x="0" y="2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4" name="Rectangle 230">
            <a:extLst>
              <a:ext uri="{FF2B5EF4-FFF2-40B4-BE49-F238E27FC236}">
                <a16:creationId xmlns:a16="http://schemas.microsoft.com/office/drawing/2014/main" id="{A4C82741-4697-F766-1CAB-19BC068881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4849" y="4702114"/>
            <a:ext cx="6981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 dirty="0">
                <a:solidFill>
                  <a:srgbClr val="000000"/>
                </a:solidFill>
              </a:rPr>
              <a:t>0</a:t>
            </a:r>
            <a:endParaRPr lang="en-US" altLang="en-US" sz="1200" dirty="0"/>
          </a:p>
        </p:txBody>
      </p:sp>
      <p:sp>
        <p:nvSpPr>
          <p:cNvPr id="45" name="Rectangle 231">
            <a:extLst>
              <a:ext uri="{FF2B5EF4-FFF2-40B4-BE49-F238E27FC236}">
                <a16:creationId xmlns:a16="http://schemas.microsoft.com/office/drawing/2014/main" id="{F9E3F080-B112-843E-C8F8-9A046CADD4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737" y="4702114"/>
            <a:ext cx="6981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>
                <a:solidFill>
                  <a:srgbClr val="000000"/>
                </a:solidFill>
              </a:rPr>
              <a:t>4</a:t>
            </a:r>
            <a:endParaRPr lang="en-US" altLang="en-US" sz="1200"/>
          </a:p>
        </p:txBody>
      </p:sp>
      <p:sp>
        <p:nvSpPr>
          <p:cNvPr id="46" name="Rectangle 232">
            <a:extLst>
              <a:ext uri="{FF2B5EF4-FFF2-40B4-BE49-F238E27FC236}">
                <a16:creationId xmlns:a16="http://schemas.microsoft.com/office/drawing/2014/main" id="{3534BA3F-447C-0A95-1845-6A5E373BFF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2365" y="4702114"/>
            <a:ext cx="6981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>
                <a:solidFill>
                  <a:srgbClr val="000000"/>
                </a:solidFill>
              </a:rPr>
              <a:t>8</a:t>
            </a:r>
            <a:endParaRPr lang="en-US" altLang="en-US" sz="1200"/>
          </a:p>
        </p:txBody>
      </p:sp>
      <p:sp>
        <p:nvSpPr>
          <p:cNvPr id="47" name="Rectangle 233">
            <a:extLst>
              <a:ext uri="{FF2B5EF4-FFF2-40B4-BE49-F238E27FC236}">
                <a16:creationId xmlns:a16="http://schemas.microsoft.com/office/drawing/2014/main" id="{CB3A8F2E-2F0D-8C97-2074-0391ACB18B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9773" y="4702114"/>
            <a:ext cx="13963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>
                <a:solidFill>
                  <a:srgbClr val="000000"/>
                </a:solidFill>
              </a:rPr>
              <a:t>12</a:t>
            </a:r>
            <a:endParaRPr lang="en-US" altLang="en-US" sz="1200"/>
          </a:p>
        </p:txBody>
      </p:sp>
      <p:sp>
        <p:nvSpPr>
          <p:cNvPr id="48" name="Rectangle 234">
            <a:extLst>
              <a:ext uri="{FF2B5EF4-FFF2-40B4-BE49-F238E27FC236}">
                <a16:creationId xmlns:a16="http://schemas.microsoft.com/office/drawing/2014/main" id="{7B943B34-2977-AF52-22C9-1DC46F66F6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9402" y="4702114"/>
            <a:ext cx="13963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>
                <a:solidFill>
                  <a:srgbClr val="000000"/>
                </a:solidFill>
              </a:rPr>
              <a:t>16</a:t>
            </a:r>
            <a:endParaRPr lang="en-US" altLang="en-US" sz="1200"/>
          </a:p>
        </p:txBody>
      </p:sp>
      <p:sp>
        <p:nvSpPr>
          <p:cNvPr id="49" name="Rectangle 235">
            <a:extLst>
              <a:ext uri="{FF2B5EF4-FFF2-40B4-BE49-F238E27FC236}">
                <a16:creationId xmlns:a16="http://schemas.microsoft.com/office/drawing/2014/main" id="{45049E95-4942-C35A-A8BE-933AE7C96C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67289" y="4702114"/>
            <a:ext cx="13963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>
                <a:solidFill>
                  <a:srgbClr val="000000"/>
                </a:solidFill>
              </a:rPr>
              <a:t>20</a:t>
            </a:r>
            <a:endParaRPr lang="en-US" altLang="en-US" sz="1200"/>
          </a:p>
        </p:txBody>
      </p:sp>
      <p:sp>
        <p:nvSpPr>
          <p:cNvPr id="50" name="Rectangle 236">
            <a:extLst>
              <a:ext uri="{FF2B5EF4-FFF2-40B4-BE49-F238E27FC236}">
                <a16:creationId xmlns:a16="http://schemas.microsoft.com/office/drawing/2014/main" id="{CB432F9E-CE9D-1DF7-1840-E09A445435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7959" y="4980711"/>
            <a:ext cx="71435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 b="1" dirty="0">
                <a:solidFill>
                  <a:srgbClr val="000000"/>
                </a:solidFill>
              </a:rPr>
              <a:t>Study Week</a:t>
            </a:r>
            <a:endParaRPr lang="en-US" altLang="en-US" sz="1200" b="1" dirty="0"/>
          </a:p>
        </p:txBody>
      </p:sp>
      <p:sp>
        <p:nvSpPr>
          <p:cNvPr id="53" name="Rectangle 239">
            <a:extLst>
              <a:ext uri="{FF2B5EF4-FFF2-40B4-BE49-F238E27FC236}">
                <a16:creationId xmlns:a16="http://schemas.microsoft.com/office/drawing/2014/main" id="{6FABE5C1-1890-E8AC-DDFA-544B9B2BFA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15177" y="4702114"/>
            <a:ext cx="13963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 dirty="0">
                <a:solidFill>
                  <a:srgbClr val="000000"/>
                </a:solidFill>
              </a:rPr>
              <a:t>24</a:t>
            </a:r>
            <a:endParaRPr lang="en-US" altLang="en-US" sz="1200" dirty="0"/>
          </a:p>
        </p:txBody>
      </p:sp>
      <p:sp>
        <p:nvSpPr>
          <p:cNvPr id="54" name="Rectangle 240">
            <a:extLst>
              <a:ext uri="{FF2B5EF4-FFF2-40B4-BE49-F238E27FC236}">
                <a16:creationId xmlns:a16="http://schemas.microsoft.com/office/drawing/2014/main" id="{1901E43F-F58E-8A74-3FA5-BB05F26C07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61326" y="4702114"/>
            <a:ext cx="13963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>
                <a:solidFill>
                  <a:srgbClr val="000000"/>
                </a:solidFill>
              </a:rPr>
              <a:t>28</a:t>
            </a:r>
            <a:endParaRPr lang="en-US" altLang="en-US" sz="1200"/>
          </a:p>
        </p:txBody>
      </p:sp>
      <p:sp>
        <p:nvSpPr>
          <p:cNvPr id="55" name="Rectangle 241">
            <a:extLst>
              <a:ext uri="{FF2B5EF4-FFF2-40B4-BE49-F238E27FC236}">
                <a16:creationId xmlns:a16="http://schemas.microsoft.com/office/drawing/2014/main" id="{DD8E0360-4BCB-9536-DAD6-B7713D0E02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9214" y="4702114"/>
            <a:ext cx="13963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>
                <a:solidFill>
                  <a:srgbClr val="000000"/>
                </a:solidFill>
              </a:rPr>
              <a:t>32</a:t>
            </a:r>
            <a:endParaRPr lang="en-US" altLang="en-US" sz="1200"/>
          </a:p>
        </p:txBody>
      </p:sp>
      <p:sp>
        <p:nvSpPr>
          <p:cNvPr id="62" name="Rectangle 248">
            <a:extLst>
              <a:ext uri="{FF2B5EF4-FFF2-40B4-BE49-F238E27FC236}">
                <a16:creationId xmlns:a16="http://schemas.microsoft.com/office/drawing/2014/main" id="{315A8B1D-4E6A-E68F-2D0A-E8D603C2A8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4442" y="4496796"/>
            <a:ext cx="48705" cy="169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63" name="Freeform 249">
            <a:extLst>
              <a:ext uri="{FF2B5EF4-FFF2-40B4-BE49-F238E27FC236}">
                <a16:creationId xmlns:a16="http://schemas.microsoft.com/office/drawing/2014/main" id="{1962D730-FCF6-09C2-98CE-134E6F3DEF3B}"/>
              </a:ext>
            </a:extLst>
          </p:cNvPr>
          <p:cNvSpPr>
            <a:spLocks/>
          </p:cNvSpPr>
          <p:nvPr/>
        </p:nvSpPr>
        <p:spPr bwMode="auto">
          <a:xfrm>
            <a:off x="6904442" y="4496796"/>
            <a:ext cx="48705" cy="16933"/>
          </a:xfrm>
          <a:custGeom>
            <a:avLst/>
            <a:gdLst>
              <a:gd name="T0" fmla="*/ 0 w 28"/>
              <a:gd name="T1" fmla="*/ 8 h 8"/>
              <a:gd name="T2" fmla="*/ 28 w 28"/>
              <a:gd name="T3" fmla="*/ 8 h 8"/>
              <a:gd name="T4" fmla="*/ 28 w 28"/>
              <a:gd name="T5" fmla="*/ 0 h 8"/>
              <a:gd name="T6" fmla="*/ 0 w 28"/>
              <a:gd name="T7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" h="8">
                <a:moveTo>
                  <a:pt x="0" y="8"/>
                </a:moveTo>
                <a:lnTo>
                  <a:pt x="28" y="8"/>
                </a:lnTo>
                <a:lnTo>
                  <a:pt x="28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64" name="Rectangle 250">
            <a:extLst>
              <a:ext uri="{FF2B5EF4-FFF2-40B4-BE49-F238E27FC236}">
                <a16:creationId xmlns:a16="http://schemas.microsoft.com/office/drawing/2014/main" id="{6A24A8F4-0818-F417-BF98-73E1EFAAA3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4442" y="3961280"/>
            <a:ext cx="48705" cy="169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65" name="Freeform 251">
            <a:extLst>
              <a:ext uri="{FF2B5EF4-FFF2-40B4-BE49-F238E27FC236}">
                <a16:creationId xmlns:a16="http://schemas.microsoft.com/office/drawing/2014/main" id="{F97AF3D1-4260-85D2-EDB7-7073B9470584}"/>
              </a:ext>
            </a:extLst>
          </p:cNvPr>
          <p:cNvSpPr>
            <a:spLocks/>
          </p:cNvSpPr>
          <p:nvPr/>
        </p:nvSpPr>
        <p:spPr bwMode="auto">
          <a:xfrm>
            <a:off x="6904442" y="3961280"/>
            <a:ext cx="48705" cy="16933"/>
          </a:xfrm>
          <a:custGeom>
            <a:avLst/>
            <a:gdLst>
              <a:gd name="T0" fmla="*/ 0 w 28"/>
              <a:gd name="T1" fmla="*/ 8 h 8"/>
              <a:gd name="T2" fmla="*/ 28 w 28"/>
              <a:gd name="T3" fmla="*/ 8 h 8"/>
              <a:gd name="T4" fmla="*/ 28 w 28"/>
              <a:gd name="T5" fmla="*/ 0 h 8"/>
              <a:gd name="T6" fmla="*/ 0 w 28"/>
              <a:gd name="T7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" h="8">
                <a:moveTo>
                  <a:pt x="0" y="8"/>
                </a:moveTo>
                <a:lnTo>
                  <a:pt x="28" y="8"/>
                </a:lnTo>
                <a:lnTo>
                  <a:pt x="28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66" name="Rectangle 252">
            <a:extLst>
              <a:ext uri="{FF2B5EF4-FFF2-40B4-BE49-F238E27FC236}">
                <a16:creationId xmlns:a16="http://schemas.microsoft.com/office/drawing/2014/main" id="{135C0FA2-46AF-8018-217F-6729CC3067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4442" y="3432113"/>
            <a:ext cx="48705" cy="14816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67" name="Freeform 253">
            <a:extLst>
              <a:ext uri="{FF2B5EF4-FFF2-40B4-BE49-F238E27FC236}">
                <a16:creationId xmlns:a16="http://schemas.microsoft.com/office/drawing/2014/main" id="{F85BD074-9140-4F16-EB12-54D5CFD0E6A6}"/>
              </a:ext>
            </a:extLst>
          </p:cNvPr>
          <p:cNvSpPr>
            <a:spLocks/>
          </p:cNvSpPr>
          <p:nvPr/>
        </p:nvSpPr>
        <p:spPr bwMode="auto">
          <a:xfrm>
            <a:off x="6904442" y="3432113"/>
            <a:ext cx="48705" cy="14816"/>
          </a:xfrm>
          <a:custGeom>
            <a:avLst/>
            <a:gdLst>
              <a:gd name="T0" fmla="*/ 0 w 28"/>
              <a:gd name="T1" fmla="*/ 7 h 7"/>
              <a:gd name="T2" fmla="*/ 28 w 28"/>
              <a:gd name="T3" fmla="*/ 7 h 7"/>
              <a:gd name="T4" fmla="*/ 28 w 28"/>
              <a:gd name="T5" fmla="*/ 0 h 7"/>
              <a:gd name="T6" fmla="*/ 0 w 28"/>
              <a:gd name="T7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" h="7">
                <a:moveTo>
                  <a:pt x="0" y="7"/>
                </a:moveTo>
                <a:lnTo>
                  <a:pt x="28" y="7"/>
                </a:lnTo>
                <a:lnTo>
                  <a:pt x="28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68" name="Rectangle 254">
            <a:extLst>
              <a:ext uri="{FF2B5EF4-FFF2-40B4-BE49-F238E27FC236}">
                <a16:creationId xmlns:a16="http://schemas.microsoft.com/office/drawing/2014/main" id="{1BC9A428-6B8D-4C1F-A7A9-CF7A59591E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4442" y="2900829"/>
            <a:ext cx="48705" cy="14816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69" name="Freeform 255">
            <a:extLst>
              <a:ext uri="{FF2B5EF4-FFF2-40B4-BE49-F238E27FC236}">
                <a16:creationId xmlns:a16="http://schemas.microsoft.com/office/drawing/2014/main" id="{B1A7FB3A-C808-C73B-D03D-B80868A82C9E}"/>
              </a:ext>
            </a:extLst>
          </p:cNvPr>
          <p:cNvSpPr>
            <a:spLocks/>
          </p:cNvSpPr>
          <p:nvPr/>
        </p:nvSpPr>
        <p:spPr bwMode="auto">
          <a:xfrm>
            <a:off x="6904442" y="2900829"/>
            <a:ext cx="48705" cy="14816"/>
          </a:xfrm>
          <a:custGeom>
            <a:avLst/>
            <a:gdLst>
              <a:gd name="T0" fmla="*/ 0 w 28"/>
              <a:gd name="T1" fmla="*/ 7 h 7"/>
              <a:gd name="T2" fmla="*/ 28 w 28"/>
              <a:gd name="T3" fmla="*/ 7 h 7"/>
              <a:gd name="T4" fmla="*/ 28 w 28"/>
              <a:gd name="T5" fmla="*/ 0 h 7"/>
              <a:gd name="T6" fmla="*/ 0 w 28"/>
              <a:gd name="T7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" h="7">
                <a:moveTo>
                  <a:pt x="0" y="7"/>
                </a:moveTo>
                <a:lnTo>
                  <a:pt x="28" y="7"/>
                </a:lnTo>
                <a:lnTo>
                  <a:pt x="28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70" name="Rectangle 256">
            <a:extLst>
              <a:ext uri="{FF2B5EF4-FFF2-40B4-BE49-F238E27FC236}">
                <a16:creationId xmlns:a16="http://schemas.microsoft.com/office/drawing/2014/main" id="{87178D55-4AA6-4213-50EB-D408184C4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4442" y="2365313"/>
            <a:ext cx="48705" cy="14816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71" name="Freeform 257">
            <a:extLst>
              <a:ext uri="{FF2B5EF4-FFF2-40B4-BE49-F238E27FC236}">
                <a16:creationId xmlns:a16="http://schemas.microsoft.com/office/drawing/2014/main" id="{85714163-7BD5-7B34-FB83-2A7CC4CDF3A3}"/>
              </a:ext>
            </a:extLst>
          </p:cNvPr>
          <p:cNvSpPr>
            <a:spLocks/>
          </p:cNvSpPr>
          <p:nvPr/>
        </p:nvSpPr>
        <p:spPr bwMode="auto">
          <a:xfrm>
            <a:off x="6904442" y="2365313"/>
            <a:ext cx="48705" cy="14816"/>
          </a:xfrm>
          <a:custGeom>
            <a:avLst/>
            <a:gdLst>
              <a:gd name="T0" fmla="*/ 0 w 28"/>
              <a:gd name="T1" fmla="*/ 7 h 7"/>
              <a:gd name="T2" fmla="*/ 28 w 28"/>
              <a:gd name="T3" fmla="*/ 7 h 7"/>
              <a:gd name="T4" fmla="*/ 28 w 28"/>
              <a:gd name="T5" fmla="*/ 0 h 7"/>
              <a:gd name="T6" fmla="*/ 0 w 28"/>
              <a:gd name="T7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" h="7">
                <a:moveTo>
                  <a:pt x="0" y="7"/>
                </a:moveTo>
                <a:lnTo>
                  <a:pt x="28" y="7"/>
                </a:lnTo>
                <a:lnTo>
                  <a:pt x="28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73" name="Rectangle 259">
            <a:extLst>
              <a:ext uri="{FF2B5EF4-FFF2-40B4-BE49-F238E27FC236}">
                <a16:creationId xmlns:a16="http://schemas.microsoft.com/office/drawing/2014/main" id="{542553D7-A64D-527B-234C-18008125D5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5563" y="2820396"/>
            <a:ext cx="25487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>
                <a:solidFill>
                  <a:srgbClr val="000000"/>
                </a:solidFill>
              </a:rPr>
              <a:t>100</a:t>
            </a:r>
            <a:endParaRPr lang="en-US" altLang="en-US" sz="1200"/>
          </a:p>
        </p:txBody>
      </p:sp>
      <p:sp>
        <p:nvSpPr>
          <p:cNvPr id="74" name="Rectangle 260">
            <a:extLst>
              <a:ext uri="{FF2B5EF4-FFF2-40B4-BE49-F238E27FC236}">
                <a16:creationId xmlns:a16="http://schemas.microsoft.com/office/drawing/2014/main" id="{77AEDE50-8C90-90F0-80A3-978FF886FB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0522" y="3351680"/>
            <a:ext cx="16991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>
                <a:solidFill>
                  <a:srgbClr val="000000"/>
                </a:solidFill>
              </a:rPr>
              <a:t>10</a:t>
            </a:r>
            <a:endParaRPr lang="en-US" altLang="en-US" sz="1200"/>
          </a:p>
        </p:txBody>
      </p:sp>
      <p:sp>
        <p:nvSpPr>
          <p:cNvPr id="75" name="Rectangle 261">
            <a:extLst>
              <a:ext uri="{FF2B5EF4-FFF2-40B4-BE49-F238E27FC236}">
                <a16:creationId xmlns:a16="http://schemas.microsoft.com/office/drawing/2014/main" id="{FAFD7906-23E2-8CEA-68D5-CE2059B336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5481" y="3882963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>
                <a:solidFill>
                  <a:srgbClr val="000000"/>
                </a:solidFill>
              </a:rPr>
              <a:t>1</a:t>
            </a:r>
            <a:endParaRPr lang="en-US" altLang="en-US" sz="1200"/>
          </a:p>
        </p:txBody>
      </p:sp>
      <p:sp>
        <p:nvSpPr>
          <p:cNvPr id="76" name="Rectangle 262">
            <a:extLst>
              <a:ext uri="{FF2B5EF4-FFF2-40B4-BE49-F238E27FC236}">
                <a16:creationId xmlns:a16="http://schemas.microsoft.com/office/drawing/2014/main" id="{7234A642-9ED1-CB59-2E49-5020B45A37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47241" y="4414247"/>
            <a:ext cx="21320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>
                <a:solidFill>
                  <a:srgbClr val="000000"/>
                </a:solidFill>
              </a:rPr>
              <a:t>0.1</a:t>
            </a:r>
            <a:endParaRPr lang="en-US" altLang="en-US" sz="1200"/>
          </a:p>
        </p:txBody>
      </p:sp>
      <p:sp>
        <p:nvSpPr>
          <p:cNvPr id="83" name="Rectangle 269">
            <a:extLst>
              <a:ext uri="{FF2B5EF4-FFF2-40B4-BE49-F238E27FC236}">
                <a16:creationId xmlns:a16="http://schemas.microsoft.com/office/drawing/2014/main" id="{655B2B8B-2249-9806-2DB5-4074F57C64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7935" y="4308411"/>
            <a:ext cx="2015500" cy="16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/>
            <a:r>
              <a:rPr lang="en-US" altLang="en-US" sz="1067" dirty="0">
                <a:solidFill>
                  <a:srgbClr val="FF0000"/>
                </a:solidFill>
              </a:rPr>
              <a:t>100× median baseline IC</a:t>
            </a:r>
            <a:r>
              <a:rPr lang="en-US" altLang="en-US" sz="1067" baseline="-25000" dirty="0">
                <a:solidFill>
                  <a:srgbClr val="FF0000"/>
                </a:solidFill>
              </a:rPr>
              <a:t>50</a:t>
            </a:r>
            <a:r>
              <a:rPr lang="en-US" altLang="en-US" sz="1067" dirty="0">
                <a:solidFill>
                  <a:srgbClr val="FF0000"/>
                </a:solidFill>
              </a:rPr>
              <a:t> = 0.32 ug/mL</a:t>
            </a:r>
            <a:endParaRPr lang="en-US" altLang="en-US" sz="2400" dirty="0"/>
          </a:p>
        </p:txBody>
      </p:sp>
      <p:sp>
        <p:nvSpPr>
          <p:cNvPr id="80" name="Rectangle 266">
            <a:extLst>
              <a:ext uri="{FF2B5EF4-FFF2-40B4-BE49-F238E27FC236}">
                <a16:creationId xmlns:a16="http://schemas.microsoft.com/office/drawing/2014/main" id="{EB63FB68-9626-1B1A-1E25-BEE8E6621C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6644" y="1992691"/>
            <a:ext cx="1305486" cy="228600"/>
          </a:xfrm>
          <a:prstGeom prst="rect">
            <a:avLst/>
          </a:prstGeom>
          <a:solidFill>
            <a:srgbClr val="55A2A8"/>
          </a:solidFill>
          <a:ln>
            <a:noFill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000" b="1" dirty="0"/>
              <a:t>Period 2</a:t>
            </a:r>
          </a:p>
        </p:txBody>
      </p:sp>
      <p:sp>
        <p:nvSpPr>
          <p:cNvPr id="81" name="Rectangle 267">
            <a:extLst>
              <a:ext uri="{FF2B5EF4-FFF2-40B4-BE49-F238E27FC236}">
                <a16:creationId xmlns:a16="http://schemas.microsoft.com/office/drawing/2014/main" id="{E5BACB98-8396-2318-9680-22EB7B3E91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40207" y="1992691"/>
            <a:ext cx="1732532" cy="228600"/>
          </a:xfrm>
          <a:prstGeom prst="rect">
            <a:avLst/>
          </a:prstGeom>
          <a:solidFill>
            <a:srgbClr val="55A2A8"/>
          </a:solidFill>
          <a:ln>
            <a:noFill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000" b="1" dirty="0"/>
              <a:t>Period 3</a:t>
            </a:r>
          </a:p>
        </p:txBody>
      </p:sp>
      <p:cxnSp>
        <p:nvCxnSpPr>
          <p:cNvPr id="1182" name="Straight Connector 1181">
            <a:extLst>
              <a:ext uri="{FF2B5EF4-FFF2-40B4-BE49-F238E27FC236}">
                <a16:creationId xmlns:a16="http://schemas.microsoft.com/office/drawing/2014/main" id="{F5D7A157-E1F3-879F-BCDF-58A89CDFB6EB}"/>
              </a:ext>
            </a:extLst>
          </p:cNvPr>
          <p:cNvCxnSpPr>
            <a:cxnSpLocks/>
          </p:cNvCxnSpPr>
          <p:nvPr/>
        </p:nvCxnSpPr>
        <p:spPr>
          <a:xfrm>
            <a:off x="6951147" y="4235386"/>
            <a:ext cx="3520440" cy="0"/>
          </a:xfrm>
          <a:prstGeom prst="line">
            <a:avLst/>
          </a:prstGeom>
          <a:ln w="19050">
            <a:solidFill>
              <a:srgbClr val="FF999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7" name="Straight Connector 1186">
            <a:extLst>
              <a:ext uri="{FF2B5EF4-FFF2-40B4-BE49-F238E27FC236}">
                <a16:creationId xmlns:a16="http://schemas.microsoft.com/office/drawing/2014/main" id="{838E768E-8F7A-0CF8-0EA3-CA1B5C7C26C2}"/>
              </a:ext>
            </a:extLst>
          </p:cNvPr>
          <p:cNvCxnSpPr>
            <a:cxnSpLocks/>
          </p:cNvCxnSpPr>
          <p:nvPr/>
        </p:nvCxnSpPr>
        <p:spPr>
          <a:xfrm>
            <a:off x="8739552" y="1996188"/>
            <a:ext cx="0" cy="2615337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F606A0E4-3CDD-FBEA-2FE8-01F3F40D1A0D}"/>
              </a:ext>
            </a:extLst>
          </p:cNvPr>
          <p:cNvSpPr/>
          <p:nvPr/>
        </p:nvSpPr>
        <p:spPr>
          <a:xfrm>
            <a:off x="7443719" y="2351220"/>
            <a:ext cx="3014731" cy="281412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FF1F93DC-77D4-3A3D-4853-1C056BB5A1CF}"/>
              </a:ext>
            </a:extLst>
          </p:cNvPr>
          <p:cNvSpPr txBox="1"/>
          <p:nvPr/>
        </p:nvSpPr>
        <p:spPr>
          <a:xfrm>
            <a:off x="8667881" y="2357575"/>
            <a:ext cx="6812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/>
              <a:t>ATI</a:t>
            </a:r>
          </a:p>
        </p:txBody>
      </p:sp>
      <p:cxnSp>
        <p:nvCxnSpPr>
          <p:cNvPr id="148" name="Straight Arrow Connector 147">
            <a:extLst>
              <a:ext uri="{FF2B5EF4-FFF2-40B4-BE49-F238E27FC236}">
                <a16:creationId xmlns:a16="http://schemas.microsoft.com/office/drawing/2014/main" id="{222466C3-A37C-D3BD-E9B3-812DA7E368E3}"/>
              </a:ext>
            </a:extLst>
          </p:cNvPr>
          <p:cNvCxnSpPr/>
          <p:nvPr/>
        </p:nvCxnSpPr>
        <p:spPr>
          <a:xfrm>
            <a:off x="7435061" y="4619563"/>
            <a:ext cx="0" cy="373778"/>
          </a:xfrm>
          <a:prstGeom prst="straightConnector1">
            <a:avLst/>
          </a:prstGeom>
          <a:ln w="127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4" name="Rectangle 226">
            <a:extLst>
              <a:ext uri="{FF2B5EF4-FFF2-40B4-BE49-F238E27FC236}">
                <a16:creationId xmlns:a16="http://schemas.microsoft.com/office/drawing/2014/main" id="{EEFD2CB8-D177-678C-1464-14A6B64B4C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23062" y="4621948"/>
            <a:ext cx="13915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56" name="Rectangle 228">
            <a:extLst>
              <a:ext uri="{FF2B5EF4-FFF2-40B4-BE49-F238E27FC236}">
                <a16:creationId xmlns:a16="http://schemas.microsoft.com/office/drawing/2014/main" id="{4B3F9093-CFF2-16A3-74B9-EEE097BB3B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72690" y="4621948"/>
            <a:ext cx="12176" cy="55033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162" name="Rectangle 240">
            <a:extLst>
              <a:ext uri="{FF2B5EF4-FFF2-40B4-BE49-F238E27FC236}">
                <a16:creationId xmlns:a16="http://schemas.microsoft.com/office/drawing/2014/main" id="{B1CE4D2C-7374-A348-1C2F-0CBC2DF3B7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39137" y="4704499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 dirty="0">
                <a:solidFill>
                  <a:srgbClr val="000000"/>
                </a:solidFill>
              </a:rPr>
              <a:t>36</a:t>
            </a:r>
            <a:endParaRPr lang="en-US" altLang="en-US" sz="1200" dirty="0"/>
          </a:p>
        </p:txBody>
      </p:sp>
      <p:sp>
        <p:nvSpPr>
          <p:cNvPr id="1164" name="Rectangle 241">
            <a:extLst>
              <a:ext uri="{FF2B5EF4-FFF2-40B4-BE49-F238E27FC236}">
                <a16:creationId xmlns:a16="http://schemas.microsoft.com/office/drawing/2014/main" id="{A5E737BB-7D4A-7359-42F9-96513CD358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87025" y="4704499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 dirty="0">
                <a:solidFill>
                  <a:srgbClr val="000000"/>
                </a:solidFill>
              </a:rPr>
              <a:t>40</a:t>
            </a:r>
            <a:endParaRPr lang="en-US" altLang="en-US" sz="1200" dirty="0"/>
          </a:p>
        </p:txBody>
      </p:sp>
      <p:sp>
        <p:nvSpPr>
          <p:cNvPr id="1168" name="Rectangle 207">
            <a:extLst>
              <a:ext uri="{FF2B5EF4-FFF2-40B4-BE49-F238E27FC236}">
                <a16:creationId xmlns:a16="http://schemas.microsoft.com/office/drawing/2014/main" id="{FACC827A-6E78-0ACD-2C0A-50B14DDCD6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0394" y="1992691"/>
            <a:ext cx="478631" cy="225094"/>
          </a:xfrm>
          <a:prstGeom prst="rect">
            <a:avLst/>
          </a:prstGeom>
          <a:solidFill>
            <a:srgbClr val="D1E6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900" b="1" dirty="0">
                <a:solidFill>
                  <a:srgbClr val="000000"/>
                </a:solidFill>
              </a:rPr>
              <a:t>Period 1</a:t>
            </a:r>
            <a:endParaRPr lang="en-US" altLang="en-US" sz="2400" b="1" dirty="0"/>
          </a:p>
        </p:txBody>
      </p:sp>
      <p:cxnSp>
        <p:nvCxnSpPr>
          <p:cNvPr id="1186" name="Straight Connector 1185">
            <a:extLst>
              <a:ext uri="{FF2B5EF4-FFF2-40B4-BE49-F238E27FC236}">
                <a16:creationId xmlns:a16="http://schemas.microsoft.com/office/drawing/2014/main" id="{AD5428E8-79F3-3AAB-B322-2B5337343426}"/>
              </a:ext>
            </a:extLst>
          </p:cNvPr>
          <p:cNvCxnSpPr>
            <a:cxnSpLocks/>
          </p:cNvCxnSpPr>
          <p:nvPr/>
        </p:nvCxnSpPr>
        <p:spPr>
          <a:xfrm>
            <a:off x="7434972" y="1996188"/>
            <a:ext cx="0" cy="2615337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9" name="TextBox 1168">
            <a:extLst>
              <a:ext uri="{FF2B5EF4-FFF2-40B4-BE49-F238E27FC236}">
                <a16:creationId xmlns:a16="http://schemas.microsoft.com/office/drawing/2014/main" id="{01DAA989-BD01-1E71-807B-B78946AF4B9A}"/>
              </a:ext>
            </a:extLst>
          </p:cNvPr>
          <p:cNvSpPr txBox="1"/>
          <p:nvPr/>
        </p:nvSpPr>
        <p:spPr>
          <a:xfrm>
            <a:off x="6983507" y="4942239"/>
            <a:ext cx="922867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1100" b="1" dirty="0"/>
              <a:t>ART stopped</a:t>
            </a:r>
          </a:p>
        </p:txBody>
      </p:sp>
    </p:spTree>
    <p:extLst>
      <p:ext uri="{BB962C8B-B14F-4D97-AF65-F5344CB8AC3E}">
        <p14:creationId xmlns:p14="http://schemas.microsoft.com/office/powerpoint/2010/main" val="6172343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3323D6-9601-005B-1CE0-70CF33F3E7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A5EFB4-1548-048C-4048-B8FCECA0F052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noFill/>
        </p:spPr>
        <p:txBody>
          <a:bodyPr vert="horz" lIns="0" tIns="0" rIns="0" bIns="0" rtlCol="0" anchor="ctr"/>
          <a:lstStyle/>
          <a:p>
            <a:fld id="{4BEAA09E-D67E-864E-8466-C38E88600C4F}" type="slidenum">
              <a:rPr lang="en-US"/>
              <a:pPr/>
              <a:t>13</a:t>
            </a:fld>
            <a:endParaRPr lang="en-US" dirty="0"/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FB333FB0-824F-2ED5-FB59-77D2D68E45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3200" dirty="0">
                <a:latin typeface="Arial" panose="020B0604020202020204" pitchFamily="34" charset="0"/>
              </a:rPr>
              <a:t>Three Distinct ATI Outcome Patterns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B98FE918-A2F0-2852-7A6C-6B2E43155408}"/>
              </a:ext>
            </a:extLst>
          </p:cNvPr>
          <p:cNvSpPr txBox="1">
            <a:spLocks/>
          </p:cNvSpPr>
          <p:nvPr/>
        </p:nvSpPr>
        <p:spPr>
          <a:xfrm>
            <a:off x="399605" y="6117516"/>
            <a:ext cx="11201200" cy="511102"/>
          </a:xfrm>
          <a:prstGeom prst="rect">
            <a:avLst/>
          </a:prstGeom>
        </p:spPr>
        <p:txBody>
          <a:bodyPr anchor="b" anchorCtr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lnSpc>
                <a:spcPct val="85000"/>
              </a:lnSpc>
            </a:pPr>
            <a:endParaRPr lang="en-US" sz="1067" b="1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defTabSz="914377">
              <a:lnSpc>
                <a:spcPct val="85000"/>
              </a:lnSpc>
            </a:pPr>
            <a:r>
              <a:rPr lang="en-US" sz="1067" b="1" baseline="300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a</a:t>
            </a:r>
            <a:r>
              <a:rPr lang="en-US" sz="1067" dirty="0" err="1">
                <a:solidFill>
                  <a:srgbClr val="000000"/>
                </a:solidFill>
                <a:latin typeface="Arial Narrow" panose="020B0606020202030204" pitchFamily="34" charset="0"/>
              </a:rPr>
              <a:t>bNAb</a:t>
            </a:r>
            <a:r>
              <a:rPr lang="en-US" sz="1067" dirty="0">
                <a:solidFill>
                  <a:srgbClr val="000000"/>
                </a:solidFill>
                <a:latin typeface="Arial Narrow" panose="020B0606020202030204" pitchFamily="34" charset="0"/>
              </a:rPr>
              <a:t> concentrations remained above therapeutic levels for all participants throughout Period 2.</a:t>
            </a:r>
          </a:p>
          <a:p>
            <a:pPr defTabSz="914377">
              <a:lnSpc>
                <a:spcPct val="85000"/>
              </a:lnSpc>
            </a:pPr>
            <a:r>
              <a:rPr lang="en-US" sz="1067" b="1" dirty="0">
                <a:solidFill>
                  <a:srgbClr val="000000"/>
                </a:solidFill>
                <a:latin typeface="Arial Narrow" panose="020B0606020202030204" pitchFamily="34" charset="0"/>
              </a:rPr>
              <a:t>ART</a:t>
            </a:r>
            <a:r>
              <a:rPr lang="en-US" sz="1067" dirty="0">
                <a:solidFill>
                  <a:srgbClr val="000000"/>
                </a:solidFill>
                <a:latin typeface="Arial Narrow" panose="020B0606020202030204" pitchFamily="34" charset="0"/>
              </a:rPr>
              <a:t>, antiretroviral therapy; </a:t>
            </a:r>
            <a:r>
              <a:rPr lang="en-US" sz="1067" b="1" dirty="0">
                <a:solidFill>
                  <a:srgbClr val="000000"/>
                </a:solidFill>
                <a:latin typeface="Arial Narrow" panose="020B0606020202030204" pitchFamily="34" charset="0"/>
              </a:rPr>
              <a:t>ATI</a:t>
            </a:r>
            <a:r>
              <a:rPr lang="en-US" sz="1067" dirty="0">
                <a:solidFill>
                  <a:srgbClr val="000000"/>
                </a:solidFill>
                <a:latin typeface="Arial Narrow" panose="020B0606020202030204" pitchFamily="34" charset="0"/>
              </a:rPr>
              <a:t>, analytical treatment interruption; </a:t>
            </a:r>
            <a:r>
              <a:rPr lang="en-US" sz="1000" b="1" dirty="0"/>
              <a:t>VES</a:t>
            </a:r>
            <a:r>
              <a:rPr lang="en-US" sz="1000" dirty="0"/>
              <a:t>, </a:t>
            </a:r>
            <a:r>
              <a:rPr lang="en-US" sz="1000" dirty="0" err="1"/>
              <a:t>vesatolimod</a:t>
            </a:r>
            <a:r>
              <a:rPr lang="en-US" sz="1000" dirty="0"/>
              <a:t>.</a:t>
            </a:r>
            <a:endParaRPr lang="en-US" sz="1067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AutoShape 3">
            <a:extLst>
              <a:ext uri="{FF2B5EF4-FFF2-40B4-BE49-F238E27FC236}">
                <a16:creationId xmlns:a16="http://schemas.microsoft.com/office/drawing/2014/main" id="{C159278B-179F-934C-92C0-0589959FEFCC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66752" y="912284"/>
            <a:ext cx="6828367" cy="521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grpSp>
        <p:nvGrpSpPr>
          <p:cNvPr id="13" name="Group 205">
            <a:extLst>
              <a:ext uri="{FF2B5EF4-FFF2-40B4-BE49-F238E27FC236}">
                <a16:creationId xmlns:a16="http://schemas.microsoft.com/office/drawing/2014/main" id="{675F6399-A667-DF3D-6ED9-377A4F064492}"/>
              </a:ext>
            </a:extLst>
          </p:cNvPr>
          <p:cNvGrpSpPr>
            <a:grpSpLocks/>
          </p:cNvGrpSpPr>
          <p:nvPr/>
        </p:nvGrpSpPr>
        <p:grpSpPr bwMode="auto">
          <a:xfrm>
            <a:off x="1515535" y="1780117"/>
            <a:ext cx="5971117" cy="3992033"/>
            <a:chOff x="716" y="841"/>
            <a:chExt cx="2821" cy="1886"/>
          </a:xfrm>
        </p:grpSpPr>
        <p:sp>
          <p:nvSpPr>
            <p:cNvPr id="638" name="Line 5">
              <a:extLst>
                <a:ext uri="{FF2B5EF4-FFF2-40B4-BE49-F238E27FC236}">
                  <a16:creationId xmlns:a16="http://schemas.microsoft.com/office/drawing/2014/main" id="{DA1419FB-8F96-3A9A-A4E0-0DCE6D45F6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902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9" name="Line 6">
              <a:extLst>
                <a:ext uri="{FF2B5EF4-FFF2-40B4-BE49-F238E27FC236}">
                  <a16:creationId xmlns:a16="http://schemas.microsoft.com/office/drawing/2014/main" id="{E55C7A14-A3CF-0835-4B36-7C3617AF3B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9" y="841"/>
              <a:ext cx="0" cy="558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0" name="Line 7">
              <a:extLst>
                <a:ext uri="{FF2B5EF4-FFF2-40B4-BE49-F238E27FC236}">
                  <a16:creationId xmlns:a16="http://schemas.microsoft.com/office/drawing/2014/main" id="{12438F5C-FD13-2A33-CFB7-FDEC8E98B2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2" y="841"/>
              <a:ext cx="0" cy="558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1" name="Line 8">
              <a:extLst>
                <a:ext uri="{FF2B5EF4-FFF2-40B4-BE49-F238E27FC236}">
                  <a16:creationId xmlns:a16="http://schemas.microsoft.com/office/drawing/2014/main" id="{5E6444BD-0407-5F18-39BC-AF05FFE935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56" y="841"/>
              <a:ext cx="0" cy="558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2" name="Line 9">
              <a:extLst>
                <a:ext uri="{FF2B5EF4-FFF2-40B4-BE49-F238E27FC236}">
                  <a16:creationId xmlns:a16="http://schemas.microsoft.com/office/drawing/2014/main" id="{E4D8047C-ADD3-B7D7-8EA9-4BB1B8375B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28" y="841"/>
              <a:ext cx="0" cy="558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3" name="Line 10">
              <a:extLst>
                <a:ext uri="{FF2B5EF4-FFF2-40B4-BE49-F238E27FC236}">
                  <a16:creationId xmlns:a16="http://schemas.microsoft.com/office/drawing/2014/main" id="{134BE421-1526-C93C-90AD-125309B889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01" y="841"/>
              <a:ext cx="0" cy="558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4" name="Line 11">
              <a:extLst>
                <a:ext uri="{FF2B5EF4-FFF2-40B4-BE49-F238E27FC236}">
                  <a16:creationId xmlns:a16="http://schemas.microsoft.com/office/drawing/2014/main" id="{470006D7-D272-319E-0E53-667773122D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5" y="841"/>
              <a:ext cx="0" cy="558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5" name="Line 12">
              <a:extLst>
                <a:ext uri="{FF2B5EF4-FFF2-40B4-BE49-F238E27FC236}">
                  <a16:creationId xmlns:a16="http://schemas.microsoft.com/office/drawing/2014/main" id="{5E7DD7B1-8597-171A-DE43-DCA61C785A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985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6" name="Line 13">
              <a:extLst>
                <a:ext uri="{FF2B5EF4-FFF2-40B4-BE49-F238E27FC236}">
                  <a16:creationId xmlns:a16="http://schemas.microsoft.com/office/drawing/2014/main" id="{AAAC138B-1435-055C-F662-65387230C3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069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7" name="Line 14">
              <a:extLst>
                <a:ext uri="{FF2B5EF4-FFF2-40B4-BE49-F238E27FC236}">
                  <a16:creationId xmlns:a16="http://schemas.microsoft.com/office/drawing/2014/main" id="{30EDBB5C-00EF-9891-6DE6-F28B33F399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152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8" name="Line 15">
              <a:extLst>
                <a:ext uri="{FF2B5EF4-FFF2-40B4-BE49-F238E27FC236}">
                  <a16:creationId xmlns:a16="http://schemas.microsoft.com/office/drawing/2014/main" id="{0296BBA4-B4D9-DB84-0CB4-9398D5661F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236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9" name="Line 16">
              <a:extLst>
                <a:ext uri="{FF2B5EF4-FFF2-40B4-BE49-F238E27FC236}">
                  <a16:creationId xmlns:a16="http://schemas.microsoft.com/office/drawing/2014/main" id="{AF9E197F-6F3E-08BA-0DF9-459A278336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320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0" name="Line 17">
              <a:extLst>
                <a:ext uri="{FF2B5EF4-FFF2-40B4-BE49-F238E27FC236}">
                  <a16:creationId xmlns:a16="http://schemas.microsoft.com/office/drawing/2014/main" id="{6992F8F0-FC1B-FF1F-23E3-6154FFAB87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403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1" name="Line 18">
              <a:extLst>
                <a:ext uri="{FF2B5EF4-FFF2-40B4-BE49-F238E27FC236}">
                  <a16:creationId xmlns:a16="http://schemas.microsoft.com/office/drawing/2014/main" id="{1C9D8345-6471-7455-0087-7F2CE4811D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565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2" name="Line 19">
              <a:extLst>
                <a:ext uri="{FF2B5EF4-FFF2-40B4-BE49-F238E27FC236}">
                  <a16:creationId xmlns:a16="http://schemas.microsoft.com/office/drawing/2014/main" id="{1EB4B83D-BC86-E7C8-1F02-0B78059AE8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9" y="1503"/>
              <a:ext cx="0" cy="559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3" name="Line 20">
              <a:extLst>
                <a:ext uri="{FF2B5EF4-FFF2-40B4-BE49-F238E27FC236}">
                  <a16:creationId xmlns:a16="http://schemas.microsoft.com/office/drawing/2014/main" id="{1E3BBE12-73AE-F47C-8BED-C472A97B6B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2" y="1503"/>
              <a:ext cx="0" cy="559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4" name="Line 21">
              <a:extLst>
                <a:ext uri="{FF2B5EF4-FFF2-40B4-BE49-F238E27FC236}">
                  <a16:creationId xmlns:a16="http://schemas.microsoft.com/office/drawing/2014/main" id="{01530303-7145-59DF-A0F9-BF6D61D21D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56" y="1503"/>
              <a:ext cx="0" cy="559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5" name="Line 22">
              <a:extLst>
                <a:ext uri="{FF2B5EF4-FFF2-40B4-BE49-F238E27FC236}">
                  <a16:creationId xmlns:a16="http://schemas.microsoft.com/office/drawing/2014/main" id="{3FA41F19-D47B-ADE6-4BC1-585961736F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28" y="1503"/>
              <a:ext cx="0" cy="559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6" name="Line 23">
              <a:extLst>
                <a:ext uri="{FF2B5EF4-FFF2-40B4-BE49-F238E27FC236}">
                  <a16:creationId xmlns:a16="http://schemas.microsoft.com/office/drawing/2014/main" id="{D93455E9-E7E2-C480-5612-67D1DD38F2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01" y="1503"/>
              <a:ext cx="0" cy="559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7" name="Line 24">
              <a:extLst>
                <a:ext uri="{FF2B5EF4-FFF2-40B4-BE49-F238E27FC236}">
                  <a16:creationId xmlns:a16="http://schemas.microsoft.com/office/drawing/2014/main" id="{A84DB00F-EEB2-84B7-D19F-A1EDBE6449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5" y="1503"/>
              <a:ext cx="0" cy="559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8" name="Line 25">
              <a:extLst>
                <a:ext uri="{FF2B5EF4-FFF2-40B4-BE49-F238E27FC236}">
                  <a16:creationId xmlns:a16="http://schemas.microsoft.com/office/drawing/2014/main" id="{7765C118-F561-311B-FFE0-217B8C9112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648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9" name="Line 26">
              <a:extLst>
                <a:ext uri="{FF2B5EF4-FFF2-40B4-BE49-F238E27FC236}">
                  <a16:creationId xmlns:a16="http://schemas.microsoft.com/office/drawing/2014/main" id="{EC6E8894-32B7-AC9E-0857-E0526DB141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732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0" name="Line 27">
              <a:extLst>
                <a:ext uri="{FF2B5EF4-FFF2-40B4-BE49-F238E27FC236}">
                  <a16:creationId xmlns:a16="http://schemas.microsoft.com/office/drawing/2014/main" id="{E8334103-ACA7-E6FC-609F-F803A89957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815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1" name="Line 28">
              <a:extLst>
                <a:ext uri="{FF2B5EF4-FFF2-40B4-BE49-F238E27FC236}">
                  <a16:creationId xmlns:a16="http://schemas.microsoft.com/office/drawing/2014/main" id="{6879127F-6A14-F6BC-1A51-E86C877C60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899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2" name="Line 29">
              <a:extLst>
                <a:ext uri="{FF2B5EF4-FFF2-40B4-BE49-F238E27FC236}">
                  <a16:creationId xmlns:a16="http://schemas.microsoft.com/office/drawing/2014/main" id="{85B7C54A-61B3-C11A-8321-1048ADCB7E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981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3" name="Line 30">
              <a:extLst>
                <a:ext uri="{FF2B5EF4-FFF2-40B4-BE49-F238E27FC236}">
                  <a16:creationId xmlns:a16="http://schemas.microsoft.com/office/drawing/2014/main" id="{FE53D730-3E02-EDD3-7EBF-256C5EAF1F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064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4" name="Line 31">
              <a:extLst>
                <a:ext uri="{FF2B5EF4-FFF2-40B4-BE49-F238E27FC236}">
                  <a16:creationId xmlns:a16="http://schemas.microsoft.com/office/drawing/2014/main" id="{388E40AD-222E-E84A-309D-BF5A89C1F3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226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5" name="Line 32">
              <a:extLst>
                <a:ext uri="{FF2B5EF4-FFF2-40B4-BE49-F238E27FC236}">
                  <a16:creationId xmlns:a16="http://schemas.microsoft.com/office/drawing/2014/main" id="{EA797225-DE11-2A33-5B04-0346DC87E7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9" y="2165"/>
              <a:ext cx="0" cy="56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6" name="Line 33">
              <a:extLst>
                <a:ext uri="{FF2B5EF4-FFF2-40B4-BE49-F238E27FC236}">
                  <a16:creationId xmlns:a16="http://schemas.microsoft.com/office/drawing/2014/main" id="{E9B67D71-8306-E7CF-BF79-79692BE604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2" y="2165"/>
              <a:ext cx="0" cy="56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7" name="Line 34">
              <a:extLst>
                <a:ext uri="{FF2B5EF4-FFF2-40B4-BE49-F238E27FC236}">
                  <a16:creationId xmlns:a16="http://schemas.microsoft.com/office/drawing/2014/main" id="{85FBA534-E1A8-26F1-73A2-23027392E0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56" y="2165"/>
              <a:ext cx="0" cy="56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8" name="Line 35">
              <a:extLst>
                <a:ext uri="{FF2B5EF4-FFF2-40B4-BE49-F238E27FC236}">
                  <a16:creationId xmlns:a16="http://schemas.microsoft.com/office/drawing/2014/main" id="{0BEB5AFA-1A70-EA99-7900-57A630F683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28" y="2165"/>
              <a:ext cx="0" cy="56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9" name="Line 36">
              <a:extLst>
                <a:ext uri="{FF2B5EF4-FFF2-40B4-BE49-F238E27FC236}">
                  <a16:creationId xmlns:a16="http://schemas.microsoft.com/office/drawing/2014/main" id="{E783CEE1-52DD-0D95-65E8-DBD7522E83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01" y="2165"/>
              <a:ext cx="0" cy="56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0" name="Line 37">
              <a:extLst>
                <a:ext uri="{FF2B5EF4-FFF2-40B4-BE49-F238E27FC236}">
                  <a16:creationId xmlns:a16="http://schemas.microsoft.com/office/drawing/2014/main" id="{466DF4F0-6248-567D-9059-62B2FC9FEC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5" y="2165"/>
              <a:ext cx="0" cy="56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1" name="Line 38">
              <a:extLst>
                <a:ext uri="{FF2B5EF4-FFF2-40B4-BE49-F238E27FC236}">
                  <a16:creationId xmlns:a16="http://schemas.microsoft.com/office/drawing/2014/main" id="{015E42CA-32ED-6B4B-854E-B00AFD1C3C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309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2" name="Line 39">
              <a:extLst>
                <a:ext uri="{FF2B5EF4-FFF2-40B4-BE49-F238E27FC236}">
                  <a16:creationId xmlns:a16="http://schemas.microsoft.com/office/drawing/2014/main" id="{E02FE414-28CF-F192-3FA6-99BF26440F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393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3" name="Line 40">
              <a:extLst>
                <a:ext uri="{FF2B5EF4-FFF2-40B4-BE49-F238E27FC236}">
                  <a16:creationId xmlns:a16="http://schemas.microsoft.com/office/drawing/2014/main" id="{4CC48C28-EA37-9A29-5E65-C0C237E152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476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4" name="Line 41">
              <a:extLst>
                <a:ext uri="{FF2B5EF4-FFF2-40B4-BE49-F238E27FC236}">
                  <a16:creationId xmlns:a16="http://schemas.microsoft.com/office/drawing/2014/main" id="{AFEAC828-D4FC-0844-CCCC-1BFBE29E95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560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5" name="Line 42">
              <a:extLst>
                <a:ext uri="{FF2B5EF4-FFF2-40B4-BE49-F238E27FC236}">
                  <a16:creationId xmlns:a16="http://schemas.microsoft.com/office/drawing/2014/main" id="{24DC3EF5-3682-9C8F-84BC-28CDC64305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644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6" name="Line 43">
              <a:extLst>
                <a:ext uri="{FF2B5EF4-FFF2-40B4-BE49-F238E27FC236}">
                  <a16:creationId xmlns:a16="http://schemas.microsoft.com/office/drawing/2014/main" id="{3554F435-BF6B-4D9B-A5AF-539F9CB135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727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7" name="Freeform 44">
              <a:extLst>
                <a:ext uri="{FF2B5EF4-FFF2-40B4-BE49-F238E27FC236}">
                  <a16:creationId xmlns:a16="http://schemas.microsoft.com/office/drawing/2014/main" id="{556A99F6-FAF7-061C-86BD-42DEC5B74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" y="1024"/>
              <a:ext cx="332" cy="355"/>
            </a:xfrm>
            <a:custGeom>
              <a:avLst/>
              <a:gdLst>
                <a:gd name="T0" fmla="*/ 0 w 332"/>
                <a:gd name="T1" fmla="*/ 355 h 355"/>
                <a:gd name="T2" fmla="*/ 95 w 332"/>
                <a:gd name="T3" fmla="*/ 355 h 355"/>
                <a:gd name="T4" fmla="*/ 189 w 332"/>
                <a:gd name="T5" fmla="*/ 296 h 355"/>
                <a:gd name="T6" fmla="*/ 238 w 332"/>
                <a:gd name="T7" fmla="*/ 91 h 355"/>
                <a:gd name="T8" fmla="*/ 284 w 332"/>
                <a:gd name="T9" fmla="*/ 13 h 355"/>
                <a:gd name="T10" fmla="*/ 332 w 332"/>
                <a:gd name="T11" fmla="*/ 0 h 355"/>
                <a:gd name="T12" fmla="*/ 332 w 332"/>
                <a:gd name="T13" fmla="*/ 2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2" h="355">
                  <a:moveTo>
                    <a:pt x="0" y="355"/>
                  </a:moveTo>
                  <a:lnTo>
                    <a:pt x="95" y="355"/>
                  </a:lnTo>
                  <a:lnTo>
                    <a:pt x="189" y="296"/>
                  </a:lnTo>
                  <a:lnTo>
                    <a:pt x="238" y="91"/>
                  </a:lnTo>
                  <a:lnTo>
                    <a:pt x="284" y="13"/>
                  </a:lnTo>
                  <a:lnTo>
                    <a:pt x="332" y="0"/>
                  </a:lnTo>
                  <a:lnTo>
                    <a:pt x="332" y="2"/>
                  </a:lnTo>
                </a:path>
              </a:pathLst>
            </a:custGeom>
            <a:noFill/>
            <a:ln w="11113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8" name="Freeform 45">
              <a:extLst>
                <a:ext uri="{FF2B5EF4-FFF2-40B4-BE49-F238E27FC236}">
                  <a16:creationId xmlns:a16="http://schemas.microsoft.com/office/drawing/2014/main" id="{FBC93A36-2835-6AE0-AC9B-7A84181981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932"/>
              <a:ext cx="520" cy="432"/>
            </a:xfrm>
            <a:custGeom>
              <a:avLst/>
              <a:gdLst>
                <a:gd name="T0" fmla="*/ 0 w 520"/>
                <a:gd name="T1" fmla="*/ 432 h 432"/>
                <a:gd name="T2" fmla="*/ 378 w 520"/>
                <a:gd name="T3" fmla="*/ 432 h 432"/>
                <a:gd name="T4" fmla="*/ 471 w 520"/>
                <a:gd name="T5" fmla="*/ 0 h 432"/>
                <a:gd name="T6" fmla="*/ 507 w 520"/>
                <a:gd name="T7" fmla="*/ 70 h 432"/>
                <a:gd name="T8" fmla="*/ 520 w 520"/>
                <a:gd name="T9" fmla="*/ 78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0" h="432">
                  <a:moveTo>
                    <a:pt x="0" y="432"/>
                  </a:moveTo>
                  <a:lnTo>
                    <a:pt x="378" y="432"/>
                  </a:lnTo>
                  <a:lnTo>
                    <a:pt x="471" y="0"/>
                  </a:lnTo>
                  <a:lnTo>
                    <a:pt x="507" y="70"/>
                  </a:lnTo>
                  <a:lnTo>
                    <a:pt x="520" y="78"/>
                  </a:lnTo>
                </a:path>
              </a:pathLst>
            </a:custGeom>
            <a:noFill/>
            <a:ln w="11113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9" name="Freeform 46">
              <a:extLst>
                <a:ext uri="{FF2B5EF4-FFF2-40B4-BE49-F238E27FC236}">
                  <a16:creationId xmlns:a16="http://schemas.microsoft.com/office/drawing/2014/main" id="{0B042E29-8E8F-2640-55F7-A776C0265B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" y="1024"/>
              <a:ext cx="479" cy="340"/>
            </a:xfrm>
            <a:custGeom>
              <a:avLst/>
              <a:gdLst>
                <a:gd name="T0" fmla="*/ 0 w 479"/>
                <a:gd name="T1" fmla="*/ 340 h 340"/>
                <a:gd name="T2" fmla="*/ 102 w 479"/>
                <a:gd name="T3" fmla="*/ 340 h 340"/>
                <a:gd name="T4" fmla="*/ 149 w 479"/>
                <a:gd name="T5" fmla="*/ 212 h 340"/>
                <a:gd name="T6" fmla="*/ 197 w 479"/>
                <a:gd name="T7" fmla="*/ 123 h 340"/>
                <a:gd name="T8" fmla="*/ 243 w 479"/>
                <a:gd name="T9" fmla="*/ 154 h 340"/>
                <a:gd name="T10" fmla="*/ 292 w 479"/>
                <a:gd name="T11" fmla="*/ 123 h 340"/>
                <a:gd name="T12" fmla="*/ 338 w 479"/>
                <a:gd name="T13" fmla="*/ 132 h 340"/>
                <a:gd name="T14" fmla="*/ 386 w 479"/>
                <a:gd name="T15" fmla="*/ 65 h 340"/>
                <a:gd name="T16" fmla="*/ 433 w 479"/>
                <a:gd name="T17" fmla="*/ 0 h 340"/>
                <a:gd name="T18" fmla="*/ 466 w 479"/>
                <a:gd name="T19" fmla="*/ 10 h 340"/>
                <a:gd name="T20" fmla="*/ 479 w 479"/>
                <a:gd name="T21" fmla="*/ 69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9" h="340">
                  <a:moveTo>
                    <a:pt x="0" y="340"/>
                  </a:moveTo>
                  <a:lnTo>
                    <a:pt x="102" y="340"/>
                  </a:lnTo>
                  <a:lnTo>
                    <a:pt x="149" y="212"/>
                  </a:lnTo>
                  <a:lnTo>
                    <a:pt x="197" y="123"/>
                  </a:lnTo>
                  <a:lnTo>
                    <a:pt x="243" y="154"/>
                  </a:lnTo>
                  <a:lnTo>
                    <a:pt x="292" y="123"/>
                  </a:lnTo>
                  <a:lnTo>
                    <a:pt x="338" y="132"/>
                  </a:lnTo>
                  <a:lnTo>
                    <a:pt x="386" y="65"/>
                  </a:lnTo>
                  <a:lnTo>
                    <a:pt x="433" y="0"/>
                  </a:lnTo>
                  <a:lnTo>
                    <a:pt x="466" y="10"/>
                  </a:lnTo>
                  <a:lnTo>
                    <a:pt x="479" y="69"/>
                  </a:lnTo>
                </a:path>
              </a:pathLst>
            </a:custGeom>
            <a:noFill/>
            <a:ln w="11113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0" name="Freeform 47">
              <a:extLst>
                <a:ext uri="{FF2B5EF4-FFF2-40B4-BE49-F238E27FC236}">
                  <a16:creationId xmlns:a16="http://schemas.microsoft.com/office/drawing/2014/main" id="{3018EAB8-3A1B-FF52-2A39-E590EB625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867"/>
              <a:ext cx="425" cy="497"/>
            </a:xfrm>
            <a:custGeom>
              <a:avLst/>
              <a:gdLst>
                <a:gd name="T0" fmla="*/ 0 w 425"/>
                <a:gd name="T1" fmla="*/ 497 h 497"/>
                <a:gd name="T2" fmla="*/ 284 w 425"/>
                <a:gd name="T3" fmla="*/ 497 h 497"/>
                <a:gd name="T4" fmla="*/ 378 w 425"/>
                <a:gd name="T5" fmla="*/ 174 h 497"/>
                <a:gd name="T6" fmla="*/ 412 w 425"/>
                <a:gd name="T7" fmla="*/ 27 h 497"/>
                <a:gd name="T8" fmla="*/ 425 w 425"/>
                <a:gd name="T9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5" h="497">
                  <a:moveTo>
                    <a:pt x="0" y="497"/>
                  </a:moveTo>
                  <a:lnTo>
                    <a:pt x="284" y="497"/>
                  </a:lnTo>
                  <a:lnTo>
                    <a:pt x="378" y="174"/>
                  </a:lnTo>
                  <a:lnTo>
                    <a:pt x="412" y="27"/>
                  </a:lnTo>
                  <a:lnTo>
                    <a:pt x="425" y="0"/>
                  </a:lnTo>
                </a:path>
              </a:pathLst>
            </a:custGeom>
            <a:noFill/>
            <a:ln w="11113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1" name="Freeform 48">
              <a:extLst>
                <a:ext uri="{FF2B5EF4-FFF2-40B4-BE49-F238E27FC236}">
                  <a16:creationId xmlns:a16="http://schemas.microsoft.com/office/drawing/2014/main" id="{DB1F2427-3FCA-8762-EEC6-1884CBCFA7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924"/>
              <a:ext cx="297" cy="440"/>
            </a:xfrm>
            <a:custGeom>
              <a:avLst/>
              <a:gdLst>
                <a:gd name="T0" fmla="*/ 0 w 297"/>
                <a:gd name="T1" fmla="*/ 440 h 440"/>
                <a:gd name="T2" fmla="*/ 189 w 297"/>
                <a:gd name="T3" fmla="*/ 440 h 440"/>
                <a:gd name="T4" fmla="*/ 284 w 297"/>
                <a:gd name="T5" fmla="*/ 58 h 440"/>
                <a:gd name="T6" fmla="*/ 289 w 297"/>
                <a:gd name="T7" fmla="*/ 21 h 440"/>
                <a:gd name="T8" fmla="*/ 297 w 297"/>
                <a:gd name="T9" fmla="*/ 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7" h="440">
                  <a:moveTo>
                    <a:pt x="0" y="440"/>
                  </a:moveTo>
                  <a:lnTo>
                    <a:pt x="189" y="440"/>
                  </a:lnTo>
                  <a:lnTo>
                    <a:pt x="284" y="58"/>
                  </a:lnTo>
                  <a:lnTo>
                    <a:pt x="289" y="21"/>
                  </a:lnTo>
                  <a:lnTo>
                    <a:pt x="297" y="0"/>
                  </a:lnTo>
                </a:path>
              </a:pathLst>
            </a:custGeom>
            <a:noFill/>
            <a:ln w="11113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2" name="Freeform 49">
              <a:extLst>
                <a:ext uri="{FF2B5EF4-FFF2-40B4-BE49-F238E27FC236}">
                  <a16:creationId xmlns:a16="http://schemas.microsoft.com/office/drawing/2014/main" id="{7B85FBE7-BF33-308D-9FD5-E33873CBC9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073"/>
              <a:ext cx="622" cy="291"/>
            </a:xfrm>
            <a:custGeom>
              <a:avLst/>
              <a:gdLst>
                <a:gd name="T0" fmla="*/ 0 w 622"/>
                <a:gd name="T1" fmla="*/ 291 h 291"/>
                <a:gd name="T2" fmla="*/ 189 w 622"/>
                <a:gd name="T3" fmla="*/ 291 h 291"/>
                <a:gd name="T4" fmla="*/ 284 w 622"/>
                <a:gd name="T5" fmla="*/ 7 h 291"/>
                <a:gd name="T6" fmla="*/ 330 w 622"/>
                <a:gd name="T7" fmla="*/ 0 h 291"/>
                <a:gd name="T8" fmla="*/ 378 w 622"/>
                <a:gd name="T9" fmla="*/ 24 h 291"/>
                <a:gd name="T10" fmla="*/ 425 w 622"/>
                <a:gd name="T11" fmla="*/ 0 h 291"/>
                <a:gd name="T12" fmla="*/ 471 w 622"/>
                <a:gd name="T13" fmla="*/ 3 h 291"/>
                <a:gd name="T14" fmla="*/ 520 w 622"/>
                <a:gd name="T15" fmla="*/ 14 h 291"/>
                <a:gd name="T16" fmla="*/ 566 w 622"/>
                <a:gd name="T17" fmla="*/ 13 h 291"/>
                <a:gd name="T18" fmla="*/ 622 w 622"/>
                <a:gd name="T19" fmla="*/ 2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2" h="291">
                  <a:moveTo>
                    <a:pt x="0" y="291"/>
                  </a:moveTo>
                  <a:lnTo>
                    <a:pt x="189" y="291"/>
                  </a:lnTo>
                  <a:lnTo>
                    <a:pt x="284" y="7"/>
                  </a:lnTo>
                  <a:lnTo>
                    <a:pt x="330" y="0"/>
                  </a:lnTo>
                  <a:lnTo>
                    <a:pt x="378" y="24"/>
                  </a:lnTo>
                  <a:lnTo>
                    <a:pt x="425" y="0"/>
                  </a:lnTo>
                  <a:lnTo>
                    <a:pt x="471" y="3"/>
                  </a:lnTo>
                  <a:lnTo>
                    <a:pt x="520" y="14"/>
                  </a:lnTo>
                  <a:lnTo>
                    <a:pt x="566" y="13"/>
                  </a:lnTo>
                  <a:lnTo>
                    <a:pt x="622" y="20"/>
                  </a:lnTo>
                </a:path>
              </a:pathLst>
            </a:custGeom>
            <a:noFill/>
            <a:ln w="11113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3" name="Freeform 50">
              <a:extLst>
                <a:ext uri="{FF2B5EF4-FFF2-40B4-BE49-F238E27FC236}">
                  <a16:creationId xmlns:a16="http://schemas.microsoft.com/office/drawing/2014/main" id="{E4BC3F97-EC7B-4E57-75A1-088D1E4778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117"/>
              <a:ext cx="573" cy="247"/>
            </a:xfrm>
            <a:custGeom>
              <a:avLst/>
              <a:gdLst>
                <a:gd name="T0" fmla="*/ 0 w 573"/>
                <a:gd name="T1" fmla="*/ 247 h 247"/>
                <a:gd name="T2" fmla="*/ 94 w 573"/>
                <a:gd name="T3" fmla="*/ 247 h 247"/>
                <a:gd name="T4" fmla="*/ 189 w 573"/>
                <a:gd name="T5" fmla="*/ 169 h 247"/>
                <a:gd name="T6" fmla="*/ 235 w 573"/>
                <a:gd name="T7" fmla="*/ 43 h 247"/>
                <a:gd name="T8" fmla="*/ 284 w 573"/>
                <a:gd name="T9" fmla="*/ 0 h 247"/>
                <a:gd name="T10" fmla="*/ 330 w 573"/>
                <a:gd name="T11" fmla="*/ 32 h 247"/>
                <a:gd name="T12" fmla="*/ 378 w 573"/>
                <a:gd name="T13" fmla="*/ 32 h 247"/>
                <a:gd name="T14" fmla="*/ 425 w 573"/>
                <a:gd name="T15" fmla="*/ 26 h 247"/>
                <a:gd name="T16" fmla="*/ 471 w 573"/>
                <a:gd name="T17" fmla="*/ 50 h 247"/>
                <a:gd name="T18" fmla="*/ 520 w 573"/>
                <a:gd name="T19" fmla="*/ 54 h 247"/>
                <a:gd name="T20" fmla="*/ 566 w 573"/>
                <a:gd name="T21" fmla="*/ 93 h 247"/>
                <a:gd name="T22" fmla="*/ 573 w 573"/>
                <a:gd name="T23" fmla="*/ 10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3" h="247">
                  <a:moveTo>
                    <a:pt x="0" y="247"/>
                  </a:moveTo>
                  <a:lnTo>
                    <a:pt x="94" y="247"/>
                  </a:lnTo>
                  <a:lnTo>
                    <a:pt x="189" y="169"/>
                  </a:lnTo>
                  <a:lnTo>
                    <a:pt x="235" y="43"/>
                  </a:lnTo>
                  <a:lnTo>
                    <a:pt x="284" y="0"/>
                  </a:lnTo>
                  <a:lnTo>
                    <a:pt x="330" y="32"/>
                  </a:lnTo>
                  <a:lnTo>
                    <a:pt x="378" y="32"/>
                  </a:lnTo>
                  <a:lnTo>
                    <a:pt x="425" y="26"/>
                  </a:lnTo>
                  <a:lnTo>
                    <a:pt x="471" y="50"/>
                  </a:lnTo>
                  <a:lnTo>
                    <a:pt x="520" y="54"/>
                  </a:lnTo>
                  <a:lnTo>
                    <a:pt x="566" y="93"/>
                  </a:lnTo>
                  <a:lnTo>
                    <a:pt x="573" y="100"/>
                  </a:lnTo>
                </a:path>
              </a:pathLst>
            </a:custGeom>
            <a:noFill/>
            <a:ln w="11113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4" name="Freeform 51">
              <a:extLst>
                <a:ext uri="{FF2B5EF4-FFF2-40B4-BE49-F238E27FC236}">
                  <a16:creationId xmlns:a16="http://schemas.microsoft.com/office/drawing/2014/main" id="{466939B6-5615-83DF-867D-9FEBD9785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1366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0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5" name="Freeform 52">
              <a:extLst>
                <a:ext uri="{FF2B5EF4-FFF2-40B4-BE49-F238E27FC236}">
                  <a16:creationId xmlns:a16="http://schemas.microsoft.com/office/drawing/2014/main" id="{1F39A549-92A3-F9E6-AC26-94246E0B95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1366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0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6" name="Freeform 53">
              <a:extLst>
                <a:ext uri="{FF2B5EF4-FFF2-40B4-BE49-F238E27FC236}">
                  <a16:creationId xmlns:a16="http://schemas.microsoft.com/office/drawing/2014/main" id="{EAB133B9-4B58-CCD1-0CF4-108768495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366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0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7" name="Freeform 54">
              <a:extLst>
                <a:ext uri="{FF2B5EF4-FFF2-40B4-BE49-F238E27FC236}">
                  <a16:creationId xmlns:a16="http://schemas.microsoft.com/office/drawing/2014/main" id="{1C68B295-D4E3-520B-2432-3962032A5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366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0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8" name="Freeform 55">
              <a:extLst>
                <a:ext uri="{FF2B5EF4-FFF2-40B4-BE49-F238E27FC236}">
                  <a16:creationId xmlns:a16="http://schemas.microsoft.com/office/drawing/2014/main" id="{45490217-2DC6-A620-A676-B3D8C7DD5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" y="130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3 w 26"/>
                <a:gd name="T33" fmla="*/ 3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9" name="Freeform 56">
              <a:extLst>
                <a:ext uri="{FF2B5EF4-FFF2-40B4-BE49-F238E27FC236}">
                  <a16:creationId xmlns:a16="http://schemas.microsoft.com/office/drawing/2014/main" id="{BD35E3BB-511D-CBCC-F87B-D1A1D80131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" y="130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3 w 26"/>
                <a:gd name="T33" fmla="*/ 3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0" name="Freeform 57">
              <a:extLst>
                <a:ext uri="{FF2B5EF4-FFF2-40B4-BE49-F238E27FC236}">
                  <a16:creationId xmlns:a16="http://schemas.microsoft.com/office/drawing/2014/main" id="{E8C21AF3-92CD-A34F-D05C-0C368ADF7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00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1 h 28"/>
                <a:gd name="T6" fmla="*/ 20 w 24"/>
                <a:gd name="T7" fmla="*/ 25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5 h 28"/>
                <a:gd name="T16" fmla="*/ 0 w 24"/>
                <a:gd name="T17" fmla="*/ 21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8 h 28"/>
                <a:gd name="T24" fmla="*/ 3 w 24"/>
                <a:gd name="T25" fmla="*/ 4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4 h 28"/>
                <a:gd name="T34" fmla="*/ 24 w 24"/>
                <a:gd name="T35" fmla="*/ 8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1"/>
                  </a:lnTo>
                  <a:lnTo>
                    <a:pt x="20" y="25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5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1" name="Freeform 58">
              <a:extLst>
                <a:ext uri="{FF2B5EF4-FFF2-40B4-BE49-F238E27FC236}">
                  <a16:creationId xmlns:a16="http://schemas.microsoft.com/office/drawing/2014/main" id="{4424C5E9-D571-BB44-EE85-C5E3BA584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00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1 h 28"/>
                <a:gd name="T6" fmla="*/ 20 w 24"/>
                <a:gd name="T7" fmla="*/ 25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5 h 28"/>
                <a:gd name="T16" fmla="*/ 0 w 24"/>
                <a:gd name="T17" fmla="*/ 21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8 h 28"/>
                <a:gd name="T24" fmla="*/ 3 w 24"/>
                <a:gd name="T25" fmla="*/ 4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4 h 28"/>
                <a:gd name="T34" fmla="*/ 24 w 24"/>
                <a:gd name="T35" fmla="*/ 8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1"/>
                  </a:lnTo>
                  <a:lnTo>
                    <a:pt x="20" y="25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5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2" name="Freeform 59">
              <a:extLst>
                <a:ext uri="{FF2B5EF4-FFF2-40B4-BE49-F238E27FC236}">
                  <a16:creationId xmlns:a16="http://schemas.microsoft.com/office/drawing/2014/main" id="{2B125909-354F-8A71-E180-6A87E7B17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02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3" name="Freeform 60">
              <a:extLst>
                <a:ext uri="{FF2B5EF4-FFF2-40B4-BE49-F238E27FC236}">
                  <a16:creationId xmlns:a16="http://schemas.microsoft.com/office/drawing/2014/main" id="{E879BCFF-3B54-A00C-3966-1D22269C4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02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4" name="Freeform 61">
              <a:extLst>
                <a:ext uri="{FF2B5EF4-FFF2-40B4-BE49-F238E27FC236}">
                  <a16:creationId xmlns:a16="http://schemas.microsoft.com/office/drawing/2014/main" id="{7277A8AB-D2CB-AF6F-A393-06CDED1CA5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11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3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3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3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5" name="Freeform 62">
              <a:extLst>
                <a:ext uri="{FF2B5EF4-FFF2-40B4-BE49-F238E27FC236}">
                  <a16:creationId xmlns:a16="http://schemas.microsoft.com/office/drawing/2014/main" id="{C9405762-1224-79B8-2172-C7F52D929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11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3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3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3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6" name="Freeform 63">
              <a:extLst>
                <a:ext uri="{FF2B5EF4-FFF2-40B4-BE49-F238E27FC236}">
                  <a16:creationId xmlns:a16="http://schemas.microsoft.com/office/drawing/2014/main" id="{9EF4BD0D-03C0-C520-A4EF-78CE6FE58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13"/>
              <a:ext cx="25" cy="28"/>
            </a:xfrm>
            <a:custGeom>
              <a:avLst/>
              <a:gdLst>
                <a:gd name="T0" fmla="*/ 25 w 25"/>
                <a:gd name="T1" fmla="*/ 13 h 28"/>
                <a:gd name="T2" fmla="*/ 25 w 25"/>
                <a:gd name="T3" fmla="*/ 13 h 28"/>
                <a:gd name="T4" fmla="*/ 25 w 25"/>
                <a:gd name="T5" fmla="*/ 21 h 28"/>
                <a:gd name="T6" fmla="*/ 21 w 25"/>
                <a:gd name="T7" fmla="*/ 24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4 h 28"/>
                <a:gd name="T16" fmla="*/ 0 w 25"/>
                <a:gd name="T17" fmla="*/ 21 h 28"/>
                <a:gd name="T18" fmla="*/ 0 w 25"/>
                <a:gd name="T19" fmla="*/ 13 h 28"/>
                <a:gd name="T20" fmla="*/ 0 w 25"/>
                <a:gd name="T21" fmla="*/ 13 h 28"/>
                <a:gd name="T22" fmla="*/ 0 w 25"/>
                <a:gd name="T23" fmla="*/ 8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8 h 28"/>
                <a:gd name="T36" fmla="*/ 25 w 25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3"/>
                  </a:moveTo>
                  <a:lnTo>
                    <a:pt x="25" y="13"/>
                  </a:lnTo>
                  <a:lnTo>
                    <a:pt x="25" y="21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7" name="Freeform 64">
              <a:extLst>
                <a:ext uri="{FF2B5EF4-FFF2-40B4-BE49-F238E27FC236}">
                  <a16:creationId xmlns:a16="http://schemas.microsoft.com/office/drawing/2014/main" id="{FD846820-DF5D-63BE-342C-262DF02E9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13"/>
              <a:ext cx="25" cy="28"/>
            </a:xfrm>
            <a:custGeom>
              <a:avLst/>
              <a:gdLst>
                <a:gd name="T0" fmla="*/ 25 w 25"/>
                <a:gd name="T1" fmla="*/ 13 h 28"/>
                <a:gd name="T2" fmla="*/ 25 w 25"/>
                <a:gd name="T3" fmla="*/ 13 h 28"/>
                <a:gd name="T4" fmla="*/ 25 w 25"/>
                <a:gd name="T5" fmla="*/ 21 h 28"/>
                <a:gd name="T6" fmla="*/ 21 w 25"/>
                <a:gd name="T7" fmla="*/ 24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4 h 28"/>
                <a:gd name="T16" fmla="*/ 0 w 25"/>
                <a:gd name="T17" fmla="*/ 21 h 28"/>
                <a:gd name="T18" fmla="*/ 0 w 25"/>
                <a:gd name="T19" fmla="*/ 13 h 28"/>
                <a:gd name="T20" fmla="*/ 0 w 25"/>
                <a:gd name="T21" fmla="*/ 13 h 28"/>
                <a:gd name="T22" fmla="*/ 0 w 25"/>
                <a:gd name="T23" fmla="*/ 8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8 h 28"/>
                <a:gd name="T36" fmla="*/ 25 w 25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3"/>
                  </a:moveTo>
                  <a:lnTo>
                    <a:pt x="25" y="13"/>
                  </a:lnTo>
                  <a:lnTo>
                    <a:pt x="25" y="21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8" name="Freeform 65">
              <a:extLst>
                <a:ext uri="{FF2B5EF4-FFF2-40B4-BE49-F238E27FC236}">
                  <a16:creationId xmlns:a16="http://schemas.microsoft.com/office/drawing/2014/main" id="{3A9826B8-7DA9-67D9-F3C2-A8CBC6F32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9" name="Freeform 66">
              <a:extLst>
                <a:ext uri="{FF2B5EF4-FFF2-40B4-BE49-F238E27FC236}">
                  <a16:creationId xmlns:a16="http://schemas.microsoft.com/office/drawing/2014/main" id="{1ECA00DB-DC90-EBE3-6655-51BF1F113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0" name="Freeform 67">
              <a:extLst>
                <a:ext uri="{FF2B5EF4-FFF2-40B4-BE49-F238E27FC236}">
                  <a16:creationId xmlns:a16="http://schemas.microsoft.com/office/drawing/2014/main" id="{E92AEC5F-6BD2-5D77-46F6-377555BB96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1" name="Freeform 68">
              <a:extLst>
                <a:ext uri="{FF2B5EF4-FFF2-40B4-BE49-F238E27FC236}">
                  <a16:creationId xmlns:a16="http://schemas.microsoft.com/office/drawing/2014/main" id="{5AE78788-C19F-138D-5D2A-024F4927278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2" name="Freeform 69">
              <a:extLst>
                <a:ext uri="{FF2B5EF4-FFF2-40B4-BE49-F238E27FC236}">
                  <a16:creationId xmlns:a16="http://schemas.microsoft.com/office/drawing/2014/main" id="{09C227D6-2915-92A1-AAE0-E4F305B70F9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3" name="Freeform 70">
              <a:extLst>
                <a:ext uri="{FF2B5EF4-FFF2-40B4-BE49-F238E27FC236}">
                  <a16:creationId xmlns:a16="http://schemas.microsoft.com/office/drawing/2014/main" id="{289E1EF9-FE6E-49C5-EB5C-0FBB343DD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4" name="Freeform 71">
              <a:extLst>
                <a:ext uri="{FF2B5EF4-FFF2-40B4-BE49-F238E27FC236}">
                  <a16:creationId xmlns:a16="http://schemas.microsoft.com/office/drawing/2014/main" id="{F9E05860-1610-8BCC-3FC1-6FBD70BBF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5" name="Freeform 72">
              <a:extLst>
                <a:ext uri="{FF2B5EF4-FFF2-40B4-BE49-F238E27FC236}">
                  <a16:creationId xmlns:a16="http://schemas.microsoft.com/office/drawing/2014/main" id="{52918418-3C25-FB6E-A255-6D10D9298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6" name="Freeform 73">
              <a:extLst>
                <a:ext uri="{FF2B5EF4-FFF2-40B4-BE49-F238E27FC236}">
                  <a16:creationId xmlns:a16="http://schemas.microsoft.com/office/drawing/2014/main" id="{BB7F3F50-B9AC-FF02-165E-8F967D411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7" name="Freeform 74">
              <a:extLst>
                <a:ext uri="{FF2B5EF4-FFF2-40B4-BE49-F238E27FC236}">
                  <a16:creationId xmlns:a16="http://schemas.microsoft.com/office/drawing/2014/main" id="{08F428E2-4DB7-2D54-4EFE-5F8465527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8" name="Freeform 75">
              <a:extLst>
                <a:ext uri="{FF2B5EF4-FFF2-40B4-BE49-F238E27FC236}">
                  <a16:creationId xmlns:a16="http://schemas.microsoft.com/office/drawing/2014/main" id="{B1F82B47-99E0-E70F-9FF3-BDA3B4900A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9" name="Freeform 76">
              <a:extLst>
                <a:ext uri="{FF2B5EF4-FFF2-40B4-BE49-F238E27FC236}">
                  <a16:creationId xmlns:a16="http://schemas.microsoft.com/office/drawing/2014/main" id="{5675CB50-A775-4E1C-A264-3DDAA0A69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0" name="Freeform 77">
              <a:extLst>
                <a:ext uri="{FF2B5EF4-FFF2-40B4-BE49-F238E27FC236}">
                  <a16:creationId xmlns:a16="http://schemas.microsoft.com/office/drawing/2014/main" id="{D54B883F-EC12-33D6-E55F-B0E19CBB8F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351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4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4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2 h 26"/>
                <a:gd name="T28" fmla="*/ 13 w 25"/>
                <a:gd name="T29" fmla="*/ 0 h 26"/>
                <a:gd name="T30" fmla="*/ 17 w 25"/>
                <a:gd name="T31" fmla="*/ 2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1" name="Freeform 78">
              <a:extLst>
                <a:ext uri="{FF2B5EF4-FFF2-40B4-BE49-F238E27FC236}">
                  <a16:creationId xmlns:a16="http://schemas.microsoft.com/office/drawing/2014/main" id="{B250CCCB-5B3B-9937-06EE-AEE586C8EC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351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4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4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2 h 26"/>
                <a:gd name="T28" fmla="*/ 13 w 25"/>
                <a:gd name="T29" fmla="*/ 0 h 26"/>
                <a:gd name="T30" fmla="*/ 17 w 25"/>
                <a:gd name="T31" fmla="*/ 2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2" name="Freeform 79">
              <a:extLst>
                <a:ext uri="{FF2B5EF4-FFF2-40B4-BE49-F238E27FC236}">
                  <a16:creationId xmlns:a16="http://schemas.microsoft.com/office/drawing/2014/main" id="{19C2639C-C29D-D048-0C2E-B577AB6E6E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91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1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3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3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3" name="Freeform 80">
              <a:extLst>
                <a:ext uri="{FF2B5EF4-FFF2-40B4-BE49-F238E27FC236}">
                  <a16:creationId xmlns:a16="http://schemas.microsoft.com/office/drawing/2014/main" id="{12B52CD9-1F13-BBAC-7CBB-30380111F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91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1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3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3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4" name="Freeform 81">
              <a:extLst>
                <a:ext uri="{FF2B5EF4-FFF2-40B4-BE49-F238E27FC236}">
                  <a16:creationId xmlns:a16="http://schemas.microsoft.com/office/drawing/2014/main" id="{B83F0920-F343-20F3-0C2E-BA935E50F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987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0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5" name="Freeform 82">
              <a:extLst>
                <a:ext uri="{FF2B5EF4-FFF2-40B4-BE49-F238E27FC236}">
                  <a16:creationId xmlns:a16="http://schemas.microsoft.com/office/drawing/2014/main" id="{E2BCCE60-362D-2842-D9FB-41D51BA90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987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0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6" name="Freeform 83">
              <a:extLst>
                <a:ext uri="{FF2B5EF4-FFF2-40B4-BE49-F238E27FC236}">
                  <a16:creationId xmlns:a16="http://schemas.microsoft.com/office/drawing/2014/main" id="{DF21D336-ACEF-A1BD-66E7-35FA7ADD8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987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0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7" name="Freeform 84">
              <a:extLst>
                <a:ext uri="{FF2B5EF4-FFF2-40B4-BE49-F238E27FC236}">
                  <a16:creationId xmlns:a16="http://schemas.microsoft.com/office/drawing/2014/main" id="{33A02987-7C83-3B2B-8A56-F6BF91780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987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0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8" name="Freeform 85">
              <a:extLst>
                <a:ext uri="{FF2B5EF4-FFF2-40B4-BE49-F238E27FC236}">
                  <a16:creationId xmlns:a16="http://schemas.microsoft.com/office/drawing/2014/main" id="{41DA489B-297C-9501-AB37-B9E72E4E9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99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1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3 h 26"/>
                <a:gd name="T26" fmla="*/ 7 w 26"/>
                <a:gd name="T27" fmla="*/ 1 h 26"/>
                <a:gd name="T28" fmla="*/ 13 w 26"/>
                <a:gd name="T29" fmla="*/ 0 h 26"/>
                <a:gd name="T30" fmla="*/ 18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8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9" name="Freeform 86">
              <a:extLst>
                <a:ext uri="{FF2B5EF4-FFF2-40B4-BE49-F238E27FC236}">
                  <a16:creationId xmlns:a16="http://schemas.microsoft.com/office/drawing/2014/main" id="{A9D067A6-8D4B-75F9-E384-7407473FE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99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1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3 h 26"/>
                <a:gd name="T26" fmla="*/ 7 w 26"/>
                <a:gd name="T27" fmla="*/ 1 h 26"/>
                <a:gd name="T28" fmla="*/ 13 w 26"/>
                <a:gd name="T29" fmla="*/ 0 h 26"/>
                <a:gd name="T30" fmla="*/ 18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8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0" name="Freeform 87">
              <a:extLst>
                <a:ext uri="{FF2B5EF4-FFF2-40B4-BE49-F238E27FC236}">
                  <a16:creationId xmlns:a16="http://schemas.microsoft.com/office/drawing/2014/main" id="{1EA0E2D1-BA76-E411-65A1-1D72BC539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1" name="Freeform 88">
              <a:extLst>
                <a:ext uri="{FF2B5EF4-FFF2-40B4-BE49-F238E27FC236}">
                  <a16:creationId xmlns:a16="http://schemas.microsoft.com/office/drawing/2014/main" id="{383EDD91-E8FB-5C02-67DA-74FC7726F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2" name="Freeform 89">
              <a:extLst>
                <a:ext uri="{FF2B5EF4-FFF2-40B4-BE49-F238E27FC236}">
                  <a16:creationId xmlns:a16="http://schemas.microsoft.com/office/drawing/2014/main" id="{D1D8DD1C-C0FD-E92E-7F93-C08BD1DDF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3" name="Freeform 90">
              <a:extLst>
                <a:ext uri="{FF2B5EF4-FFF2-40B4-BE49-F238E27FC236}">
                  <a16:creationId xmlns:a16="http://schemas.microsoft.com/office/drawing/2014/main" id="{B56DA8B3-1B31-8979-7992-722BEDC16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4" name="Freeform 91">
              <a:extLst>
                <a:ext uri="{FF2B5EF4-FFF2-40B4-BE49-F238E27FC236}">
                  <a16:creationId xmlns:a16="http://schemas.microsoft.com/office/drawing/2014/main" id="{9E78C2FF-8C1C-8423-633B-76F0E6DE2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5" name="Freeform 92">
              <a:extLst>
                <a:ext uri="{FF2B5EF4-FFF2-40B4-BE49-F238E27FC236}">
                  <a16:creationId xmlns:a16="http://schemas.microsoft.com/office/drawing/2014/main" id="{C7A5CBCE-9FCB-CE61-27AD-BA7A35B82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6" name="Freeform 93">
              <a:extLst>
                <a:ext uri="{FF2B5EF4-FFF2-40B4-BE49-F238E27FC236}">
                  <a16:creationId xmlns:a16="http://schemas.microsoft.com/office/drawing/2014/main" id="{F367E4DC-E837-D297-99BE-4A745EAAFE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22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7" name="Freeform 94">
              <a:extLst>
                <a:ext uri="{FF2B5EF4-FFF2-40B4-BE49-F238E27FC236}">
                  <a16:creationId xmlns:a16="http://schemas.microsoft.com/office/drawing/2014/main" id="{1193709B-CCED-EB86-E5EB-99FADBA09877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22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8" name="Freeform 95">
              <a:extLst>
                <a:ext uri="{FF2B5EF4-FFF2-40B4-BE49-F238E27FC236}">
                  <a16:creationId xmlns:a16="http://schemas.microsoft.com/office/drawing/2014/main" id="{29A5AC3A-B4DE-35D9-0DD2-F20890C4A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13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9" name="Freeform 96">
              <a:extLst>
                <a:ext uri="{FF2B5EF4-FFF2-40B4-BE49-F238E27FC236}">
                  <a16:creationId xmlns:a16="http://schemas.microsoft.com/office/drawing/2014/main" id="{314A0247-9BBF-E77D-3600-E5BE24EC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13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0" name="Freeform 97">
              <a:extLst>
                <a:ext uri="{FF2B5EF4-FFF2-40B4-BE49-F238E27FC236}">
                  <a16:creationId xmlns:a16="http://schemas.microsoft.com/office/drawing/2014/main" id="{D1B2E3D6-923E-5FD4-FE35-3F40EB510C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" y="116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5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5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1" name="Freeform 98">
              <a:extLst>
                <a:ext uri="{FF2B5EF4-FFF2-40B4-BE49-F238E27FC236}">
                  <a16:creationId xmlns:a16="http://schemas.microsoft.com/office/drawing/2014/main" id="{DD207839-C55E-02A6-5E39-2E0188679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" y="116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5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5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2" name="Freeform 99">
              <a:extLst>
                <a:ext uri="{FF2B5EF4-FFF2-40B4-BE49-F238E27FC236}">
                  <a16:creationId xmlns:a16="http://schemas.microsoft.com/office/drawing/2014/main" id="{362EE112-6FA7-647A-9F1B-005A80B81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32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0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0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7 h 28"/>
                <a:gd name="T24" fmla="*/ 3 w 24"/>
                <a:gd name="T25" fmla="*/ 4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4 h 28"/>
                <a:gd name="T34" fmla="*/ 24 w 24"/>
                <a:gd name="T35" fmla="*/ 7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5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3" name="Freeform 100">
              <a:extLst>
                <a:ext uri="{FF2B5EF4-FFF2-40B4-BE49-F238E27FC236}">
                  <a16:creationId xmlns:a16="http://schemas.microsoft.com/office/drawing/2014/main" id="{64A37ECB-E1DC-3D80-10D5-29BC4D4CB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32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0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0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7 h 28"/>
                <a:gd name="T24" fmla="*/ 3 w 24"/>
                <a:gd name="T25" fmla="*/ 4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4 h 28"/>
                <a:gd name="T34" fmla="*/ 24 w 24"/>
                <a:gd name="T35" fmla="*/ 7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5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4" name="Freeform 101">
              <a:extLst>
                <a:ext uri="{FF2B5EF4-FFF2-40B4-BE49-F238E27FC236}">
                  <a16:creationId xmlns:a16="http://schemas.microsoft.com/office/drawing/2014/main" id="{9FF26CCE-592D-A2CC-BA0C-09DAABE8F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14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5" name="Freeform 102">
              <a:extLst>
                <a:ext uri="{FF2B5EF4-FFF2-40B4-BE49-F238E27FC236}">
                  <a16:creationId xmlns:a16="http://schemas.microsoft.com/office/drawing/2014/main" id="{A57EEE91-45DF-8FCC-521C-B9C1A382F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14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6" name="Freeform 103">
              <a:extLst>
                <a:ext uri="{FF2B5EF4-FFF2-40B4-BE49-F238E27FC236}">
                  <a16:creationId xmlns:a16="http://schemas.microsoft.com/office/drawing/2014/main" id="{B06218E2-8B4A-FFC9-D2D7-8251EE959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76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3 h 26"/>
                <a:gd name="T8" fmla="*/ 17 w 25"/>
                <a:gd name="T9" fmla="*/ 24 h 26"/>
                <a:gd name="T10" fmla="*/ 13 w 25"/>
                <a:gd name="T11" fmla="*/ 26 h 26"/>
                <a:gd name="T12" fmla="*/ 8 w 25"/>
                <a:gd name="T13" fmla="*/ 24 h 26"/>
                <a:gd name="T14" fmla="*/ 4 w 25"/>
                <a:gd name="T15" fmla="*/ 23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2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2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3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5" y="8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7" name="Freeform 104">
              <a:extLst>
                <a:ext uri="{FF2B5EF4-FFF2-40B4-BE49-F238E27FC236}">
                  <a16:creationId xmlns:a16="http://schemas.microsoft.com/office/drawing/2014/main" id="{45562B5E-A2FA-C2A8-BE72-0A0A0A7E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76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3 h 26"/>
                <a:gd name="T8" fmla="*/ 17 w 25"/>
                <a:gd name="T9" fmla="*/ 24 h 26"/>
                <a:gd name="T10" fmla="*/ 13 w 25"/>
                <a:gd name="T11" fmla="*/ 26 h 26"/>
                <a:gd name="T12" fmla="*/ 8 w 25"/>
                <a:gd name="T13" fmla="*/ 24 h 26"/>
                <a:gd name="T14" fmla="*/ 4 w 25"/>
                <a:gd name="T15" fmla="*/ 23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2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2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3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5" y="8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8" name="Freeform 105">
              <a:extLst>
                <a:ext uri="{FF2B5EF4-FFF2-40B4-BE49-F238E27FC236}">
                  <a16:creationId xmlns:a16="http://schemas.microsoft.com/office/drawing/2014/main" id="{7AC49C62-746E-3FE1-7E90-B0E75791D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01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9" name="Freeform 106">
              <a:extLst>
                <a:ext uri="{FF2B5EF4-FFF2-40B4-BE49-F238E27FC236}">
                  <a16:creationId xmlns:a16="http://schemas.microsoft.com/office/drawing/2014/main" id="{FAE5F4F3-51B6-9E2A-8BEE-6D0A5AFED7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01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0" name="Freeform 107">
              <a:extLst>
                <a:ext uri="{FF2B5EF4-FFF2-40B4-BE49-F238E27FC236}">
                  <a16:creationId xmlns:a16="http://schemas.microsoft.com/office/drawing/2014/main" id="{51A0B1AE-70C3-A402-8ADC-39797D5A0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102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1" name="Freeform 108">
              <a:extLst>
                <a:ext uri="{FF2B5EF4-FFF2-40B4-BE49-F238E27FC236}">
                  <a16:creationId xmlns:a16="http://schemas.microsoft.com/office/drawing/2014/main" id="{BAB4C28B-F5C5-EEA0-E92F-00F839856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102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2" name="Freeform 109">
              <a:extLst>
                <a:ext uri="{FF2B5EF4-FFF2-40B4-BE49-F238E27FC236}">
                  <a16:creationId xmlns:a16="http://schemas.microsoft.com/office/drawing/2014/main" id="{58B39053-354D-8848-A9B8-A0DE3D60C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102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3" name="Freeform 110">
              <a:extLst>
                <a:ext uri="{FF2B5EF4-FFF2-40B4-BE49-F238E27FC236}">
                  <a16:creationId xmlns:a16="http://schemas.microsoft.com/office/drawing/2014/main" id="{8249ADAD-E685-AF8F-B5FD-1C3CCEA8C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102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4" name="Freeform 111">
              <a:extLst>
                <a:ext uri="{FF2B5EF4-FFF2-40B4-BE49-F238E27FC236}">
                  <a16:creationId xmlns:a16="http://schemas.microsoft.com/office/drawing/2014/main" id="{6065E063-75EF-0279-2E07-A68A924281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080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5" name="Freeform 112">
              <a:extLst>
                <a:ext uri="{FF2B5EF4-FFF2-40B4-BE49-F238E27FC236}">
                  <a16:creationId xmlns:a16="http://schemas.microsoft.com/office/drawing/2014/main" id="{A86E3B24-7311-012F-6F73-C4EF9BF5D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080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6" name="Freeform 113">
              <a:extLst>
                <a:ext uri="{FF2B5EF4-FFF2-40B4-BE49-F238E27FC236}">
                  <a16:creationId xmlns:a16="http://schemas.microsoft.com/office/drawing/2014/main" id="{432A1490-AAB6-44C1-A387-C740D463BF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7" name="Freeform 114">
              <a:extLst>
                <a:ext uri="{FF2B5EF4-FFF2-40B4-BE49-F238E27FC236}">
                  <a16:creationId xmlns:a16="http://schemas.microsoft.com/office/drawing/2014/main" id="{B8624107-ADBB-BAA5-E4A2-86F52CB11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8" name="Freeform 115">
              <a:extLst>
                <a:ext uri="{FF2B5EF4-FFF2-40B4-BE49-F238E27FC236}">
                  <a16:creationId xmlns:a16="http://schemas.microsoft.com/office/drawing/2014/main" id="{12715F87-E960-5218-7D43-79BBA8BC5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9" name="Freeform 116">
              <a:extLst>
                <a:ext uri="{FF2B5EF4-FFF2-40B4-BE49-F238E27FC236}">
                  <a16:creationId xmlns:a16="http://schemas.microsoft.com/office/drawing/2014/main" id="{10DA3E1F-B601-A4EB-456E-797C94489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0" name="Freeform 117">
              <a:extLst>
                <a:ext uri="{FF2B5EF4-FFF2-40B4-BE49-F238E27FC236}">
                  <a16:creationId xmlns:a16="http://schemas.microsoft.com/office/drawing/2014/main" id="{5502F5F7-E663-6BE6-D455-EAEA39E096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1" name="Freeform 118">
              <a:extLst>
                <a:ext uri="{FF2B5EF4-FFF2-40B4-BE49-F238E27FC236}">
                  <a16:creationId xmlns:a16="http://schemas.microsoft.com/office/drawing/2014/main" id="{4231B07A-589D-3BC5-1356-9437EBBDF422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2" name="Freeform 119">
              <a:extLst>
                <a:ext uri="{FF2B5EF4-FFF2-40B4-BE49-F238E27FC236}">
                  <a16:creationId xmlns:a16="http://schemas.microsoft.com/office/drawing/2014/main" id="{81DBBE38-4243-8D05-C35A-D9F13C70A8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3" name="Freeform 120">
              <a:extLst>
                <a:ext uri="{FF2B5EF4-FFF2-40B4-BE49-F238E27FC236}">
                  <a16:creationId xmlns:a16="http://schemas.microsoft.com/office/drawing/2014/main" id="{E5B89FC9-32A0-FCCE-7AAE-EE6AC2A23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4" name="Freeform 121">
              <a:extLst>
                <a:ext uri="{FF2B5EF4-FFF2-40B4-BE49-F238E27FC236}">
                  <a16:creationId xmlns:a16="http://schemas.microsoft.com/office/drawing/2014/main" id="{742E0C97-E8A5-DA23-80CC-CDFD19B5C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5" name="Freeform 122">
              <a:extLst>
                <a:ext uri="{FF2B5EF4-FFF2-40B4-BE49-F238E27FC236}">
                  <a16:creationId xmlns:a16="http://schemas.microsoft.com/office/drawing/2014/main" id="{3A98E10F-0E9F-CD1A-C6D0-62CB65759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6" name="Freeform 123">
              <a:extLst>
                <a:ext uri="{FF2B5EF4-FFF2-40B4-BE49-F238E27FC236}">
                  <a16:creationId xmlns:a16="http://schemas.microsoft.com/office/drawing/2014/main" id="{5B4C43C2-3B73-31E3-3BE0-CAE1AC295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28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7" name="Freeform 124">
              <a:extLst>
                <a:ext uri="{FF2B5EF4-FFF2-40B4-BE49-F238E27FC236}">
                  <a16:creationId xmlns:a16="http://schemas.microsoft.com/office/drawing/2014/main" id="{AC28D408-A1FA-DD5E-4BE3-A6373744C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28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8" name="Freeform 125">
              <a:extLst>
                <a:ext uri="{FF2B5EF4-FFF2-40B4-BE49-F238E27FC236}">
                  <a16:creationId xmlns:a16="http://schemas.microsoft.com/office/drawing/2014/main" id="{1D72A70A-32C5-BFE1-E5BD-043623D0E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88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7 w 26"/>
                <a:gd name="T9" fmla="*/ 25 h 26"/>
                <a:gd name="T10" fmla="*/ 13 w 26"/>
                <a:gd name="T11" fmla="*/ 26 h 26"/>
                <a:gd name="T12" fmla="*/ 7 w 26"/>
                <a:gd name="T13" fmla="*/ 25 h 26"/>
                <a:gd name="T14" fmla="*/ 4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7" y="25"/>
                  </a:lnTo>
                  <a:lnTo>
                    <a:pt x="13" y="26"/>
                  </a:lnTo>
                  <a:lnTo>
                    <a:pt x="7" y="25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9" name="Freeform 126">
              <a:extLst>
                <a:ext uri="{FF2B5EF4-FFF2-40B4-BE49-F238E27FC236}">
                  <a16:creationId xmlns:a16="http://schemas.microsoft.com/office/drawing/2014/main" id="{A60EE466-5675-724A-2BF7-57274680E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88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7 w 26"/>
                <a:gd name="T9" fmla="*/ 25 h 26"/>
                <a:gd name="T10" fmla="*/ 13 w 26"/>
                <a:gd name="T11" fmla="*/ 26 h 26"/>
                <a:gd name="T12" fmla="*/ 7 w 26"/>
                <a:gd name="T13" fmla="*/ 25 h 26"/>
                <a:gd name="T14" fmla="*/ 4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7" y="25"/>
                  </a:lnTo>
                  <a:lnTo>
                    <a:pt x="13" y="26"/>
                  </a:lnTo>
                  <a:lnTo>
                    <a:pt x="7" y="25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0" name="Freeform 127">
              <a:extLst>
                <a:ext uri="{FF2B5EF4-FFF2-40B4-BE49-F238E27FC236}">
                  <a16:creationId xmlns:a16="http://schemas.microsoft.com/office/drawing/2014/main" id="{0D679CA6-DDF4-F3FA-58A5-FC3CA9603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88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7 w 26"/>
                <a:gd name="T9" fmla="*/ 25 h 26"/>
                <a:gd name="T10" fmla="*/ 13 w 26"/>
                <a:gd name="T11" fmla="*/ 26 h 26"/>
                <a:gd name="T12" fmla="*/ 7 w 26"/>
                <a:gd name="T13" fmla="*/ 25 h 26"/>
                <a:gd name="T14" fmla="*/ 4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7" y="25"/>
                  </a:lnTo>
                  <a:lnTo>
                    <a:pt x="13" y="26"/>
                  </a:lnTo>
                  <a:lnTo>
                    <a:pt x="7" y="25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1" name="Freeform 128">
              <a:extLst>
                <a:ext uri="{FF2B5EF4-FFF2-40B4-BE49-F238E27FC236}">
                  <a16:creationId xmlns:a16="http://schemas.microsoft.com/office/drawing/2014/main" id="{794FCEBF-9693-0703-1F74-AF020EA6B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88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7 w 26"/>
                <a:gd name="T9" fmla="*/ 25 h 26"/>
                <a:gd name="T10" fmla="*/ 13 w 26"/>
                <a:gd name="T11" fmla="*/ 26 h 26"/>
                <a:gd name="T12" fmla="*/ 7 w 26"/>
                <a:gd name="T13" fmla="*/ 25 h 26"/>
                <a:gd name="T14" fmla="*/ 4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7" y="25"/>
                  </a:lnTo>
                  <a:lnTo>
                    <a:pt x="13" y="26"/>
                  </a:lnTo>
                  <a:lnTo>
                    <a:pt x="7" y="25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2" name="Freeform 129">
              <a:extLst>
                <a:ext uri="{FF2B5EF4-FFF2-40B4-BE49-F238E27FC236}">
                  <a16:creationId xmlns:a16="http://schemas.microsoft.com/office/drawing/2014/main" id="{CF0B0A0B-AF15-C2E5-549A-AC412FC8D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85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3" name="Freeform 130">
              <a:extLst>
                <a:ext uri="{FF2B5EF4-FFF2-40B4-BE49-F238E27FC236}">
                  <a16:creationId xmlns:a16="http://schemas.microsoft.com/office/drawing/2014/main" id="{E8FE411D-5A07-32D1-979B-837C00B64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85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4" name="Freeform 131">
              <a:extLst>
                <a:ext uri="{FF2B5EF4-FFF2-40B4-BE49-F238E27FC236}">
                  <a16:creationId xmlns:a16="http://schemas.microsoft.com/office/drawing/2014/main" id="{615F4BA9-64C4-5229-4D69-88CD06FA5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5" name="Freeform 132">
              <a:extLst>
                <a:ext uri="{FF2B5EF4-FFF2-40B4-BE49-F238E27FC236}">
                  <a16:creationId xmlns:a16="http://schemas.microsoft.com/office/drawing/2014/main" id="{AAFE5B5D-018B-926F-1EBE-B952F1072E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6" name="Freeform 133">
              <a:extLst>
                <a:ext uri="{FF2B5EF4-FFF2-40B4-BE49-F238E27FC236}">
                  <a16:creationId xmlns:a16="http://schemas.microsoft.com/office/drawing/2014/main" id="{946F929E-F26C-76F0-2F58-277F183CDB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7" name="Freeform 134">
              <a:extLst>
                <a:ext uri="{FF2B5EF4-FFF2-40B4-BE49-F238E27FC236}">
                  <a16:creationId xmlns:a16="http://schemas.microsoft.com/office/drawing/2014/main" id="{394ACA9A-75AD-759A-565E-66BFFAB66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8" name="Freeform 135">
              <a:extLst>
                <a:ext uri="{FF2B5EF4-FFF2-40B4-BE49-F238E27FC236}">
                  <a16:creationId xmlns:a16="http://schemas.microsoft.com/office/drawing/2014/main" id="{5B9D16BB-61FF-F781-1A08-E62F6C1250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9" name="Freeform 136">
              <a:extLst>
                <a:ext uri="{FF2B5EF4-FFF2-40B4-BE49-F238E27FC236}">
                  <a16:creationId xmlns:a16="http://schemas.microsoft.com/office/drawing/2014/main" id="{9B5B9036-C69F-78CC-E2FE-3C1B1CA95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0" name="Freeform 137">
              <a:extLst>
                <a:ext uri="{FF2B5EF4-FFF2-40B4-BE49-F238E27FC236}">
                  <a16:creationId xmlns:a16="http://schemas.microsoft.com/office/drawing/2014/main" id="{1380C729-ED47-20DB-854B-1030D1796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969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0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0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7 h 28"/>
                <a:gd name="T24" fmla="*/ 3 w 24"/>
                <a:gd name="T25" fmla="*/ 3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3 h 28"/>
                <a:gd name="T34" fmla="*/ 24 w 24"/>
                <a:gd name="T35" fmla="*/ 7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1" name="Freeform 138">
              <a:extLst>
                <a:ext uri="{FF2B5EF4-FFF2-40B4-BE49-F238E27FC236}">
                  <a16:creationId xmlns:a16="http://schemas.microsoft.com/office/drawing/2014/main" id="{26D81405-0EE6-0E6B-30D7-33FCFD6E0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969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0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0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7 h 28"/>
                <a:gd name="T24" fmla="*/ 3 w 24"/>
                <a:gd name="T25" fmla="*/ 3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3 h 28"/>
                <a:gd name="T34" fmla="*/ 24 w 24"/>
                <a:gd name="T35" fmla="*/ 7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2" name="Freeform 139">
              <a:extLst>
                <a:ext uri="{FF2B5EF4-FFF2-40B4-BE49-F238E27FC236}">
                  <a16:creationId xmlns:a16="http://schemas.microsoft.com/office/drawing/2014/main" id="{48A65FDB-C118-F889-425C-6A4870E0FC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932"/>
              <a:ext cx="26" cy="27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6 w 26"/>
                <a:gd name="T5" fmla="*/ 20 h 27"/>
                <a:gd name="T6" fmla="*/ 23 w 26"/>
                <a:gd name="T7" fmla="*/ 24 h 27"/>
                <a:gd name="T8" fmla="*/ 19 w 26"/>
                <a:gd name="T9" fmla="*/ 26 h 27"/>
                <a:gd name="T10" fmla="*/ 13 w 26"/>
                <a:gd name="T11" fmla="*/ 27 h 27"/>
                <a:gd name="T12" fmla="*/ 10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3 h 27"/>
                <a:gd name="T20" fmla="*/ 0 w 26"/>
                <a:gd name="T21" fmla="*/ 13 h 27"/>
                <a:gd name="T22" fmla="*/ 2 w 26"/>
                <a:gd name="T23" fmla="*/ 7 h 27"/>
                <a:gd name="T24" fmla="*/ 4 w 26"/>
                <a:gd name="T25" fmla="*/ 3 h 27"/>
                <a:gd name="T26" fmla="*/ 10 w 26"/>
                <a:gd name="T27" fmla="*/ 1 h 27"/>
                <a:gd name="T28" fmla="*/ 13 w 26"/>
                <a:gd name="T29" fmla="*/ 0 h 27"/>
                <a:gd name="T30" fmla="*/ 19 w 26"/>
                <a:gd name="T31" fmla="*/ 1 h 27"/>
                <a:gd name="T32" fmla="*/ 23 w 26"/>
                <a:gd name="T33" fmla="*/ 3 h 27"/>
                <a:gd name="T34" fmla="*/ 26 w 26"/>
                <a:gd name="T35" fmla="*/ 7 h 27"/>
                <a:gd name="T36" fmla="*/ 26 w 26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6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7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3" name="Freeform 140">
              <a:extLst>
                <a:ext uri="{FF2B5EF4-FFF2-40B4-BE49-F238E27FC236}">
                  <a16:creationId xmlns:a16="http://schemas.microsoft.com/office/drawing/2014/main" id="{70C3EF21-3EB7-B523-1061-E6C2E5146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932"/>
              <a:ext cx="26" cy="27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6 w 26"/>
                <a:gd name="T5" fmla="*/ 20 h 27"/>
                <a:gd name="T6" fmla="*/ 23 w 26"/>
                <a:gd name="T7" fmla="*/ 24 h 27"/>
                <a:gd name="T8" fmla="*/ 19 w 26"/>
                <a:gd name="T9" fmla="*/ 26 h 27"/>
                <a:gd name="T10" fmla="*/ 13 w 26"/>
                <a:gd name="T11" fmla="*/ 27 h 27"/>
                <a:gd name="T12" fmla="*/ 10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3 h 27"/>
                <a:gd name="T20" fmla="*/ 0 w 26"/>
                <a:gd name="T21" fmla="*/ 13 h 27"/>
                <a:gd name="T22" fmla="*/ 2 w 26"/>
                <a:gd name="T23" fmla="*/ 7 h 27"/>
                <a:gd name="T24" fmla="*/ 4 w 26"/>
                <a:gd name="T25" fmla="*/ 3 h 27"/>
                <a:gd name="T26" fmla="*/ 10 w 26"/>
                <a:gd name="T27" fmla="*/ 1 h 27"/>
                <a:gd name="T28" fmla="*/ 13 w 26"/>
                <a:gd name="T29" fmla="*/ 0 h 27"/>
                <a:gd name="T30" fmla="*/ 19 w 26"/>
                <a:gd name="T31" fmla="*/ 1 h 27"/>
                <a:gd name="T32" fmla="*/ 23 w 26"/>
                <a:gd name="T33" fmla="*/ 3 h 27"/>
                <a:gd name="T34" fmla="*/ 26 w 26"/>
                <a:gd name="T35" fmla="*/ 7 h 27"/>
                <a:gd name="T36" fmla="*/ 26 w 26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6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7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4" name="Freeform 141">
              <a:extLst>
                <a:ext uri="{FF2B5EF4-FFF2-40B4-BE49-F238E27FC236}">
                  <a16:creationId xmlns:a16="http://schemas.microsoft.com/office/drawing/2014/main" id="{03A209CF-0013-F555-97DD-5537F5C511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932"/>
              <a:ext cx="26" cy="27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6 w 26"/>
                <a:gd name="T5" fmla="*/ 20 h 27"/>
                <a:gd name="T6" fmla="*/ 23 w 26"/>
                <a:gd name="T7" fmla="*/ 24 h 27"/>
                <a:gd name="T8" fmla="*/ 19 w 26"/>
                <a:gd name="T9" fmla="*/ 26 h 27"/>
                <a:gd name="T10" fmla="*/ 13 w 26"/>
                <a:gd name="T11" fmla="*/ 27 h 27"/>
                <a:gd name="T12" fmla="*/ 10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3 h 27"/>
                <a:gd name="T20" fmla="*/ 0 w 26"/>
                <a:gd name="T21" fmla="*/ 13 h 27"/>
                <a:gd name="T22" fmla="*/ 2 w 26"/>
                <a:gd name="T23" fmla="*/ 7 h 27"/>
                <a:gd name="T24" fmla="*/ 4 w 26"/>
                <a:gd name="T25" fmla="*/ 3 h 27"/>
                <a:gd name="T26" fmla="*/ 10 w 26"/>
                <a:gd name="T27" fmla="*/ 1 h 27"/>
                <a:gd name="T28" fmla="*/ 13 w 26"/>
                <a:gd name="T29" fmla="*/ 0 h 27"/>
                <a:gd name="T30" fmla="*/ 19 w 26"/>
                <a:gd name="T31" fmla="*/ 1 h 27"/>
                <a:gd name="T32" fmla="*/ 23 w 26"/>
                <a:gd name="T33" fmla="*/ 3 h 27"/>
                <a:gd name="T34" fmla="*/ 26 w 26"/>
                <a:gd name="T35" fmla="*/ 7 h 27"/>
                <a:gd name="T36" fmla="*/ 26 w 26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6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7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5" name="Freeform 142">
              <a:extLst>
                <a:ext uri="{FF2B5EF4-FFF2-40B4-BE49-F238E27FC236}">
                  <a16:creationId xmlns:a16="http://schemas.microsoft.com/office/drawing/2014/main" id="{BA18FA40-A30B-96A2-302E-739BA1CFC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932"/>
              <a:ext cx="26" cy="27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6 w 26"/>
                <a:gd name="T5" fmla="*/ 20 h 27"/>
                <a:gd name="T6" fmla="*/ 23 w 26"/>
                <a:gd name="T7" fmla="*/ 24 h 27"/>
                <a:gd name="T8" fmla="*/ 19 w 26"/>
                <a:gd name="T9" fmla="*/ 26 h 27"/>
                <a:gd name="T10" fmla="*/ 13 w 26"/>
                <a:gd name="T11" fmla="*/ 27 h 27"/>
                <a:gd name="T12" fmla="*/ 10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3 h 27"/>
                <a:gd name="T20" fmla="*/ 0 w 26"/>
                <a:gd name="T21" fmla="*/ 13 h 27"/>
                <a:gd name="T22" fmla="*/ 2 w 26"/>
                <a:gd name="T23" fmla="*/ 7 h 27"/>
                <a:gd name="T24" fmla="*/ 4 w 26"/>
                <a:gd name="T25" fmla="*/ 3 h 27"/>
                <a:gd name="T26" fmla="*/ 10 w 26"/>
                <a:gd name="T27" fmla="*/ 1 h 27"/>
                <a:gd name="T28" fmla="*/ 13 w 26"/>
                <a:gd name="T29" fmla="*/ 0 h 27"/>
                <a:gd name="T30" fmla="*/ 19 w 26"/>
                <a:gd name="T31" fmla="*/ 1 h 27"/>
                <a:gd name="T32" fmla="*/ 23 w 26"/>
                <a:gd name="T33" fmla="*/ 3 h 27"/>
                <a:gd name="T34" fmla="*/ 26 w 26"/>
                <a:gd name="T35" fmla="*/ 7 h 27"/>
                <a:gd name="T36" fmla="*/ 26 w 26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6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7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6" name="Freeform 143">
              <a:extLst>
                <a:ext uri="{FF2B5EF4-FFF2-40B4-BE49-F238E27FC236}">
                  <a16:creationId xmlns:a16="http://schemas.microsoft.com/office/drawing/2014/main" id="{77A0C314-C923-CDBE-86AF-9F39D4F5E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" y="911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0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7" name="Freeform 144">
              <a:extLst>
                <a:ext uri="{FF2B5EF4-FFF2-40B4-BE49-F238E27FC236}">
                  <a16:creationId xmlns:a16="http://schemas.microsoft.com/office/drawing/2014/main" id="{6B8BDBC8-0470-DF5A-7D26-34C492A8B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" y="911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0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8" name="Freeform 145">
              <a:extLst>
                <a:ext uri="{FF2B5EF4-FFF2-40B4-BE49-F238E27FC236}">
                  <a16:creationId xmlns:a16="http://schemas.microsoft.com/office/drawing/2014/main" id="{6E4568D9-FECE-E36B-C41C-84601C64D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9" name="Freeform 146">
              <a:extLst>
                <a:ext uri="{FF2B5EF4-FFF2-40B4-BE49-F238E27FC236}">
                  <a16:creationId xmlns:a16="http://schemas.microsoft.com/office/drawing/2014/main" id="{9C13E792-B2D7-9B1B-D8C4-F1777FBB6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0" name="Freeform 147">
              <a:extLst>
                <a:ext uri="{FF2B5EF4-FFF2-40B4-BE49-F238E27FC236}">
                  <a16:creationId xmlns:a16="http://schemas.microsoft.com/office/drawing/2014/main" id="{03908F98-4D83-50A1-5FC1-D696DA97E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1" name="Freeform 148">
              <a:extLst>
                <a:ext uri="{FF2B5EF4-FFF2-40B4-BE49-F238E27FC236}">
                  <a16:creationId xmlns:a16="http://schemas.microsoft.com/office/drawing/2014/main" id="{2F3B40A8-11ED-8841-D9C9-AD2E1CE3D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2" name="Freeform 149">
              <a:extLst>
                <a:ext uri="{FF2B5EF4-FFF2-40B4-BE49-F238E27FC236}">
                  <a16:creationId xmlns:a16="http://schemas.microsoft.com/office/drawing/2014/main" id="{1311E629-141A-5FD2-E097-6A3186427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3" name="Freeform 150">
              <a:extLst>
                <a:ext uri="{FF2B5EF4-FFF2-40B4-BE49-F238E27FC236}">
                  <a16:creationId xmlns:a16="http://schemas.microsoft.com/office/drawing/2014/main" id="{93A032B8-BA4E-E7A0-FB11-5425E426F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4" name="Freeform 151">
              <a:extLst>
                <a:ext uri="{FF2B5EF4-FFF2-40B4-BE49-F238E27FC236}">
                  <a16:creationId xmlns:a16="http://schemas.microsoft.com/office/drawing/2014/main" id="{6BC186ED-169A-58AC-0C62-66724B73C8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06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5" name="Freeform 152">
              <a:extLst>
                <a:ext uri="{FF2B5EF4-FFF2-40B4-BE49-F238E27FC236}">
                  <a16:creationId xmlns:a16="http://schemas.microsoft.com/office/drawing/2014/main" id="{5934AFDC-700B-F4D5-CF27-1D7334F0EC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06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6" name="Freeform 153">
              <a:extLst>
                <a:ext uri="{FF2B5EF4-FFF2-40B4-BE49-F238E27FC236}">
                  <a16:creationId xmlns:a16="http://schemas.microsoft.com/office/drawing/2014/main" id="{EFEAD7E5-6B54-A0D7-4077-C24806AFB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06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7" name="Freeform 154">
              <a:extLst>
                <a:ext uri="{FF2B5EF4-FFF2-40B4-BE49-F238E27FC236}">
                  <a16:creationId xmlns:a16="http://schemas.microsoft.com/office/drawing/2014/main" id="{648B9AC6-02AE-F0AA-6AD6-94AD30D843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06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8" name="Freeform 155">
              <a:extLst>
                <a:ext uri="{FF2B5EF4-FFF2-40B4-BE49-F238E27FC236}">
                  <a16:creationId xmlns:a16="http://schemas.microsoft.com/office/drawing/2014/main" id="{0D5BB87A-E5FA-E747-896E-E5B147F43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06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9" name="Freeform 156">
              <a:extLst>
                <a:ext uri="{FF2B5EF4-FFF2-40B4-BE49-F238E27FC236}">
                  <a16:creationId xmlns:a16="http://schemas.microsoft.com/office/drawing/2014/main" id="{C7325077-8095-A5F5-A4BF-359115D40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06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0" name="Freeform 157">
              <a:extLst>
                <a:ext uri="{FF2B5EF4-FFF2-40B4-BE49-F238E27FC236}">
                  <a16:creationId xmlns:a16="http://schemas.microsoft.com/office/drawing/2014/main" id="{0DCD38E0-A79D-579E-9F41-81863F1D9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82"/>
              <a:ext cx="25" cy="28"/>
            </a:xfrm>
            <a:custGeom>
              <a:avLst/>
              <a:gdLst>
                <a:gd name="T0" fmla="*/ 25 w 25"/>
                <a:gd name="T1" fmla="*/ 15 h 28"/>
                <a:gd name="T2" fmla="*/ 25 w 25"/>
                <a:gd name="T3" fmla="*/ 15 h 28"/>
                <a:gd name="T4" fmla="*/ 25 w 25"/>
                <a:gd name="T5" fmla="*/ 20 h 28"/>
                <a:gd name="T6" fmla="*/ 21 w 25"/>
                <a:gd name="T7" fmla="*/ 24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4 h 28"/>
                <a:gd name="T16" fmla="*/ 0 w 25"/>
                <a:gd name="T17" fmla="*/ 20 h 28"/>
                <a:gd name="T18" fmla="*/ 0 w 25"/>
                <a:gd name="T19" fmla="*/ 15 h 28"/>
                <a:gd name="T20" fmla="*/ 0 w 25"/>
                <a:gd name="T21" fmla="*/ 15 h 28"/>
                <a:gd name="T22" fmla="*/ 0 w 25"/>
                <a:gd name="T23" fmla="*/ 7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7 h 28"/>
                <a:gd name="T36" fmla="*/ 25 w 25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5"/>
                  </a:moveTo>
                  <a:lnTo>
                    <a:pt x="25" y="15"/>
                  </a:lnTo>
                  <a:lnTo>
                    <a:pt x="25" y="20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5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1" name="Freeform 158">
              <a:extLst>
                <a:ext uri="{FF2B5EF4-FFF2-40B4-BE49-F238E27FC236}">
                  <a16:creationId xmlns:a16="http://schemas.microsoft.com/office/drawing/2014/main" id="{9ACC37CD-949F-2563-62DF-ACAAB5264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82"/>
              <a:ext cx="25" cy="28"/>
            </a:xfrm>
            <a:custGeom>
              <a:avLst/>
              <a:gdLst>
                <a:gd name="T0" fmla="*/ 25 w 25"/>
                <a:gd name="T1" fmla="*/ 15 h 28"/>
                <a:gd name="T2" fmla="*/ 25 w 25"/>
                <a:gd name="T3" fmla="*/ 15 h 28"/>
                <a:gd name="T4" fmla="*/ 25 w 25"/>
                <a:gd name="T5" fmla="*/ 20 h 28"/>
                <a:gd name="T6" fmla="*/ 21 w 25"/>
                <a:gd name="T7" fmla="*/ 24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4 h 28"/>
                <a:gd name="T16" fmla="*/ 0 w 25"/>
                <a:gd name="T17" fmla="*/ 20 h 28"/>
                <a:gd name="T18" fmla="*/ 0 w 25"/>
                <a:gd name="T19" fmla="*/ 15 h 28"/>
                <a:gd name="T20" fmla="*/ 0 w 25"/>
                <a:gd name="T21" fmla="*/ 15 h 28"/>
                <a:gd name="T22" fmla="*/ 0 w 25"/>
                <a:gd name="T23" fmla="*/ 7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7 h 28"/>
                <a:gd name="T36" fmla="*/ 25 w 25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5"/>
                  </a:moveTo>
                  <a:lnTo>
                    <a:pt x="25" y="15"/>
                  </a:lnTo>
                  <a:lnTo>
                    <a:pt x="25" y="20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5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2" name="Freeform 159">
              <a:extLst>
                <a:ext uri="{FF2B5EF4-FFF2-40B4-BE49-F238E27FC236}">
                  <a16:creationId xmlns:a16="http://schemas.microsoft.com/office/drawing/2014/main" id="{9E8A8C1D-D902-BEBF-E736-58C1EF047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06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3" name="Freeform 160">
              <a:extLst>
                <a:ext uri="{FF2B5EF4-FFF2-40B4-BE49-F238E27FC236}">
                  <a16:creationId xmlns:a16="http://schemas.microsoft.com/office/drawing/2014/main" id="{6B300B83-959B-A42A-B839-D070339EBA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06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4" name="Freeform 161">
              <a:extLst>
                <a:ext uri="{FF2B5EF4-FFF2-40B4-BE49-F238E27FC236}">
                  <a16:creationId xmlns:a16="http://schemas.microsoft.com/office/drawing/2014/main" id="{6EA30266-4EE7-4FA7-5773-C4F7069422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063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3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3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5" name="Freeform 162">
              <a:extLst>
                <a:ext uri="{FF2B5EF4-FFF2-40B4-BE49-F238E27FC236}">
                  <a16:creationId xmlns:a16="http://schemas.microsoft.com/office/drawing/2014/main" id="{0833CAC0-8BDC-C0D6-D5FD-263E32F83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063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3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3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6" name="Freeform 163">
              <a:extLst>
                <a:ext uri="{FF2B5EF4-FFF2-40B4-BE49-F238E27FC236}">
                  <a16:creationId xmlns:a16="http://schemas.microsoft.com/office/drawing/2014/main" id="{7EB4C044-EAF6-EA15-9D2D-89F28A05D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07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5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7" name="Freeform 164">
              <a:extLst>
                <a:ext uri="{FF2B5EF4-FFF2-40B4-BE49-F238E27FC236}">
                  <a16:creationId xmlns:a16="http://schemas.microsoft.com/office/drawing/2014/main" id="{8D3DDAD1-3675-7161-1FE9-B122A0A3D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07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5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8" name="Freeform 165">
              <a:extLst>
                <a:ext uri="{FF2B5EF4-FFF2-40B4-BE49-F238E27FC236}">
                  <a16:creationId xmlns:a16="http://schemas.microsoft.com/office/drawing/2014/main" id="{96650289-0D15-F98C-E82F-0A457D8E73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073"/>
              <a:ext cx="24" cy="27"/>
            </a:xfrm>
            <a:custGeom>
              <a:avLst/>
              <a:gdLst>
                <a:gd name="T0" fmla="*/ 24 w 24"/>
                <a:gd name="T1" fmla="*/ 13 h 27"/>
                <a:gd name="T2" fmla="*/ 24 w 24"/>
                <a:gd name="T3" fmla="*/ 13 h 27"/>
                <a:gd name="T4" fmla="*/ 24 w 24"/>
                <a:gd name="T5" fmla="*/ 20 h 27"/>
                <a:gd name="T6" fmla="*/ 20 w 24"/>
                <a:gd name="T7" fmla="*/ 24 h 27"/>
                <a:gd name="T8" fmla="*/ 17 w 24"/>
                <a:gd name="T9" fmla="*/ 26 h 27"/>
                <a:gd name="T10" fmla="*/ 11 w 24"/>
                <a:gd name="T11" fmla="*/ 27 h 27"/>
                <a:gd name="T12" fmla="*/ 7 w 24"/>
                <a:gd name="T13" fmla="*/ 26 h 27"/>
                <a:gd name="T14" fmla="*/ 4 w 24"/>
                <a:gd name="T15" fmla="*/ 24 h 27"/>
                <a:gd name="T16" fmla="*/ 0 w 24"/>
                <a:gd name="T17" fmla="*/ 20 h 27"/>
                <a:gd name="T18" fmla="*/ 0 w 24"/>
                <a:gd name="T19" fmla="*/ 13 h 27"/>
                <a:gd name="T20" fmla="*/ 0 w 24"/>
                <a:gd name="T21" fmla="*/ 13 h 27"/>
                <a:gd name="T22" fmla="*/ 0 w 24"/>
                <a:gd name="T23" fmla="*/ 7 h 27"/>
                <a:gd name="T24" fmla="*/ 4 w 24"/>
                <a:gd name="T25" fmla="*/ 3 h 27"/>
                <a:gd name="T26" fmla="*/ 7 w 24"/>
                <a:gd name="T27" fmla="*/ 1 h 27"/>
                <a:gd name="T28" fmla="*/ 11 w 24"/>
                <a:gd name="T29" fmla="*/ 0 h 27"/>
                <a:gd name="T30" fmla="*/ 17 w 24"/>
                <a:gd name="T31" fmla="*/ 1 h 27"/>
                <a:gd name="T32" fmla="*/ 20 w 24"/>
                <a:gd name="T33" fmla="*/ 3 h 27"/>
                <a:gd name="T34" fmla="*/ 24 w 24"/>
                <a:gd name="T35" fmla="*/ 7 h 27"/>
                <a:gd name="T36" fmla="*/ 24 w 24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7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1" y="27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9" name="Freeform 166">
              <a:extLst>
                <a:ext uri="{FF2B5EF4-FFF2-40B4-BE49-F238E27FC236}">
                  <a16:creationId xmlns:a16="http://schemas.microsoft.com/office/drawing/2014/main" id="{22AC9CF0-E0B2-2060-8536-361CEBC3E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073"/>
              <a:ext cx="24" cy="27"/>
            </a:xfrm>
            <a:custGeom>
              <a:avLst/>
              <a:gdLst>
                <a:gd name="T0" fmla="*/ 24 w 24"/>
                <a:gd name="T1" fmla="*/ 13 h 27"/>
                <a:gd name="T2" fmla="*/ 24 w 24"/>
                <a:gd name="T3" fmla="*/ 13 h 27"/>
                <a:gd name="T4" fmla="*/ 24 w 24"/>
                <a:gd name="T5" fmla="*/ 20 h 27"/>
                <a:gd name="T6" fmla="*/ 20 w 24"/>
                <a:gd name="T7" fmla="*/ 24 h 27"/>
                <a:gd name="T8" fmla="*/ 17 w 24"/>
                <a:gd name="T9" fmla="*/ 26 h 27"/>
                <a:gd name="T10" fmla="*/ 11 w 24"/>
                <a:gd name="T11" fmla="*/ 27 h 27"/>
                <a:gd name="T12" fmla="*/ 7 w 24"/>
                <a:gd name="T13" fmla="*/ 26 h 27"/>
                <a:gd name="T14" fmla="*/ 4 w 24"/>
                <a:gd name="T15" fmla="*/ 24 h 27"/>
                <a:gd name="T16" fmla="*/ 0 w 24"/>
                <a:gd name="T17" fmla="*/ 20 h 27"/>
                <a:gd name="T18" fmla="*/ 0 w 24"/>
                <a:gd name="T19" fmla="*/ 13 h 27"/>
                <a:gd name="T20" fmla="*/ 0 w 24"/>
                <a:gd name="T21" fmla="*/ 13 h 27"/>
                <a:gd name="T22" fmla="*/ 0 w 24"/>
                <a:gd name="T23" fmla="*/ 7 h 27"/>
                <a:gd name="T24" fmla="*/ 4 w 24"/>
                <a:gd name="T25" fmla="*/ 3 h 27"/>
                <a:gd name="T26" fmla="*/ 7 w 24"/>
                <a:gd name="T27" fmla="*/ 1 h 27"/>
                <a:gd name="T28" fmla="*/ 11 w 24"/>
                <a:gd name="T29" fmla="*/ 0 h 27"/>
                <a:gd name="T30" fmla="*/ 17 w 24"/>
                <a:gd name="T31" fmla="*/ 1 h 27"/>
                <a:gd name="T32" fmla="*/ 20 w 24"/>
                <a:gd name="T33" fmla="*/ 3 h 27"/>
                <a:gd name="T34" fmla="*/ 24 w 24"/>
                <a:gd name="T35" fmla="*/ 7 h 27"/>
                <a:gd name="T36" fmla="*/ 24 w 24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7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1" y="27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0" name="Freeform 167">
              <a:extLst>
                <a:ext uri="{FF2B5EF4-FFF2-40B4-BE49-F238E27FC236}">
                  <a16:creationId xmlns:a16="http://schemas.microsoft.com/office/drawing/2014/main" id="{190527C6-CEB6-E1F3-3624-ADAF4AB277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" y="1080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0 h 28"/>
                <a:gd name="T6" fmla="*/ 20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0 w 26"/>
                <a:gd name="T23" fmla="*/ 7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0 w 26"/>
                <a:gd name="T33" fmla="*/ 4 h 28"/>
                <a:gd name="T34" fmla="*/ 24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1" name="Freeform 168">
              <a:extLst>
                <a:ext uri="{FF2B5EF4-FFF2-40B4-BE49-F238E27FC236}">
                  <a16:creationId xmlns:a16="http://schemas.microsoft.com/office/drawing/2014/main" id="{895DBFE4-0CE1-969B-D853-5652608B2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" y="1080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0 h 28"/>
                <a:gd name="T6" fmla="*/ 20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0 w 26"/>
                <a:gd name="T23" fmla="*/ 7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0 w 26"/>
                <a:gd name="T33" fmla="*/ 4 h 28"/>
                <a:gd name="T34" fmla="*/ 24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2" name="Freeform 169">
              <a:extLst>
                <a:ext uri="{FF2B5EF4-FFF2-40B4-BE49-F238E27FC236}">
                  <a16:creationId xmlns:a16="http://schemas.microsoft.com/office/drawing/2014/main" id="{61B7BF73-7A8A-AE2B-93D2-DD4AD9E7D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3" name="Freeform 170">
              <a:extLst>
                <a:ext uri="{FF2B5EF4-FFF2-40B4-BE49-F238E27FC236}">
                  <a16:creationId xmlns:a16="http://schemas.microsoft.com/office/drawing/2014/main" id="{8A30CC51-B92D-0E28-4426-409760EEF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4" name="Freeform 171">
              <a:extLst>
                <a:ext uri="{FF2B5EF4-FFF2-40B4-BE49-F238E27FC236}">
                  <a16:creationId xmlns:a16="http://schemas.microsoft.com/office/drawing/2014/main" id="{E30CC713-1128-B021-D416-D861DAD23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5" name="Freeform 172">
              <a:extLst>
                <a:ext uri="{FF2B5EF4-FFF2-40B4-BE49-F238E27FC236}">
                  <a16:creationId xmlns:a16="http://schemas.microsoft.com/office/drawing/2014/main" id="{537A9B4A-B6DD-96B3-CD16-149A1816F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6" name="Freeform 173">
              <a:extLst>
                <a:ext uri="{FF2B5EF4-FFF2-40B4-BE49-F238E27FC236}">
                  <a16:creationId xmlns:a16="http://schemas.microsoft.com/office/drawing/2014/main" id="{04D99F3E-07FB-A0E3-AF2D-7B9F6D1F1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7" name="Freeform 174">
              <a:extLst>
                <a:ext uri="{FF2B5EF4-FFF2-40B4-BE49-F238E27FC236}">
                  <a16:creationId xmlns:a16="http://schemas.microsoft.com/office/drawing/2014/main" id="{684B947A-46D2-4BBB-9039-16208740AA8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8" name="Freeform 175">
              <a:extLst>
                <a:ext uri="{FF2B5EF4-FFF2-40B4-BE49-F238E27FC236}">
                  <a16:creationId xmlns:a16="http://schemas.microsoft.com/office/drawing/2014/main" id="{CD8AA4CE-022B-6F4A-BAF5-AF7E3AD6D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9" name="Freeform 176">
              <a:extLst>
                <a:ext uri="{FF2B5EF4-FFF2-40B4-BE49-F238E27FC236}">
                  <a16:creationId xmlns:a16="http://schemas.microsoft.com/office/drawing/2014/main" id="{025C01D3-97DD-CC3B-C3A4-E1935F5BBB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0" name="Freeform 177">
              <a:extLst>
                <a:ext uri="{FF2B5EF4-FFF2-40B4-BE49-F238E27FC236}">
                  <a16:creationId xmlns:a16="http://schemas.microsoft.com/office/drawing/2014/main" id="{BC1A511B-0BEA-A58B-6805-357ED70C4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273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1" name="Freeform 178">
              <a:extLst>
                <a:ext uri="{FF2B5EF4-FFF2-40B4-BE49-F238E27FC236}">
                  <a16:creationId xmlns:a16="http://schemas.microsoft.com/office/drawing/2014/main" id="{5AC11B48-54D6-89E8-87CC-DAAAD03A1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273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2" name="Freeform 179">
              <a:extLst>
                <a:ext uri="{FF2B5EF4-FFF2-40B4-BE49-F238E27FC236}">
                  <a16:creationId xmlns:a16="http://schemas.microsoft.com/office/drawing/2014/main" id="{64D87BAA-FC86-6783-BBE1-7AC843CC5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" y="1147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5 w 26"/>
                <a:gd name="T5" fmla="*/ 20 h 28"/>
                <a:gd name="T6" fmla="*/ 23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5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5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3" name="Freeform 180">
              <a:extLst>
                <a:ext uri="{FF2B5EF4-FFF2-40B4-BE49-F238E27FC236}">
                  <a16:creationId xmlns:a16="http://schemas.microsoft.com/office/drawing/2014/main" id="{B6193098-3AE5-A315-BFB3-5E2E10C288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" y="1147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5 w 26"/>
                <a:gd name="T5" fmla="*/ 20 h 28"/>
                <a:gd name="T6" fmla="*/ 23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5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5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4" name="Freeform 181">
              <a:extLst>
                <a:ext uri="{FF2B5EF4-FFF2-40B4-BE49-F238E27FC236}">
                  <a16:creationId xmlns:a16="http://schemas.microsoft.com/office/drawing/2014/main" id="{6D9DFAF4-0DB0-68AD-1E84-7F21372588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0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5" name="Freeform 182">
              <a:extLst>
                <a:ext uri="{FF2B5EF4-FFF2-40B4-BE49-F238E27FC236}">
                  <a16:creationId xmlns:a16="http://schemas.microsoft.com/office/drawing/2014/main" id="{6E90A227-97A6-6EFC-107D-E3B999E6E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0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6" name="Freeform 183">
              <a:extLst>
                <a:ext uri="{FF2B5EF4-FFF2-40B4-BE49-F238E27FC236}">
                  <a16:creationId xmlns:a16="http://schemas.microsoft.com/office/drawing/2014/main" id="{8DA890AF-06BF-A83E-12DA-588CFD7E9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0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7" name="Freeform 184">
              <a:extLst>
                <a:ext uri="{FF2B5EF4-FFF2-40B4-BE49-F238E27FC236}">
                  <a16:creationId xmlns:a16="http://schemas.microsoft.com/office/drawing/2014/main" id="{5ACF02AD-03E8-CC70-F14E-6E35FEA43B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0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8" name="Freeform 185">
              <a:extLst>
                <a:ext uri="{FF2B5EF4-FFF2-40B4-BE49-F238E27FC236}">
                  <a16:creationId xmlns:a16="http://schemas.microsoft.com/office/drawing/2014/main" id="{33BA146D-4F63-B8E1-14DF-B9D48A9DC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136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9" name="Freeform 186">
              <a:extLst>
                <a:ext uri="{FF2B5EF4-FFF2-40B4-BE49-F238E27FC236}">
                  <a16:creationId xmlns:a16="http://schemas.microsoft.com/office/drawing/2014/main" id="{95618F64-1281-0337-7684-D54522C31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136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0" name="Freeform 187">
              <a:extLst>
                <a:ext uri="{FF2B5EF4-FFF2-40B4-BE49-F238E27FC236}">
                  <a16:creationId xmlns:a16="http://schemas.microsoft.com/office/drawing/2014/main" id="{F0739DF0-E03B-A098-CB9E-3AB328643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136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8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8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3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3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5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1" name="Freeform 188">
              <a:extLst>
                <a:ext uri="{FF2B5EF4-FFF2-40B4-BE49-F238E27FC236}">
                  <a16:creationId xmlns:a16="http://schemas.microsoft.com/office/drawing/2014/main" id="{9CF81018-B4DD-59C1-C740-EF600B4BAA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136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8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8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3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3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5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2" name="Freeform 189">
              <a:extLst>
                <a:ext uri="{FF2B5EF4-FFF2-40B4-BE49-F238E27FC236}">
                  <a16:creationId xmlns:a16="http://schemas.microsoft.com/office/drawing/2014/main" id="{165E9417-555B-C775-DDAC-61F0438EE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13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3" name="Freeform 190">
              <a:extLst>
                <a:ext uri="{FF2B5EF4-FFF2-40B4-BE49-F238E27FC236}">
                  <a16:creationId xmlns:a16="http://schemas.microsoft.com/office/drawing/2014/main" id="{231D729B-CDA5-5829-6793-4E3C70994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13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4" name="Freeform 191">
              <a:extLst>
                <a:ext uri="{FF2B5EF4-FFF2-40B4-BE49-F238E27FC236}">
                  <a16:creationId xmlns:a16="http://schemas.microsoft.com/office/drawing/2014/main" id="{8E4FDA83-9317-8B12-EB49-FA5ED6ED6C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15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4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8 w 24"/>
                <a:gd name="T27" fmla="*/ 2 h 26"/>
                <a:gd name="T28" fmla="*/ 11 w 24"/>
                <a:gd name="T29" fmla="*/ 0 h 26"/>
                <a:gd name="T30" fmla="*/ 17 w 24"/>
                <a:gd name="T31" fmla="*/ 2 h 26"/>
                <a:gd name="T32" fmla="*/ 21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5" name="Freeform 192">
              <a:extLst>
                <a:ext uri="{FF2B5EF4-FFF2-40B4-BE49-F238E27FC236}">
                  <a16:creationId xmlns:a16="http://schemas.microsoft.com/office/drawing/2014/main" id="{DB843A20-FCAF-321A-0C3D-4C0E36483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15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4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8 w 24"/>
                <a:gd name="T27" fmla="*/ 2 h 26"/>
                <a:gd name="T28" fmla="*/ 11 w 24"/>
                <a:gd name="T29" fmla="*/ 0 h 26"/>
                <a:gd name="T30" fmla="*/ 17 w 24"/>
                <a:gd name="T31" fmla="*/ 2 h 26"/>
                <a:gd name="T32" fmla="*/ 21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6" name="Freeform 193">
              <a:extLst>
                <a:ext uri="{FF2B5EF4-FFF2-40B4-BE49-F238E27FC236}">
                  <a16:creationId xmlns:a16="http://schemas.microsoft.com/office/drawing/2014/main" id="{509AB14D-03A7-B5AE-B973-E9D4304187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15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7" name="Freeform 194">
              <a:extLst>
                <a:ext uri="{FF2B5EF4-FFF2-40B4-BE49-F238E27FC236}">
                  <a16:creationId xmlns:a16="http://schemas.microsoft.com/office/drawing/2014/main" id="{BB12AE61-D5A9-833E-E46D-9B645D486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15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8" name="Freeform 195">
              <a:extLst>
                <a:ext uri="{FF2B5EF4-FFF2-40B4-BE49-F238E27FC236}">
                  <a16:creationId xmlns:a16="http://schemas.microsoft.com/office/drawing/2014/main" id="{7B7B0802-4FFB-2D52-64CA-455B3E44F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195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1 h 28"/>
                <a:gd name="T6" fmla="*/ 20 w 24"/>
                <a:gd name="T7" fmla="*/ 24 h 28"/>
                <a:gd name="T8" fmla="*/ 17 w 24"/>
                <a:gd name="T9" fmla="*/ 26 h 28"/>
                <a:gd name="T10" fmla="*/ 11 w 24"/>
                <a:gd name="T11" fmla="*/ 28 h 28"/>
                <a:gd name="T12" fmla="*/ 7 w 24"/>
                <a:gd name="T13" fmla="*/ 26 h 28"/>
                <a:gd name="T14" fmla="*/ 4 w 24"/>
                <a:gd name="T15" fmla="*/ 24 h 28"/>
                <a:gd name="T16" fmla="*/ 0 w 24"/>
                <a:gd name="T17" fmla="*/ 21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8 h 28"/>
                <a:gd name="T24" fmla="*/ 4 w 24"/>
                <a:gd name="T25" fmla="*/ 4 h 28"/>
                <a:gd name="T26" fmla="*/ 7 w 24"/>
                <a:gd name="T27" fmla="*/ 2 h 28"/>
                <a:gd name="T28" fmla="*/ 11 w 24"/>
                <a:gd name="T29" fmla="*/ 0 h 28"/>
                <a:gd name="T30" fmla="*/ 17 w 24"/>
                <a:gd name="T31" fmla="*/ 2 h 28"/>
                <a:gd name="T32" fmla="*/ 20 w 24"/>
                <a:gd name="T33" fmla="*/ 4 h 28"/>
                <a:gd name="T34" fmla="*/ 24 w 24"/>
                <a:gd name="T35" fmla="*/ 8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1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5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9" name="Freeform 196">
              <a:extLst>
                <a:ext uri="{FF2B5EF4-FFF2-40B4-BE49-F238E27FC236}">
                  <a16:creationId xmlns:a16="http://schemas.microsoft.com/office/drawing/2014/main" id="{5561D795-D191-5D88-829F-473692AB9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195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1 h 28"/>
                <a:gd name="T6" fmla="*/ 20 w 24"/>
                <a:gd name="T7" fmla="*/ 24 h 28"/>
                <a:gd name="T8" fmla="*/ 17 w 24"/>
                <a:gd name="T9" fmla="*/ 26 h 28"/>
                <a:gd name="T10" fmla="*/ 11 w 24"/>
                <a:gd name="T11" fmla="*/ 28 h 28"/>
                <a:gd name="T12" fmla="*/ 7 w 24"/>
                <a:gd name="T13" fmla="*/ 26 h 28"/>
                <a:gd name="T14" fmla="*/ 4 w 24"/>
                <a:gd name="T15" fmla="*/ 24 h 28"/>
                <a:gd name="T16" fmla="*/ 0 w 24"/>
                <a:gd name="T17" fmla="*/ 21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8 h 28"/>
                <a:gd name="T24" fmla="*/ 4 w 24"/>
                <a:gd name="T25" fmla="*/ 4 h 28"/>
                <a:gd name="T26" fmla="*/ 7 w 24"/>
                <a:gd name="T27" fmla="*/ 2 h 28"/>
                <a:gd name="T28" fmla="*/ 11 w 24"/>
                <a:gd name="T29" fmla="*/ 0 h 28"/>
                <a:gd name="T30" fmla="*/ 17 w 24"/>
                <a:gd name="T31" fmla="*/ 2 h 28"/>
                <a:gd name="T32" fmla="*/ 20 w 24"/>
                <a:gd name="T33" fmla="*/ 4 h 28"/>
                <a:gd name="T34" fmla="*/ 24 w 24"/>
                <a:gd name="T35" fmla="*/ 8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1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5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0" name="Freeform 197">
              <a:extLst>
                <a:ext uri="{FF2B5EF4-FFF2-40B4-BE49-F238E27FC236}">
                  <a16:creationId xmlns:a16="http://schemas.microsoft.com/office/drawing/2014/main" id="{D0C770C9-450C-3D91-83D3-34FFC926D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1204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6 w 26"/>
                <a:gd name="T5" fmla="*/ 21 h 28"/>
                <a:gd name="T6" fmla="*/ 23 w 26"/>
                <a:gd name="T7" fmla="*/ 25 h 28"/>
                <a:gd name="T8" fmla="*/ 19 w 26"/>
                <a:gd name="T9" fmla="*/ 26 h 28"/>
                <a:gd name="T10" fmla="*/ 13 w 26"/>
                <a:gd name="T11" fmla="*/ 28 h 28"/>
                <a:gd name="T12" fmla="*/ 10 w 26"/>
                <a:gd name="T13" fmla="*/ 26 h 28"/>
                <a:gd name="T14" fmla="*/ 4 w 26"/>
                <a:gd name="T15" fmla="*/ 25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10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6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6" y="21"/>
                  </a:lnTo>
                  <a:lnTo>
                    <a:pt x="23" y="25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10" y="26"/>
                  </a:lnTo>
                  <a:lnTo>
                    <a:pt x="4" y="25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1" name="Freeform 198">
              <a:extLst>
                <a:ext uri="{FF2B5EF4-FFF2-40B4-BE49-F238E27FC236}">
                  <a16:creationId xmlns:a16="http://schemas.microsoft.com/office/drawing/2014/main" id="{D0FF660F-E936-BD89-925A-2EF413E018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1204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6 w 26"/>
                <a:gd name="T5" fmla="*/ 21 h 28"/>
                <a:gd name="T6" fmla="*/ 23 w 26"/>
                <a:gd name="T7" fmla="*/ 25 h 28"/>
                <a:gd name="T8" fmla="*/ 19 w 26"/>
                <a:gd name="T9" fmla="*/ 26 h 28"/>
                <a:gd name="T10" fmla="*/ 13 w 26"/>
                <a:gd name="T11" fmla="*/ 28 h 28"/>
                <a:gd name="T12" fmla="*/ 10 w 26"/>
                <a:gd name="T13" fmla="*/ 26 h 28"/>
                <a:gd name="T14" fmla="*/ 4 w 26"/>
                <a:gd name="T15" fmla="*/ 25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10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6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6" y="21"/>
                  </a:lnTo>
                  <a:lnTo>
                    <a:pt x="23" y="25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10" y="26"/>
                  </a:lnTo>
                  <a:lnTo>
                    <a:pt x="4" y="25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2" name="Freeform 199">
              <a:extLst>
                <a:ext uri="{FF2B5EF4-FFF2-40B4-BE49-F238E27FC236}">
                  <a16:creationId xmlns:a16="http://schemas.microsoft.com/office/drawing/2014/main" id="{E3085DD3-F6AF-C71D-83AD-979A14A66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648"/>
              <a:ext cx="1339" cy="394"/>
            </a:xfrm>
            <a:custGeom>
              <a:avLst/>
              <a:gdLst>
                <a:gd name="T0" fmla="*/ 0 w 1339"/>
                <a:gd name="T1" fmla="*/ 394 h 394"/>
                <a:gd name="T2" fmla="*/ 804 w 1339"/>
                <a:gd name="T3" fmla="*/ 394 h 394"/>
                <a:gd name="T4" fmla="*/ 898 w 1339"/>
                <a:gd name="T5" fmla="*/ 266 h 394"/>
                <a:gd name="T6" fmla="*/ 993 w 1339"/>
                <a:gd name="T7" fmla="*/ 394 h 394"/>
                <a:gd name="T8" fmla="*/ 1088 w 1339"/>
                <a:gd name="T9" fmla="*/ 394 h 394"/>
                <a:gd name="T10" fmla="*/ 1183 w 1339"/>
                <a:gd name="T11" fmla="*/ 260 h 394"/>
                <a:gd name="T12" fmla="*/ 1277 w 1339"/>
                <a:gd name="T13" fmla="*/ 47 h 394"/>
                <a:gd name="T14" fmla="*/ 1339 w 1339"/>
                <a:gd name="T1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9" h="394">
                  <a:moveTo>
                    <a:pt x="0" y="394"/>
                  </a:moveTo>
                  <a:lnTo>
                    <a:pt x="804" y="394"/>
                  </a:lnTo>
                  <a:lnTo>
                    <a:pt x="898" y="266"/>
                  </a:lnTo>
                  <a:lnTo>
                    <a:pt x="993" y="394"/>
                  </a:lnTo>
                  <a:lnTo>
                    <a:pt x="1088" y="394"/>
                  </a:lnTo>
                  <a:lnTo>
                    <a:pt x="1183" y="260"/>
                  </a:lnTo>
                  <a:lnTo>
                    <a:pt x="1277" y="47"/>
                  </a:lnTo>
                  <a:lnTo>
                    <a:pt x="1339" y="0"/>
                  </a:lnTo>
                </a:path>
              </a:pathLst>
            </a:custGeom>
            <a:noFill/>
            <a:ln w="11113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3" name="Freeform 200">
              <a:extLst>
                <a:ext uri="{FF2B5EF4-FFF2-40B4-BE49-F238E27FC236}">
                  <a16:creationId xmlns:a16="http://schemas.microsoft.com/office/drawing/2014/main" id="{E14D47BC-4183-FD56-4E5D-9A3D9C573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1880"/>
              <a:ext cx="901" cy="162"/>
            </a:xfrm>
            <a:custGeom>
              <a:avLst/>
              <a:gdLst>
                <a:gd name="T0" fmla="*/ 0 w 901"/>
                <a:gd name="T1" fmla="*/ 162 h 162"/>
                <a:gd name="T2" fmla="*/ 819 w 901"/>
                <a:gd name="T3" fmla="*/ 162 h 162"/>
                <a:gd name="T4" fmla="*/ 901 w 901"/>
                <a:gd name="T5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01" h="162">
                  <a:moveTo>
                    <a:pt x="0" y="162"/>
                  </a:moveTo>
                  <a:lnTo>
                    <a:pt x="819" y="162"/>
                  </a:lnTo>
                  <a:lnTo>
                    <a:pt x="901" y="0"/>
                  </a:lnTo>
                </a:path>
              </a:pathLst>
            </a:custGeom>
            <a:noFill/>
            <a:ln w="11113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4" name="Freeform 201">
              <a:extLst>
                <a:ext uri="{FF2B5EF4-FFF2-40B4-BE49-F238E27FC236}">
                  <a16:creationId xmlns:a16="http://schemas.microsoft.com/office/drawing/2014/main" id="{D3B38ABD-A347-B7AA-3CF5-B385523206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689"/>
              <a:ext cx="1419" cy="353"/>
            </a:xfrm>
            <a:custGeom>
              <a:avLst/>
              <a:gdLst>
                <a:gd name="T0" fmla="*/ 0 w 1419"/>
                <a:gd name="T1" fmla="*/ 353 h 353"/>
                <a:gd name="T2" fmla="*/ 378 w 1419"/>
                <a:gd name="T3" fmla="*/ 353 h 353"/>
                <a:gd name="T4" fmla="*/ 471 w 1419"/>
                <a:gd name="T5" fmla="*/ 0 h 353"/>
                <a:gd name="T6" fmla="*/ 520 w 1419"/>
                <a:gd name="T7" fmla="*/ 89 h 353"/>
                <a:gd name="T8" fmla="*/ 566 w 1419"/>
                <a:gd name="T9" fmla="*/ 184 h 353"/>
                <a:gd name="T10" fmla="*/ 614 w 1419"/>
                <a:gd name="T11" fmla="*/ 221 h 353"/>
                <a:gd name="T12" fmla="*/ 709 w 1419"/>
                <a:gd name="T13" fmla="*/ 154 h 353"/>
                <a:gd name="T14" fmla="*/ 804 w 1419"/>
                <a:gd name="T15" fmla="*/ 193 h 353"/>
                <a:gd name="T16" fmla="*/ 898 w 1419"/>
                <a:gd name="T17" fmla="*/ 294 h 353"/>
                <a:gd name="T18" fmla="*/ 993 w 1419"/>
                <a:gd name="T19" fmla="*/ 247 h 353"/>
                <a:gd name="T20" fmla="*/ 1088 w 1419"/>
                <a:gd name="T21" fmla="*/ 106 h 353"/>
                <a:gd name="T22" fmla="*/ 1175 w 1419"/>
                <a:gd name="T23" fmla="*/ 125 h 353"/>
                <a:gd name="T24" fmla="*/ 1277 w 1419"/>
                <a:gd name="T25" fmla="*/ 82 h 353"/>
                <a:gd name="T26" fmla="*/ 1372 w 1419"/>
                <a:gd name="T27" fmla="*/ 43 h 353"/>
                <a:gd name="T28" fmla="*/ 1419 w 1419"/>
                <a:gd name="T29" fmla="*/ 4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19" h="353">
                  <a:moveTo>
                    <a:pt x="0" y="353"/>
                  </a:moveTo>
                  <a:lnTo>
                    <a:pt x="378" y="353"/>
                  </a:lnTo>
                  <a:lnTo>
                    <a:pt x="471" y="0"/>
                  </a:lnTo>
                  <a:lnTo>
                    <a:pt x="520" y="89"/>
                  </a:lnTo>
                  <a:lnTo>
                    <a:pt x="566" y="184"/>
                  </a:lnTo>
                  <a:lnTo>
                    <a:pt x="614" y="221"/>
                  </a:lnTo>
                  <a:lnTo>
                    <a:pt x="709" y="154"/>
                  </a:lnTo>
                  <a:lnTo>
                    <a:pt x="804" y="193"/>
                  </a:lnTo>
                  <a:lnTo>
                    <a:pt x="898" y="294"/>
                  </a:lnTo>
                  <a:lnTo>
                    <a:pt x="993" y="247"/>
                  </a:lnTo>
                  <a:lnTo>
                    <a:pt x="1088" y="106"/>
                  </a:lnTo>
                  <a:lnTo>
                    <a:pt x="1175" y="125"/>
                  </a:lnTo>
                  <a:lnTo>
                    <a:pt x="1277" y="82"/>
                  </a:lnTo>
                  <a:lnTo>
                    <a:pt x="1372" y="43"/>
                  </a:lnTo>
                  <a:lnTo>
                    <a:pt x="1419" y="48"/>
                  </a:lnTo>
                </a:path>
              </a:pathLst>
            </a:custGeom>
            <a:noFill/>
            <a:ln w="11113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5" name="Freeform 202">
              <a:extLst>
                <a:ext uri="{FF2B5EF4-FFF2-40B4-BE49-F238E27FC236}">
                  <a16:creationId xmlns:a16="http://schemas.microsoft.com/office/drawing/2014/main" id="{542C0838-4AAE-A72D-F09B-6691F8EEF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684"/>
              <a:ext cx="1339" cy="343"/>
            </a:xfrm>
            <a:custGeom>
              <a:avLst/>
              <a:gdLst>
                <a:gd name="T0" fmla="*/ 0 w 1339"/>
                <a:gd name="T1" fmla="*/ 343 h 343"/>
                <a:gd name="T2" fmla="*/ 1183 w 1339"/>
                <a:gd name="T3" fmla="*/ 343 h 343"/>
                <a:gd name="T4" fmla="*/ 1270 w 1339"/>
                <a:gd name="T5" fmla="*/ 3 h 343"/>
                <a:gd name="T6" fmla="*/ 1339 w 1339"/>
                <a:gd name="T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39" h="343">
                  <a:moveTo>
                    <a:pt x="0" y="343"/>
                  </a:moveTo>
                  <a:lnTo>
                    <a:pt x="1183" y="343"/>
                  </a:lnTo>
                  <a:lnTo>
                    <a:pt x="1270" y="3"/>
                  </a:lnTo>
                  <a:lnTo>
                    <a:pt x="1339" y="0"/>
                  </a:lnTo>
                </a:path>
              </a:pathLst>
            </a:custGeom>
            <a:noFill/>
            <a:ln w="11113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6" name="Freeform 203">
              <a:extLst>
                <a:ext uri="{FF2B5EF4-FFF2-40B4-BE49-F238E27FC236}">
                  <a16:creationId xmlns:a16="http://schemas.microsoft.com/office/drawing/2014/main" id="{CE2C1D5B-A9BF-3EB9-94A8-AB8E882FE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739"/>
              <a:ext cx="1237" cy="288"/>
            </a:xfrm>
            <a:custGeom>
              <a:avLst/>
              <a:gdLst>
                <a:gd name="T0" fmla="*/ 0 w 1237"/>
                <a:gd name="T1" fmla="*/ 288 h 288"/>
                <a:gd name="T2" fmla="*/ 189 w 1237"/>
                <a:gd name="T3" fmla="*/ 288 h 288"/>
                <a:gd name="T4" fmla="*/ 284 w 1237"/>
                <a:gd name="T5" fmla="*/ 199 h 288"/>
                <a:gd name="T6" fmla="*/ 330 w 1237"/>
                <a:gd name="T7" fmla="*/ 153 h 288"/>
                <a:gd name="T8" fmla="*/ 378 w 1237"/>
                <a:gd name="T9" fmla="*/ 91 h 288"/>
                <a:gd name="T10" fmla="*/ 425 w 1237"/>
                <a:gd name="T11" fmla="*/ 101 h 288"/>
                <a:gd name="T12" fmla="*/ 471 w 1237"/>
                <a:gd name="T13" fmla="*/ 0 h 288"/>
                <a:gd name="T14" fmla="*/ 520 w 1237"/>
                <a:gd name="T15" fmla="*/ 39 h 288"/>
                <a:gd name="T16" fmla="*/ 566 w 1237"/>
                <a:gd name="T17" fmla="*/ 39 h 288"/>
                <a:gd name="T18" fmla="*/ 614 w 1237"/>
                <a:gd name="T19" fmla="*/ 4 h 288"/>
                <a:gd name="T20" fmla="*/ 709 w 1237"/>
                <a:gd name="T21" fmla="*/ 28 h 288"/>
                <a:gd name="T22" fmla="*/ 804 w 1237"/>
                <a:gd name="T23" fmla="*/ 26 h 288"/>
                <a:gd name="T24" fmla="*/ 906 w 1237"/>
                <a:gd name="T25" fmla="*/ 52 h 288"/>
                <a:gd name="T26" fmla="*/ 993 w 1237"/>
                <a:gd name="T27" fmla="*/ 41 h 288"/>
                <a:gd name="T28" fmla="*/ 1081 w 1237"/>
                <a:gd name="T29" fmla="*/ 15 h 288"/>
                <a:gd name="T30" fmla="*/ 1183 w 1237"/>
                <a:gd name="T31" fmla="*/ 10 h 288"/>
                <a:gd name="T32" fmla="*/ 1237 w 1237"/>
                <a:gd name="T33" fmla="*/ 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37" h="288">
                  <a:moveTo>
                    <a:pt x="0" y="288"/>
                  </a:moveTo>
                  <a:lnTo>
                    <a:pt x="189" y="288"/>
                  </a:lnTo>
                  <a:lnTo>
                    <a:pt x="284" y="199"/>
                  </a:lnTo>
                  <a:lnTo>
                    <a:pt x="330" y="153"/>
                  </a:lnTo>
                  <a:lnTo>
                    <a:pt x="378" y="91"/>
                  </a:lnTo>
                  <a:lnTo>
                    <a:pt x="425" y="101"/>
                  </a:lnTo>
                  <a:lnTo>
                    <a:pt x="471" y="0"/>
                  </a:lnTo>
                  <a:lnTo>
                    <a:pt x="520" y="39"/>
                  </a:lnTo>
                  <a:lnTo>
                    <a:pt x="566" y="39"/>
                  </a:lnTo>
                  <a:lnTo>
                    <a:pt x="614" y="4"/>
                  </a:lnTo>
                  <a:lnTo>
                    <a:pt x="709" y="28"/>
                  </a:lnTo>
                  <a:lnTo>
                    <a:pt x="804" y="26"/>
                  </a:lnTo>
                  <a:lnTo>
                    <a:pt x="906" y="52"/>
                  </a:lnTo>
                  <a:lnTo>
                    <a:pt x="993" y="41"/>
                  </a:lnTo>
                  <a:lnTo>
                    <a:pt x="1081" y="15"/>
                  </a:lnTo>
                  <a:lnTo>
                    <a:pt x="1183" y="10"/>
                  </a:lnTo>
                  <a:lnTo>
                    <a:pt x="1237" y="8"/>
                  </a:lnTo>
                </a:path>
              </a:pathLst>
            </a:custGeom>
            <a:noFill/>
            <a:ln w="11113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7" name="Freeform 204">
              <a:extLst>
                <a:ext uri="{FF2B5EF4-FFF2-40B4-BE49-F238E27FC236}">
                  <a16:creationId xmlns:a16="http://schemas.microsoft.com/office/drawing/2014/main" id="{3B5583DB-A0D3-47A1-75B2-B9AEDF8F2AD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1656"/>
              <a:ext cx="860" cy="371"/>
            </a:xfrm>
            <a:custGeom>
              <a:avLst/>
              <a:gdLst>
                <a:gd name="T0" fmla="*/ 0 w 860"/>
                <a:gd name="T1" fmla="*/ 371 h 371"/>
                <a:gd name="T2" fmla="*/ 711 w 860"/>
                <a:gd name="T3" fmla="*/ 371 h 371"/>
                <a:gd name="T4" fmla="*/ 806 w 860"/>
                <a:gd name="T5" fmla="*/ 0 h 371"/>
                <a:gd name="T6" fmla="*/ 860 w 860"/>
                <a:gd name="T7" fmla="*/ 37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0" h="371">
                  <a:moveTo>
                    <a:pt x="0" y="371"/>
                  </a:moveTo>
                  <a:lnTo>
                    <a:pt x="711" y="371"/>
                  </a:lnTo>
                  <a:lnTo>
                    <a:pt x="806" y="0"/>
                  </a:lnTo>
                  <a:lnTo>
                    <a:pt x="860" y="37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</p:grpSp>
      <p:grpSp>
        <p:nvGrpSpPr>
          <p:cNvPr id="14" name="Group 406">
            <a:extLst>
              <a:ext uri="{FF2B5EF4-FFF2-40B4-BE49-F238E27FC236}">
                <a16:creationId xmlns:a16="http://schemas.microsoft.com/office/drawing/2014/main" id="{AF16BA0A-8830-B59B-5AF8-40D43E9EDD7C}"/>
              </a:ext>
            </a:extLst>
          </p:cNvPr>
          <p:cNvGrpSpPr>
            <a:grpSpLocks/>
          </p:cNvGrpSpPr>
          <p:nvPr/>
        </p:nvGrpSpPr>
        <p:grpSpPr bwMode="auto">
          <a:xfrm>
            <a:off x="1771652" y="3460751"/>
            <a:ext cx="3058584" cy="889000"/>
            <a:chOff x="837" y="1635"/>
            <a:chExt cx="1445" cy="420"/>
          </a:xfrm>
        </p:grpSpPr>
        <p:sp>
          <p:nvSpPr>
            <p:cNvPr id="438" name="Freeform 206">
              <a:extLst>
                <a:ext uri="{FF2B5EF4-FFF2-40B4-BE49-F238E27FC236}">
                  <a16:creationId xmlns:a16="http://schemas.microsoft.com/office/drawing/2014/main" id="{9280705E-316C-D48B-C9D0-7E5C438AA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723"/>
              <a:ext cx="850" cy="304"/>
            </a:xfrm>
            <a:custGeom>
              <a:avLst/>
              <a:gdLst>
                <a:gd name="T0" fmla="*/ 0 w 850"/>
                <a:gd name="T1" fmla="*/ 304 h 304"/>
                <a:gd name="T2" fmla="*/ 284 w 850"/>
                <a:gd name="T3" fmla="*/ 304 h 304"/>
                <a:gd name="T4" fmla="*/ 378 w 850"/>
                <a:gd name="T5" fmla="*/ 91 h 304"/>
                <a:gd name="T6" fmla="*/ 425 w 850"/>
                <a:gd name="T7" fmla="*/ 0 h 304"/>
                <a:gd name="T8" fmla="*/ 471 w 850"/>
                <a:gd name="T9" fmla="*/ 139 h 304"/>
                <a:gd name="T10" fmla="*/ 520 w 850"/>
                <a:gd name="T11" fmla="*/ 131 h 304"/>
                <a:gd name="T12" fmla="*/ 566 w 850"/>
                <a:gd name="T13" fmla="*/ 131 h 304"/>
                <a:gd name="T14" fmla="*/ 614 w 850"/>
                <a:gd name="T15" fmla="*/ 118 h 304"/>
                <a:gd name="T16" fmla="*/ 709 w 850"/>
                <a:gd name="T17" fmla="*/ 109 h 304"/>
                <a:gd name="T18" fmla="*/ 796 w 850"/>
                <a:gd name="T19" fmla="*/ 91 h 304"/>
                <a:gd name="T20" fmla="*/ 850 w 850"/>
                <a:gd name="T21" fmla="*/ 81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0" h="304">
                  <a:moveTo>
                    <a:pt x="0" y="304"/>
                  </a:moveTo>
                  <a:lnTo>
                    <a:pt x="284" y="304"/>
                  </a:lnTo>
                  <a:lnTo>
                    <a:pt x="378" y="91"/>
                  </a:lnTo>
                  <a:lnTo>
                    <a:pt x="425" y="0"/>
                  </a:lnTo>
                  <a:lnTo>
                    <a:pt x="471" y="139"/>
                  </a:lnTo>
                  <a:lnTo>
                    <a:pt x="520" y="131"/>
                  </a:lnTo>
                  <a:lnTo>
                    <a:pt x="566" y="131"/>
                  </a:lnTo>
                  <a:lnTo>
                    <a:pt x="614" y="118"/>
                  </a:lnTo>
                  <a:lnTo>
                    <a:pt x="709" y="109"/>
                  </a:lnTo>
                  <a:lnTo>
                    <a:pt x="796" y="91"/>
                  </a:lnTo>
                  <a:lnTo>
                    <a:pt x="850" y="81"/>
                  </a:lnTo>
                </a:path>
              </a:pathLst>
            </a:custGeom>
            <a:noFill/>
            <a:ln w="11113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9" name="Freeform 207">
              <a:extLst>
                <a:ext uri="{FF2B5EF4-FFF2-40B4-BE49-F238E27FC236}">
                  <a16:creationId xmlns:a16="http://schemas.microsoft.com/office/drawing/2014/main" id="{B1F90524-E0EF-8712-C93E-AB9D0B8C5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0" name="Freeform 208">
              <a:extLst>
                <a:ext uri="{FF2B5EF4-FFF2-40B4-BE49-F238E27FC236}">
                  <a16:creationId xmlns:a16="http://schemas.microsoft.com/office/drawing/2014/main" id="{1EE67FB0-F374-F7F4-83D7-AF465A16E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1" name="Freeform 209">
              <a:extLst>
                <a:ext uri="{FF2B5EF4-FFF2-40B4-BE49-F238E27FC236}">
                  <a16:creationId xmlns:a16="http://schemas.microsoft.com/office/drawing/2014/main" id="{A16E65E9-8CC9-74F1-AA3D-7F85FC1B2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2" name="Freeform 210">
              <a:extLst>
                <a:ext uri="{FF2B5EF4-FFF2-40B4-BE49-F238E27FC236}">
                  <a16:creationId xmlns:a16="http://schemas.microsoft.com/office/drawing/2014/main" id="{97B6E137-D25B-E3F3-5493-FF6DF0827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3" name="Freeform 211">
              <a:extLst>
                <a:ext uri="{FF2B5EF4-FFF2-40B4-BE49-F238E27FC236}">
                  <a16:creationId xmlns:a16="http://schemas.microsoft.com/office/drawing/2014/main" id="{4D6C1F8F-2592-2A8C-7600-46458EAB2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4" name="Freeform 212">
              <a:extLst>
                <a:ext uri="{FF2B5EF4-FFF2-40B4-BE49-F238E27FC236}">
                  <a16:creationId xmlns:a16="http://schemas.microsoft.com/office/drawing/2014/main" id="{DC4D0C2C-FC41-A840-4AA8-E9874AC3AB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5" name="Freeform 213">
              <a:extLst>
                <a:ext uri="{FF2B5EF4-FFF2-40B4-BE49-F238E27FC236}">
                  <a16:creationId xmlns:a16="http://schemas.microsoft.com/office/drawing/2014/main" id="{792C5674-264A-DE76-97F4-1B14092CE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6" name="Freeform 214">
              <a:extLst>
                <a:ext uri="{FF2B5EF4-FFF2-40B4-BE49-F238E27FC236}">
                  <a16:creationId xmlns:a16="http://schemas.microsoft.com/office/drawing/2014/main" id="{825F4E5C-C5B8-693F-FC23-9BF2195B16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7" name="Freeform 215">
              <a:extLst>
                <a:ext uri="{FF2B5EF4-FFF2-40B4-BE49-F238E27FC236}">
                  <a16:creationId xmlns:a16="http://schemas.microsoft.com/office/drawing/2014/main" id="{1014CB2A-D6FD-9446-60DF-E403CE879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029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4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4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4 h 26"/>
                <a:gd name="T26" fmla="*/ 8 w 25"/>
                <a:gd name="T27" fmla="*/ 2 h 26"/>
                <a:gd name="T28" fmla="*/ 13 w 25"/>
                <a:gd name="T29" fmla="*/ 0 h 26"/>
                <a:gd name="T30" fmla="*/ 17 w 25"/>
                <a:gd name="T31" fmla="*/ 2 h 26"/>
                <a:gd name="T32" fmla="*/ 21 w 25"/>
                <a:gd name="T33" fmla="*/ 4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8" name="Freeform 216">
              <a:extLst>
                <a:ext uri="{FF2B5EF4-FFF2-40B4-BE49-F238E27FC236}">
                  <a16:creationId xmlns:a16="http://schemas.microsoft.com/office/drawing/2014/main" id="{27020B46-FECD-385E-B644-75D07D357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029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4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4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4 h 26"/>
                <a:gd name="T26" fmla="*/ 8 w 25"/>
                <a:gd name="T27" fmla="*/ 2 h 26"/>
                <a:gd name="T28" fmla="*/ 13 w 25"/>
                <a:gd name="T29" fmla="*/ 0 h 26"/>
                <a:gd name="T30" fmla="*/ 17 w 25"/>
                <a:gd name="T31" fmla="*/ 2 h 26"/>
                <a:gd name="T32" fmla="*/ 21 w 25"/>
                <a:gd name="T33" fmla="*/ 4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9" name="Freeform 217">
              <a:extLst>
                <a:ext uri="{FF2B5EF4-FFF2-40B4-BE49-F238E27FC236}">
                  <a16:creationId xmlns:a16="http://schemas.microsoft.com/office/drawing/2014/main" id="{745EABB7-907E-D32E-6D34-F80A2D81B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4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8 w 24"/>
                <a:gd name="T27" fmla="*/ 2 h 26"/>
                <a:gd name="T28" fmla="*/ 11 w 24"/>
                <a:gd name="T29" fmla="*/ 0 h 26"/>
                <a:gd name="T30" fmla="*/ 17 w 24"/>
                <a:gd name="T31" fmla="*/ 2 h 26"/>
                <a:gd name="T32" fmla="*/ 21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0" name="Freeform 218">
              <a:extLst>
                <a:ext uri="{FF2B5EF4-FFF2-40B4-BE49-F238E27FC236}">
                  <a16:creationId xmlns:a16="http://schemas.microsoft.com/office/drawing/2014/main" id="{5E49142B-F35D-3212-AD20-61008F263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4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8 w 24"/>
                <a:gd name="T27" fmla="*/ 2 h 26"/>
                <a:gd name="T28" fmla="*/ 11 w 24"/>
                <a:gd name="T29" fmla="*/ 0 h 26"/>
                <a:gd name="T30" fmla="*/ 17 w 24"/>
                <a:gd name="T31" fmla="*/ 2 h 26"/>
                <a:gd name="T32" fmla="*/ 21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1" name="Freeform 219">
              <a:extLst>
                <a:ext uri="{FF2B5EF4-FFF2-40B4-BE49-F238E27FC236}">
                  <a16:creationId xmlns:a16="http://schemas.microsoft.com/office/drawing/2014/main" id="{CD03FBDA-3A6B-BD8A-83CB-AAEC85374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1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2" name="Freeform 220">
              <a:extLst>
                <a:ext uri="{FF2B5EF4-FFF2-40B4-BE49-F238E27FC236}">
                  <a16:creationId xmlns:a16="http://schemas.microsoft.com/office/drawing/2014/main" id="{314CA389-41D1-32EC-966C-72BA2EC74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1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3" name="Freeform 221">
              <a:extLst>
                <a:ext uri="{FF2B5EF4-FFF2-40B4-BE49-F238E27FC236}">
                  <a16:creationId xmlns:a16="http://schemas.microsoft.com/office/drawing/2014/main" id="{9A296AC6-B077-BBE5-6819-6460E2E621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4" name="Freeform 222">
              <a:extLst>
                <a:ext uri="{FF2B5EF4-FFF2-40B4-BE49-F238E27FC236}">
                  <a16:creationId xmlns:a16="http://schemas.microsoft.com/office/drawing/2014/main" id="{42C8C6B7-EAD8-CC14-0848-2E12358E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5" name="Freeform 223">
              <a:extLst>
                <a:ext uri="{FF2B5EF4-FFF2-40B4-BE49-F238E27FC236}">
                  <a16:creationId xmlns:a16="http://schemas.microsoft.com/office/drawing/2014/main" id="{5D86A067-66DC-8C36-16EB-27BB7BDC7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6" name="Freeform 224">
              <a:extLst>
                <a:ext uri="{FF2B5EF4-FFF2-40B4-BE49-F238E27FC236}">
                  <a16:creationId xmlns:a16="http://schemas.microsoft.com/office/drawing/2014/main" id="{F4394B97-EFA3-83BF-653F-6779A4BB7C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7" name="Freeform 225">
              <a:extLst>
                <a:ext uri="{FF2B5EF4-FFF2-40B4-BE49-F238E27FC236}">
                  <a16:creationId xmlns:a16="http://schemas.microsoft.com/office/drawing/2014/main" id="{270461D5-1B0D-DD60-A22D-B13F72242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1901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5 w 26"/>
                <a:gd name="T5" fmla="*/ 20 h 28"/>
                <a:gd name="T6" fmla="*/ 23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5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5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8" name="Freeform 226">
              <a:extLst>
                <a:ext uri="{FF2B5EF4-FFF2-40B4-BE49-F238E27FC236}">
                  <a16:creationId xmlns:a16="http://schemas.microsoft.com/office/drawing/2014/main" id="{25C61D98-C8E0-9F59-45D8-B22EEDA6DF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1901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5 w 26"/>
                <a:gd name="T5" fmla="*/ 20 h 28"/>
                <a:gd name="T6" fmla="*/ 23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5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5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9" name="Freeform 227">
              <a:extLst>
                <a:ext uri="{FF2B5EF4-FFF2-40B4-BE49-F238E27FC236}">
                  <a16:creationId xmlns:a16="http://schemas.microsoft.com/office/drawing/2014/main" id="{BB44F9BD-51E3-CEDA-A05A-A4302AB58E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0" name="Freeform 228">
              <a:extLst>
                <a:ext uri="{FF2B5EF4-FFF2-40B4-BE49-F238E27FC236}">
                  <a16:creationId xmlns:a16="http://schemas.microsoft.com/office/drawing/2014/main" id="{54C245B5-4711-E100-97C0-71F8803B3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1" name="Freeform 229">
              <a:extLst>
                <a:ext uri="{FF2B5EF4-FFF2-40B4-BE49-F238E27FC236}">
                  <a16:creationId xmlns:a16="http://schemas.microsoft.com/office/drawing/2014/main" id="{60023536-ED17-8F72-B8FD-CD024CDC9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2" name="Freeform 230">
              <a:extLst>
                <a:ext uri="{FF2B5EF4-FFF2-40B4-BE49-F238E27FC236}">
                  <a16:creationId xmlns:a16="http://schemas.microsoft.com/office/drawing/2014/main" id="{369E0653-0789-A107-46C6-297A18713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3" name="Freeform 231">
              <a:extLst>
                <a:ext uri="{FF2B5EF4-FFF2-40B4-BE49-F238E27FC236}">
                  <a16:creationId xmlns:a16="http://schemas.microsoft.com/office/drawing/2014/main" id="{6340D370-C4F8-E104-54BC-220BE43A8A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189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4" name="Freeform 232">
              <a:extLst>
                <a:ext uri="{FF2B5EF4-FFF2-40B4-BE49-F238E27FC236}">
                  <a16:creationId xmlns:a16="http://schemas.microsoft.com/office/drawing/2014/main" id="{0C731DFA-7EA1-D7D2-6B63-7004CEC49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189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5" name="Freeform 233">
              <a:extLst>
                <a:ext uri="{FF2B5EF4-FFF2-40B4-BE49-F238E27FC236}">
                  <a16:creationId xmlns:a16="http://schemas.microsoft.com/office/drawing/2014/main" id="{E78FEE3D-1E1F-2912-D6D2-4FEBE85B8B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168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6" name="Freeform 234">
              <a:extLst>
                <a:ext uri="{FF2B5EF4-FFF2-40B4-BE49-F238E27FC236}">
                  <a16:creationId xmlns:a16="http://schemas.microsoft.com/office/drawing/2014/main" id="{87A36675-3E97-3365-7843-7F7A563CB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168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7" name="Freeform 235">
              <a:extLst>
                <a:ext uri="{FF2B5EF4-FFF2-40B4-BE49-F238E27FC236}">
                  <a16:creationId xmlns:a16="http://schemas.microsoft.com/office/drawing/2014/main" id="{388A6C7D-1450-04B1-6EEF-E2563D22C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163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3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8" name="Freeform 236">
              <a:extLst>
                <a:ext uri="{FF2B5EF4-FFF2-40B4-BE49-F238E27FC236}">
                  <a16:creationId xmlns:a16="http://schemas.microsoft.com/office/drawing/2014/main" id="{A16FF052-6E95-06F3-3C7E-C507F8196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163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3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9" name="Freeform 237">
              <a:extLst>
                <a:ext uri="{FF2B5EF4-FFF2-40B4-BE49-F238E27FC236}">
                  <a16:creationId xmlns:a16="http://schemas.microsoft.com/office/drawing/2014/main" id="{ACEE359E-9781-E555-1052-5FF0F961A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0" name="Freeform 238">
              <a:extLst>
                <a:ext uri="{FF2B5EF4-FFF2-40B4-BE49-F238E27FC236}">
                  <a16:creationId xmlns:a16="http://schemas.microsoft.com/office/drawing/2014/main" id="{1B94496D-F4C9-7EA8-E04F-0AC9130A6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1" name="Freeform 239">
              <a:extLst>
                <a:ext uri="{FF2B5EF4-FFF2-40B4-BE49-F238E27FC236}">
                  <a16:creationId xmlns:a16="http://schemas.microsoft.com/office/drawing/2014/main" id="{047DDA67-8591-A3B0-D740-DD49A5C8C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2" name="Freeform 240">
              <a:extLst>
                <a:ext uri="{FF2B5EF4-FFF2-40B4-BE49-F238E27FC236}">
                  <a16:creationId xmlns:a16="http://schemas.microsoft.com/office/drawing/2014/main" id="{15474132-4BC2-310D-9E4B-A3B766315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3" name="Freeform 241">
              <a:extLst>
                <a:ext uri="{FF2B5EF4-FFF2-40B4-BE49-F238E27FC236}">
                  <a16:creationId xmlns:a16="http://schemas.microsoft.com/office/drawing/2014/main" id="{29C91C58-B392-53C5-B59B-C832849CC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4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4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4" name="Freeform 242">
              <a:extLst>
                <a:ext uri="{FF2B5EF4-FFF2-40B4-BE49-F238E27FC236}">
                  <a16:creationId xmlns:a16="http://schemas.microsoft.com/office/drawing/2014/main" id="{734A74A3-F165-78C8-9DE6-32D5ADF82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4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4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5" name="Freeform 243">
              <a:extLst>
                <a:ext uri="{FF2B5EF4-FFF2-40B4-BE49-F238E27FC236}">
                  <a16:creationId xmlns:a16="http://schemas.microsoft.com/office/drawing/2014/main" id="{C0CCB34C-C6CD-CC55-5504-4B5F3BFB4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10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6" name="Freeform 244">
              <a:extLst>
                <a:ext uri="{FF2B5EF4-FFF2-40B4-BE49-F238E27FC236}">
                  <a16:creationId xmlns:a16="http://schemas.microsoft.com/office/drawing/2014/main" id="{0856EDF6-6318-7DBF-67DF-E33A5AD19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10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7" name="Freeform 245">
              <a:extLst>
                <a:ext uri="{FF2B5EF4-FFF2-40B4-BE49-F238E27FC236}">
                  <a16:creationId xmlns:a16="http://schemas.microsoft.com/office/drawing/2014/main" id="{41590879-1730-8FC6-86FF-B4F615C06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8" name="Freeform 246">
              <a:extLst>
                <a:ext uri="{FF2B5EF4-FFF2-40B4-BE49-F238E27FC236}">
                  <a16:creationId xmlns:a16="http://schemas.microsoft.com/office/drawing/2014/main" id="{20FC808F-57EF-86C2-3613-44FF12BBE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9" name="Freeform 247">
              <a:extLst>
                <a:ext uri="{FF2B5EF4-FFF2-40B4-BE49-F238E27FC236}">
                  <a16:creationId xmlns:a16="http://schemas.microsoft.com/office/drawing/2014/main" id="{49A3F620-26D1-9AAD-28DC-5F5948EB2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0" name="Freeform 248">
              <a:extLst>
                <a:ext uri="{FF2B5EF4-FFF2-40B4-BE49-F238E27FC236}">
                  <a16:creationId xmlns:a16="http://schemas.microsoft.com/office/drawing/2014/main" id="{582B5DBF-2E68-5F49-00AA-283A028103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1" name="Freeform 249">
              <a:extLst>
                <a:ext uri="{FF2B5EF4-FFF2-40B4-BE49-F238E27FC236}">
                  <a16:creationId xmlns:a16="http://schemas.microsoft.com/office/drawing/2014/main" id="{BF8735B8-74D8-289F-FA9E-3F884247C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10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2" name="Freeform 250">
              <a:extLst>
                <a:ext uri="{FF2B5EF4-FFF2-40B4-BE49-F238E27FC236}">
                  <a16:creationId xmlns:a16="http://schemas.microsoft.com/office/drawing/2014/main" id="{4FD35944-D87D-E8BF-34EB-4EED6E951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10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3" name="Freeform 251">
              <a:extLst>
                <a:ext uri="{FF2B5EF4-FFF2-40B4-BE49-F238E27FC236}">
                  <a16:creationId xmlns:a16="http://schemas.microsoft.com/office/drawing/2014/main" id="{4F78A029-015E-0FB0-B6E2-EA7024C8E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3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4" name="Freeform 252">
              <a:extLst>
                <a:ext uri="{FF2B5EF4-FFF2-40B4-BE49-F238E27FC236}">
                  <a16:creationId xmlns:a16="http://schemas.microsoft.com/office/drawing/2014/main" id="{1FA4EB19-7031-63ED-4F72-2D38CA36FF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3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5" name="Freeform 253">
              <a:extLst>
                <a:ext uri="{FF2B5EF4-FFF2-40B4-BE49-F238E27FC236}">
                  <a16:creationId xmlns:a16="http://schemas.microsoft.com/office/drawing/2014/main" id="{9AB43DA7-2890-C519-D190-6AD3C0FB6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6" name="Freeform 254">
              <a:extLst>
                <a:ext uri="{FF2B5EF4-FFF2-40B4-BE49-F238E27FC236}">
                  <a16:creationId xmlns:a16="http://schemas.microsoft.com/office/drawing/2014/main" id="{86B60E5A-D0FD-A559-F50A-4C4186317B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7" name="Freeform 255">
              <a:extLst>
                <a:ext uri="{FF2B5EF4-FFF2-40B4-BE49-F238E27FC236}">
                  <a16:creationId xmlns:a16="http://schemas.microsoft.com/office/drawing/2014/main" id="{A7453CDF-D77D-43B4-FF86-C66C33114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3" y="1866"/>
              <a:ext cx="26" cy="27"/>
            </a:xfrm>
            <a:custGeom>
              <a:avLst/>
              <a:gdLst>
                <a:gd name="T0" fmla="*/ 26 w 26"/>
                <a:gd name="T1" fmla="*/ 14 h 27"/>
                <a:gd name="T2" fmla="*/ 26 w 26"/>
                <a:gd name="T3" fmla="*/ 14 h 27"/>
                <a:gd name="T4" fmla="*/ 24 w 26"/>
                <a:gd name="T5" fmla="*/ 20 h 27"/>
                <a:gd name="T6" fmla="*/ 20 w 26"/>
                <a:gd name="T7" fmla="*/ 24 h 27"/>
                <a:gd name="T8" fmla="*/ 17 w 26"/>
                <a:gd name="T9" fmla="*/ 26 h 27"/>
                <a:gd name="T10" fmla="*/ 13 w 26"/>
                <a:gd name="T11" fmla="*/ 27 h 27"/>
                <a:gd name="T12" fmla="*/ 7 w 26"/>
                <a:gd name="T13" fmla="*/ 26 h 27"/>
                <a:gd name="T14" fmla="*/ 4 w 26"/>
                <a:gd name="T15" fmla="*/ 24 h 27"/>
                <a:gd name="T16" fmla="*/ 0 w 26"/>
                <a:gd name="T17" fmla="*/ 20 h 27"/>
                <a:gd name="T18" fmla="*/ 0 w 26"/>
                <a:gd name="T19" fmla="*/ 14 h 27"/>
                <a:gd name="T20" fmla="*/ 0 w 26"/>
                <a:gd name="T21" fmla="*/ 14 h 27"/>
                <a:gd name="T22" fmla="*/ 0 w 26"/>
                <a:gd name="T23" fmla="*/ 7 h 27"/>
                <a:gd name="T24" fmla="*/ 4 w 26"/>
                <a:gd name="T25" fmla="*/ 3 h 27"/>
                <a:gd name="T26" fmla="*/ 7 w 26"/>
                <a:gd name="T27" fmla="*/ 1 h 27"/>
                <a:gd name="T28" fmla="*/ 13 w 26"/>
                <a:gd name="T29" fmla="*/ 0 h 27"/>
                <a:gd name="T30" fmla="*/ 17 w 26"/>
                <a:gd name="T31" fmla="*/ 1 h 27"/>
                <a:gd name="T32" fmla="*/ 20 w 26"/>
                <a:gd name="T33" fmla="*/ 3 h 27"/>
                <a:gd name="T34" fmla="*/ 24 w 26"/>
                <a:gd name="T35" fmla="*/ 7 h 27"/>
                <a:gd name="T36" fmla="*/ 26 w 26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4"/>
                  </a:moveTo>
                  <a:lnTo>
                    <a:pt x="26" y="14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7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6" y="14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8" name="Freeform 256">
              <a:extLst>
                <a:ext uri="{FF2B5EF4-FFF2-40B4-BE49-F238E27FC236}">
                  <a16:creationId xmlns:a16="http://schemas.microsoft.com/office/drawing/2014/main" id="{0B2A34C9-A16F-F60C-3A6E-4D9C2966C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3" y="1866"/>
              <a:ext cx="26" cy="27"/>
            </a:xfrm>
            <a:custGeom>
              <a:avLst/>
              <a:gdLst>
                <a:gd name="T0" fmla="*/ 26 w 26"/>
                <a:gd name="T1" fmla="*/ 14 h 27"/>
                <a:gd name="T2" fmla="*/ 26 w 26"/>
                <a:gd name="T3" fmla="*/ 14 h 27"/>
                <a:gd name="T4" fmla="*/ 24 w 26"/>
                <a:gd name="T5" fmla="*/ 20 h 27"/>
                <a:gd name="T6" fmla="*/ 20 w 26"/>
                <a:gd name="T7" fmla="*/ 24 h 27"/>
                <a:gd name="T8" fmla="*/ 17 w 26"/>
                <a:gd name="T9" fmla="*/ 26 h 27"/>
                <a:gd name="T10" fmla="*/ 13 w 26"/>
                <a:gd name="T11" fmla="*/ 27 h 27"/>
                <a:gd name="T12" fmla="*/ 7 w 26"/>
                <a:gd name="T13" fmla="*/ 26 h 27"/>
                <a:gd name="T14" fmla="*/ 4 w 26"/>
                <a:gd name="T15" fmla="*/ 24 h 27"/>
                <a:gd name="T16" fmla="*/ 0 w 26"/>
                <a:gd name="T17" fmla="*/ 20 h 27"/>
                <a:gd name="T18" fmla="*/ 0 w 26"/>
                <a:gd name="T19" fmla="*/ 14 h 27"/>
                <a:gd name="T20" fmla="*/ 0 w 26"/>
                <a:gd name="T21" fmla="*/ 14 h 27"/>
                <a:gd name="T22" fmla="*/ 0 w 26"/>
                <a:gd name="T23" fmla="*/ 7 h 27"/>
                <a:gd name="T24" fmla="*/ 4 w 26"/>
                <a:gd name="T25" fmla="*/ 3 h 27"/>
                <a:gd name="T26" fmla="*/ 7 w 26"/>
                <a:gd name="T27" fmla="*/ 1 h 27"/>
                <a:gd name="T28" fmla="*/ 13 w 26"/>
                <a:gd name="T29" fmla="*/ 0 h 27"/>
                <a:gd name="T30" fmla="*/ 17 w 26"/>
                <a:gd name="T31" fmla="*/ 1 h 27"/>
                <a:gd name="T32" fmla="*/ 20 w 26"/>
                <a:gd name="T33" fmla="*/ 3 h 27"/>
                <a:gd name="T34" fmla="*/ 24 w 26"/>
                <a:gd name="T35" fmla="*/ 7 h 27"/>
                <a:gd name="T36" fmla="*/ 26 w 26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4"/>
                  </a:moveTo>
                  <a:lnTo>
                    <a:pt x="26" y="14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7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6" y="14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9" name="Freeform 257">
              <a:extLst>
                <a:ext uri="{FF2B5EF4-FFF2-40B4-BE49-F238E27FC236}">
                  <a16:creationId xmlns:a16="http://schemas.microsoft.com/office/drawing/2014/main" id="{E069CCB3-B2D6-0255-E2CF-1F94420AA7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0" name="Freeform 258">
              <a:extLst>
                <a:ext uri="{FF2B5EF4-FFF2-40B4-BE49-F238E27FC236}">
                  <a16:creationId xmlns:a16="http://schemas.microsoft.com/office/drawing/2014/main" id="{D27540C7-38F8-5906-4868-B27D1A735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1" name="Freeform 259">
              <a:extLst>
                <a:ext uri="{FF2B5EF4-FFF2-40B4-BE49-F238E27FC236}">
                  <a16:creationId xmlns:a16="http://schemas.microsoft.com/office/drawing/2014/main" id="{75571905-B69E-1ABA-E292-375BB2F72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2" name="Freeform 260">
              <a:extLst>
                <a:ext uri="{FF2B5EF4-FFF2-40B4-BE49-F238E27FC236}">
                  <a16:creationId xmlns:a16="http://schemas.microsoft.com/office/drawing/2014/main" id="{2A42528B-EBE9-8FAE-43F3-788461D81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3" name="Freeform 261">
              <a:extLst>
                <a:ext uri="{FF2B5EF4-FFF2-40B4-BE49-F238E27FC236}">
                  <a16:creationId xmlns:a16="http://schemas.microsoft.com/office/drawing/2014/main" id="{B05DAFFC-D38C-6B5F-E804-7497D3CCBA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4" name="Freeform 262">
              <a:extLst>
                <a:ext uri="{FF2B5EF4-FFF2-40B4-BE49-F238E27FC236}">
                  <a16:creationId xmlns:a16="http://schemas.microsoft.com/office/drawing/2014/main" id="{8EDF2A7B-ADB2-DECB-512D-56E38BF47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5" name="Freeform 263">
              <a:extLst>
                <a:ext uri="{FF2B5EF4-FFF2-40B4-BE49-F238E27FC236}">
                  <a16:creationId xmlns:a16="http://schemas.microsoft.com/office/drawing/2014/main" id="{D3680834-7D1E-E140-7715-C2978DB22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6" name="Freeform 264">
              <a:extLst>
                <a:ext uri="{FF2B5EF4-FFF2-40B4-BE49-F238E27FC236}">
                  <a16:creationId xmlns:a16="http://schemas.microsoft.com/office/drawing/2014/main" id="{4BCFB460-D1E5-DB1E-D6F0-E1A646107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7" name="Freeform 265">
              <a:extLst>
                <a:ext uri="{FF2B5EF4-FFF2-40B4-BE49-F238E27FC236}">
                  <a16:creationId xmlns:a16="http://schemas.microsoft.com/office/drawing/2014/main" id="{E0109422-0B3B-4EE6-AAC5-9AEC6A717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029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4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4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4 h 26"/>
                <a:gd name="T26" fmla="*/ 8 w 25"/>
                <a:gd name="T27" fmla="*/ 2 h 26"/>
                <a:gd name="T28" fmla="*/ 13 w 25"/>
                <a:gd name="T29" fmla="*/ 0 h 26"/>
                <a:gd name="T30" fmla="*/ 17 w 25"/>
                <a:gd name="T31" fmla="*/ 2 h 26"/>
                <a:gd name="T32" fmla="*/ 21 w 25"/>
                <a:gd name="T33" fmla="*/ 4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8" name="Freeform 266">
              <a:extLst>
                <a:ext uri="{FF2B5EF4-FFF2-40B4-BE49-F238E27FC236}">
                  <a16:creationId xmlns:a16="http://schemas.microsoft.com/office/drawing/2014/main" id="{EFD46ECE-47CA-CD87-07AC-6ED34A628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029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4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4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4 h 26"/>
                <a:gd name="T26" fmla="*/ 8 w 25"/>
                <a:gd name="T27" fmla="*/ 2 h 26"/>
                <a:gd name="T28" fmla="*/ 13 w 25"/>
                <a:gd name="T29" fmla="*/ 0 h 26"/>
                <a:gd name="T30" fmla="*/ 17 w 25"/>
                <a:gd name="T31" fmla="*/ 2 h 26"/>
                <a:gd name="T32" fmla="*/ 21 w 25"/>
                <a:gd name="T33" fmla="*/ 4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9" name="Freeform 267">
              <a:extLst>
                <a:ext uri="{FF2B5EF4-FFF2-40B4-BE49-F238E27FC236}">
                  <a16:creationId xmlns:a16="http://schemas.microsoft.com/office/drawing/2014/main" id="{6C8F8269-1B08-9D65-B2F1-C50005C4CA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676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1 h 28"/>
                <a:gd name="T6" fmla="*/ 21 w 24"/>
                <a:gd name="T7" fmla="*/ 24 h 28"/>
                <a:gd name="T8" fmla="*/ 17 w 24"/>
                <a:gd name="T9" fmla="*/ 26 h 28"/>
                <a:gd name="T10" fmla="*/ 11 w 24"/>
                <a:gd name="T11" fmla="*/ 28 h 28"/>
                <a:gd name="T12" fmla="*/ 8 w 24"/>
                <a:gd name="T13" fmla="*/ 26 h 28"/>
                <a:gd name="T14" fmla="*/ 4 w 24"/>
                <a:gd name="T15" fmla="*/ 24 h 28"/>
                <a:gd name="T16" fmla="*/ 0 w 24"/>
                <a:gd name="T17" fmla="*/ 21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8 h 28"/>
                <a:gd name="T24" fmla="*/ 4 w 24"/>
                <a:gd name="T25" fmla="*/ 4 h 28"/>
                <a:gd name="T26" fmla="*/ 8 w 24"/>
                <a:gd name="T27" fmla="*/ 2 h 28"/>
                <a:gd name="T28" fmla="*/ 11 w 24"/>
                <a:gd name="T29" fmla="*/ 0 h 28"/>
                <a:gd name="T30" fmla="*/ 17 w 24"/>
                <a:gd name="T31" fmla="*/ 2 h 28"/>
                <a:gd name="T32" fmla="*/ 21 w 24"/>
                <a:gd name="T33" fmla="*/ 4 h 28"/>
                <a:gd name="T34" fmla="*/ 24 w 24"/>
                <a:gd name="T35" fmla="*/ 8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1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0" name="Freeform 268">
              <a:extLst>
                <a:ext uri="{FF2B5EF4-FFF2-40B4-BE49-F238E27FC236}">
                  <a16:creationId xmlns:a16="http://schemas.microsoft.com/office/drawing/2014/main" id="{FAE912AA-F403-8EEB-929D-3B1952695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676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1 h 28"/>
                <a:gd name="T6" fmla="*/ 21 w 24"/>
                <a:gd name="T7" fmla="*/ 24 h 28"/>
                <a:gd name="T8" fmla="*/ 17 w 24"/>
                <a:gd name="T9" fmla="*/ 26 h 28"/>
                <a:gd name="T10" fmla="*/ 11 w 24"/>
                <a:gd name="T11" fmla="*/ 28 h 28"/>
                <a:gd name="T12" fmla="*/ 8 w 24"/>
                <a:gd name="T13" fmla="*/ 26 h 28"/>
                <a:gd name="T14" fmla="*/ 4 w 24"/>
                <a:gd name="T15" fmla="*/ 24 h 28"/>
                <a:gd name="T16" fmla="*/ 0 w 24"/>
                <a:gd name="T17" fmla="*/ 21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8 h 28"/>
                <a:gd name="T24" fmla="*/ 4 w 24"/>
                <a:gd name="T25" fmla="*/ 4 h 28"/>
                <a:gd name="T26" fmla="*/ 8 w 24"/>
                <a:gd name="T27" fmla="*/ 2 h 28"/>
                <a:gd name="T28" fmla="*/ 11 w 24"/>
                <a:gd name="T29" fmla="*/ 0 h 28"/>
                <a:gd name="T30" fmla="*/ 17 w 24"/>
                <a:gd name="T31" fmla="*/ 2 h 28"/>
                <a:gd name="T32" fmla="*/ 21 w 24"/>
                <a:gd name="T33" fmla="*/ 4 h 28"/>
                <a:gd name="T34" fmla="*/ 24 w 24"/>
                <a:gd name="T35" fmla="*/ 8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1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1" name="Freeform 269">
              <a:extLst>
                <a:ext uri="{FF2B5EF4-FFF2-40B4-BE49-F238E27FC236}">
                  <a16:creationId xmlns:a16="http://schemas.microsoft.com/office/drawing/2014/main" id="{27535605-A06E-FECD-74F5-212B16EA8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76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2" name="Freeform 270">
              <a:extLst>
                <a:ext uri="{FF2B5EF4-FFF2-40B4-BE49-F238E27FC236}">
                  <a16:creationId xmlns:a16="http://schemas.microsoft.com/office/drawing/2014/main" id="{96BC58E6-9E95-80AA-6327-FE43E4EA6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76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3" name="Freeform 271">
              <a:extLst>
                <a:ext uri="{FF2B5EF4-FFF2-40B4-BE49-F238E27FC236}">
                  <a16:creationId xmlns:a16="http://schemas.microsoft.com/office/drawing/2014/main" id="{7546E844-AD2E-8831-E77B-D716CAEE99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76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4" name="Freeform 272">
              <a:extLst>
                <a:ext uri="{FF2B5EF4-FFF2-40B4-BE49-F238E27FC236}">
                  <a16:creationId xmlns:a16="http://schemas.microsoft.com/office/drawing/2014/main" id="{59AA0965-5B88-DB35-A2C2-71EA4B5A39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76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5" name="Freeform 273">
              <a:extLst>
                <a:ext uri="{FF2B5EF4-FFF2-40B4-BE49-F238E27FC236}">
                  <a16:creationId xmlns:a16="http://schemas.microsoft.com/office/drawing/2014/main" id="{2891F175-CB9F-375E-400E-5772046D4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860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6" name="Freeform 274">
              <a:extLst>
                <a:ext uri="{FF2B5EF4-FFF2-40B4-BE49-F238E27FC236}">
                  <a16:creationId xmlns:a16="http://schemas.microsoft.com/office/drawing/2014/main" id="{93CBC7F3-8015-42E4-1DE8-158DEE0B4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860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7" name="Freeform 275">
              <a:extLst>
                <a:ext uri="{FF2B5EF4-FFF2-40B4-BE49-F238E27FC236}">
                  <a16:creationId xmlns:a16="http://schemas.microsoft.com/office/drawing/2014/main" id="{3A691BA9-342B-0D95-35D0-67BE9FCEF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1897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19 h 28"/>
                <a:gd name="T6" fmla="*/ 23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19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8" name="Freeform 276">
              <a:extLst>
                <a:ext uri="{FF2B5EF4-FFF2-40B4-BE49-F238E27FC236}">
                  <a16:creationId xmlns:a16="http://schemas.microsoft.com/office/drawing/2014/main" id="{9B3C3D37-5F3B-4AF6-0A92-3C7870321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1897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19 h 28"/>
                <a:gd name="T6" fmla="*/ 23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19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9" name="Freeform 277">
              <a:extLst>
                <a:ext uri="{FF2B5EF4-FFF2-40B4-BE49-F238E27FC236}">
                  <a16:creationId xmlns:a16="http://schemas.microsoft.com/office/drawing/2014/main" id="{F6328276-645A-51DF-37F1-E2EDF6EA6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830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0" name="Freeform 278">
              <a:extLst>
                <a:ext uri="{FF2B5EF4-FFF2-40B4-BE49-F238E27FC236}">
                  <a16:creationId xmlns:a16="http://schemas.microsoft.com/office/drawing/2014/main" id="{48BD5A97-F589-122A-D782-299F5FFF3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830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1" name="Freeform 279">
              <a:extLst>
                <a:ext uri="{FF2B5EF4-FFF2-40B4-BE49-F238E27FC236}">
                  <a16:creationId xmlns:a16="http://schemas.microsoft.com/office/drawing/2014/main" id="{4605F898-938B-5E61-A357-29E28B9F8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1869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2" name="Freeform 280">
              <a:extLst>
                <a:ext uri="{FF2B5EF4-FFF2-40B4-BE49-F238E27FC236}">
                  <a16:creationId xmlns:a16="http://schemas.microsoft.com/office/drawing/2014/main" id="{62BF3508-3157-6B83-E13D-DF0138C86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1869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3" name="Freeform 281">
              <a:extLst>
                <a:ext uri="{FF2B5EF4-FFF2-40B4-BE49-F238E27FC236}">
                  <a16:creationId xmlns:a16="http://schemas.microsoft.com/office/drawing/2014/main" id="{3E97C6E4-3332-0857-541A-0CB8B6272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197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4" name="Freeform 282">
              <a:extLst>
                <a:ext uri="{FF2B5EF4-FFF2-40B4-BE49-F238E27FC236}">
                  <a16:creationId xmlns:a16="http://schemas.microsoft.com/office/drawing/2014/main" id="{96158BCD-3243-D0E7-9E94-E57066C90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197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5" name="Freeform 283">
              <a:extLst>
                <a:ext uri="{FF2B5EF4-FFF2-40B4-BE49-F238E27FC236}">
                  <a16:creationId xmlns:a16="http://schemas.microsoft.com/office/drawing/2014/main" id="{9BABF405-F18E-7B02-B474-2FE4CE3E2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192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6" name="Freeform 284">
              <a:extLst>
                <a:ext uri="{FF2B5EF4-FFF2-40B4-BE49-F238E27FC236}">
                  <a16:creationId xmlns:a16="http://schemas.microsoft.com/office/drawing/2014/main" id="{99A0B564-E645-9140-B661-F2CEB5B808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192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7" name="Freeform 285">
              <a:extLst>
                <a:ext uri="{FF2B5EF4-FFF2-40B4-BE49-F238E27FC236}">
                  <a16:creationId xmlns:a16="http://schemas.microsoft.com/office/drawing/2014/main" id="{465E38AA-F984-E1EC-F6A4-B4FCCBF84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178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8" name="Freeform 286">
              <a:extLst>
                <a:ext uri="{FF2B5EF4-FFF2-40B4-BE49-F238E27FC236}">
                  <a16:creationId xmlns:a16="http://schemas.microsoft.com/office/drawing/2014/main" id="{03A27EE3-C5A9-69A4-49AF-B447F5358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178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9" name="Freeform 287">
              <a:extLst>
                <a:ext uri="{FF2B5EF4-FFF2-40B4-BE49-F238E27FC236}">
                  <a16:creationId xmlns:a16="http://schemas.microsoft.com/office/drawing/2014/main" id="{7AEC6B0B-F6FB-C0A3-E47C-F8A894BCF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2" y="180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0" name="Freeform 288">
              <a:extLst>
                <a:ext uri="{FF2B5EF4-FFF2-40B4-BE49-F238E27FC236}">
                  <a16:creationId xmlns:a16="http://schemas.microsoft.com/office/drawing/2014/main" id="{BAFB76C4-78C4-E2E5-8195-8BCE196519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2" y="180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1" name="Freeform 289">
              <a:extLst>
                <a:ext uri="{FF2B5EF4-FFF2-40B4-BE49-F238E27FC236}">
                  <a16:creationId xmlns:a16="http://schemas.microsoft.com/office/drawing/2014/main" id="{B955F133-2DAB-465E-6EF9-70A9F4538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175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2" name="Freeform 290">
              <a:extLst>
                <a:ext uri="{FF2B5EF4-FFF2-40B4-BE49-F238E27FC236}">
                  <a16:creationId xmlns:a16="http://schemas.microsoft.com/office/drawing/2014/main" id="{8075B3CC-C9E1-DCED-5161-B871F60DF0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175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3" name="Freeform 291">
              <a:extLst>
                <a:ext uri="{FF2B5EF4-FFF2-40B4-BE49-F238E27FC236}">
                  <a16:creationId xmlns:a16="http://schemas.microsoft.com/office/drawing/2014/main" id="{2CA6F9D5-51F4-9FA1-5ED4-60175F470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171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4" name="Freeform 292">
              <a:extLst>
                <a:ext uri="{FF2B5EF4-FFF2-40B4-BE49-F238E27FC236}">
                  <a16:creationId xmlns:a16="http://schemas.microsoft.com/office/drawing/2014/main" id="{EE9B066B-C8B8-2D98-D071-F17E6C825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171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5" name="Freeform 293">
              <a:extLst>
                <a:ext uri="{FF2B5EF4-FFF2-40B4-BE49-F238E27FC236}">
                  <a16:creationId xmlns:a16="http://schemas.microsoft.com/office/drawing/2014/main" id="{0480EFF1-4257-B2B3-5646-D750EB4BC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6" y="172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5 w 26"/>
                <a:gd name="T15" fmla="*/ 25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5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5" y="25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5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6" name="Freeform 294">
              <a:extLst>
                <a:ext uri="{FF2B5EF4-FFF2-40B4-BE49-F238E27FC236}">
                  <a16:creationId xmlns:a16="http://schemas.microsoft.com/office/drawing/2014/main" id="{DAE9B034-074B-17A4-7F7C-8BF7D2409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6" y="172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5 w 26"/>
                <a:gd name="T15" fmla="*/ 25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5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5" y="25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5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7" name="Freeform 295">
              <a:extLst>
                <a:ext uri="{FF2B5EF4-FFF2-40B4-BE49-F238E27FC236}">
                  <a16:creationId xmlns:a16="http://schemas.microsoft.com/office/drawing/2014/main" id="{9515EA22-876E-F452-86A4-4A1C897AA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8" name="Freeform 296">
              <a:extLst>
                <a:ext uri="{FF2B5EF4-FFF2-40B4-BE49-F238E27FC236}">
                  <a16:creationId xmlns:a16="http://schemas.microsoft.com/office/drawing/2014/main" id="{71C454C7-DA2C-E4FE-2E55-76DD86C31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9" name="Freeform 297">
              <a:extLst>
                <a:ext uri="{FF2B5EF4-FFF2-40B4-BE49-F238E27FC236}">
                  <a16:creationId xmlns:a16="http://schemas.microsoft.com/office/drawing/2014/main" id="{3EC173B0-D32C-91A7-6727-E11D9FE69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0" name="Freeform 298">
              <a:extLst>
                <a:ext uri="{FF2B5EF4-FFF2-40B4-BE49-F238E27FC236}">
                  <a16:creationId xmlns:a16="http://schemas.microsoft.com/office/drawing/2014/main" id="{286382F0-8D67-245B-6B51-9CCAF0A9C9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1" name="Freeform 299">
              <a:extLst>
                <a:ext uri="{FF2B5EF4-FFF2-40B4-BE49-F238E27FC236}">
                  <a16:creationId xmlns:a16="http://schemas.microsoft.com/office/drawing/2014/main" id="{0B6356BE-B4D0-C279-36B6-14533A2A1B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2" name="Freeform 300">
              <a:extLst>
                <a:ext uri="{FF2B5EF4-FFF2-40B4-BE49-F238E27FC236}">
                  <a16:creationId xmlns:a16="http://schemas.microsoft.com/office/drawing/2014/main" id="{6B4B9592-9CEF-F583-3DC9-44A8D6E5B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3" name="Freeform 301">
              <a:extLst>
                <a:ext uri="{FF2B5EF4-FFF2-40B4-BE49-F238E27FC236}">
                  <a16:creationId xmlns:a16="http://schemas.microsoft.com/office/drawing/2014/main" id="{7A1389F2-EC82-C1B5-4739-3ED4AB73FE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4" name="Freeform 302">
              <a:extLst>
                <a:ext uri="{FF2B5EF4-FFF2-40B4-BE49-F238E27FC236}">
                  <a16:creationId xmlns:a16="http://schemas.microsoft.com/office/drawing/2014/main" id="{6EA3DA62-2A0F-37FA-CA2F-97D252D943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5" name="Freeform 303">
              <a:extLst>
                <a:ext uri="{FF2B5EF4-FFF2-40B4-BE49-F238E27FC236}">
                  <a16:creationId xmlns:a16="http://schemas.microsoft.com/office/drawing/2014/main" id="{AA223677-A252-D27F-E9D1-3A8EFF928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6" name="Freeform 304">
              <a:extLst>
                <a:ext uri="{FF2B5EF4-FFF2-40B4-BE49-F238E27FC236}">
                  <a16:creationId xmlns:a16="http://schemas.microsoft.com/office/drawing/2014/main" id="{FBE3579E-3D46-A179-D011-D85566080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7" name="Freeform 305">
              <a:extLst>
                <a:ext uri="{FF2B5EF4-FFF2-40B4-BE49-F238E27FC236}">
                  <a16:creationId xmlns:a16="http://schemas.microsoft.com/office/drawing/2014/main" id="{F259BF0E-50A2-D58A-8A3D-6B89CDC4B8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014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8" name="Freeform 306">
              <a:extLst>
                <a:ext uri="{FF2B5EF4-FFF2-40B4-BE49-F238E27FC236}">
                  <a16:creationId xmlns:a16="http://schemas.microsoft.com/office/drawing/2014/main" id="{270D5C55-C5C2-F510-7C9B-284963508B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014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9" name="Freeform 307">
              <a:extLst>
                <a:ext uri="{FF2B5EF4-FFF2-40B4-BE49-F238E27FC236}">
                  <a16:creationId xmlns:a16="http://schemas.microsoft.com/office/drawing/2014/main" id="{A7E4C4DA-A2D4-890F-EFFB-9FF90CC97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0" name="Freeform 308">
              <a:extLst>
                <a:ext uri="{FF2B5EF4-FFF2-40B4-BE49-F238E27FC236}">
                  <a16:creationId xmlns:a16="http://schemas.microsoft.com/office/drawing/2014/main" id="{DD8FDD58-ED6A-C2BA-D218-E77F1C342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1" name="Freeform 309">
              <a:extLst>
                <a:ext uri="{FF2B5EF4-FFF2-40B4-BE49-F238E27FC236}">
                  <a16:creationId xmlns:a16="http://schemas.microsoft.com/office/drawing/2014/main" id="{963CD7F4-4107-4A47-B639-2D07D8C4D6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2" name="Freeform 310">
              <a:extLst>
                <a:ext uri="{FF2B5EF4-FFF2-40B4-BE49-F238E27FC236}">
                  <a16:creationId xmlns:a16="http://schemas.microsoft.com/office/drawing/2014/main" id="{22EBBE83-1B55-044C-7BF8-531907F11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3" name="Freeform 311">
              <a:extLst>
                <a:ext uri="{FF2B5EF4-FFF2-40B4-BE49-F238E27FC236}">
                  <a16:creationId xmlns:a16="http://schemas.microsoft.com/office/drawing/2014/main" id="{816AB81F-D538-8FE3-2F9A-1EE41560E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4" name="Freeform 312">
              <a:extLst>
                <a:ext uri="{FF2B5EF4-FFF2-40B4-BE49-F238E27FC236}">
                  <a16:creationId xmlns:a16="http://schemas.microsoft.com/office/drawing/2014/main" id="{17F7C6BB-0380-4CAB-E74C-1CD8658AC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5" name="Freeform 313">
              <a:extLst>
                <a:ext uri="{FF2B5EF4-FFF2-40B4-BE49-F238E27FC236}">
                  <a16:creationId xmlns:a16="http://schemas.microsoft.com/office/drawing/2014/main" id="{6EAEE386-DA2E-8B4A-78A9-BBFE00AF3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6" name="Freeform 314">
              <a:extLst>
                <a:ext uri="{FF2B5EF4-FFF2-40B4-BE49-F238E27FC236}">
                  <a16:creationId xmlns:a16="http://schemas.microsoft.com/office/drawing/2014/main" id="{F07FB93C-E331-80EB-DE2B-6E3BD8D1AC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7" name="Freeform 315">
              <a:extLst>
                <a:ext uri="{FF2B5EF4-FFF2-40B4-BE49-F238E27FC236}">
                  <a16:creationId xmlns:a16="http://schemas.microsoft.com/office/drawing/2014/main" id="{97F0418F-3DB4-5561-923B-992541606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5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8" name="Freeform 316">
              <a:extLst>
                <a:ext uri="{FF2B5EF4-FFF2-40B4-BE49-F238E27FC236}">
                  <a16:creationId xmlns:a16="http://schemas.microsoft.com/office/drawing/2014/main" id="{5A850001-DDE2-6F7F-9C16-4F710B34A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5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9" name="Freeform 317">
              <a:extLst>
                <a:ext uri="{FF2B5EF4-FFF2-40B4-BE49-F238E27FC236}">
                  <a16:creationId xmlns:a16="http://schemas.microsoft.com/office/drawing/2014/main" id="{52C36626-C68B-26C8-B38A-C197410CE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0" name="Freeform 318">
              <a:extLst>
                <a:ext uri="{FF2B5EF4-FFF2-40B4-BE49-F238E27FC236}">
                  <a16:creationId xmlns:a16="http://schemas.microsoft.com/office/drawing/2014/main" id="{27C33DC7-26E4-7875-E02B-7CA422CA3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1" name="Freeform 319">
              <a:extLst>
                <a:ext uri="{FF2B5EF4-FFF2-40B4-BE49-F238E27FC236}">
                  <a16:creationId xmlns:a16="http://schemas.microsoft.com/office/drawing/2014/main" id="{01FA5E25-10CE-5228-DF89-E3F45CD4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2" name="Freeform 320">
              <a:extLst>
                <a:ext uri="{FF2B5EF4-FFF2-40B4-BE49-F238E27FC236}">
                  <a16:creationId xmlns:a16="http://schemas.microsoft.com/office/drawing/2014/main" id="{D4775433-802E-6A77-9F88-51670E3AF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3" name="Freeform 321">
              <a:extLst>
                <a:ext uri="{FF2B5EF4-FFF2-40B4-BE49-F238E27FC236}">
                  <a16:creationId xmlns:a16="http://schemas.microsoft.com/office/drawing/2014/main" id="{3665F53B-26C1-D3DC-25BD-B6F5FC237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4" name="Freeform 322">
              <a:extLst>
                <a:ext uri="{FF2B5EF4-FFF2-40B4-BE49-F238E27FC236}">
                  <a16:creationId xmlns:a16="http://schemas.microsoft.com/office/drawing/2014/main" id="{A7158256-BCF1-7E8A-D66D-15D8A936DE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5" name="Freeform 323">
              <a:extLst>
                <a:ext uri="{FF2B5EF4-FFF2-40B4-BE49-F238E27FC236}">
                  <a16:creationId xmlns:a16="http://schemas.microsoft.com/office/drawing/2014/main" id="{0AAA0BFD-A6F3-7DA0-876D-500D7FA9FA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7" y="167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6" name="Freeform 324">
              <a:extLst>
                <a:ext uri="{FF2B5EF4-FFF2-40B4-BE49-F238E27FC236}">
                  <a16:creationId xmlns:a16="http://schemas.microsoft.com/office/drawing/2014/main" id="{82C49171-D2D9-CE10-504D-9225EE5D5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7" y="167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7" name="Freeform 325">
              <a:extLst>
                <a:ext uri="{FF2B5EF4-FFF2-40B4-BE49-F238E27FC236}">
                  <a16:creationId xmlns:a16="http://schemas.microsoft.com/office/drawing/2014/main" id="{51FC99D8-7122-4CA9-6FF8-7B1258480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167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1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8" name="Freeform 326">
              <a:extLst>
                <a:ext uri="{FF2B5EF4-FFF2-40B4-BE49-F238E27FC236}">
                  <a16:creationId xmlns:a16="http://schemas.microsoft.com/office/drawing/2014/main" id="{C4D9718B-B866-84E6-4101-92B3A116E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167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1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9" name="Freeform 327">
              <a:extLst>
                <a:ext uri="{FF2B5EF4-FFF2-40B4-BE49-F238E27FC236}">
                  <a16:creationId xmlns:a16="http://schemas.microsoft.com/office/drawing/2014/main" id="{7A65A3E3-AAA8-C5AD-A0D1-FB99BA26E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0" name="Freeform 328">
              <a:extLst>
                <a:ext uri="{FF2B5EF4-FFF2-40B4-BE49-F238E27FC236}">
                  <a16:creationId xmlns:a16="http://schemas.microsoft.com/office/drawing/2014/main" id="{D9E91209-9000-6343-50E1-31634D595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1" name="Freeform 329">
              <a:extLst>
                <a:ext uri="{FF2B5EF4-FFF2-40B4-BE49-F238E27FC236}">
                  <a16:creationId xmlns:a16="http://schemas.microsoft.com/office/drawing/2014/main" id="{D2C45908-559E-FAD1-81E6-02D7FC152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2" name="Freeform 330">
              <a:extLst>
                <a:ext uri="{FF2B5EF4-FFF2-40B4-BE49-F238E27FC236}">
                  <a16:creationId xmlns:a16="http://schemas.microsoft.com/office/drawing/2014/main" id="{66ED1CDF-2EC8-4C74-9909-540F2E54CA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3" name="Freeform 331">
              <a:extLst>
                <a:ext uri="{FF2B5EF4-FFF2-40B4-BE49-F238E27FC236}">
                  <a16:creationId xmlns:a16="http://schemas.microsoft.com/office/drawing/2014/main" id="{5DC54456-2EF9-0DB1-9257-5761E8336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4" name="Freeform 332">
              <a:extLst>
                <a:ext uri="{FF2B5EF4-FFF2-40B4-BE49-F238E27FC236}">
                  <a16:creationId xmlns:a16="http://schemas.microsoft.com/office/drawing/2014/main" id="{607388BF-01FB-54DD-A514-219EDFFAB3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5" name="Freeform 333">
              <a:extLst>
                <a:ext uri="{FF2B5EF4-FFF2-40B4-BE49-F238E27FC236}">
                  <a16:creationId xmlns:a16="http://schemas.microsoft.com/office/drawing/2014/main" id="{79B1AC0F-C7F6-7474-0ADB-223D456D0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923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1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1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8 h 28"/>
                <a:gd name="T24" fmla="*/ 3 w 24"/>
                <a:gd name="T25" fmla="*/ 4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4 h 28"/>
                <a:gd name="T34" fmla="*/ 24 w 24"/>
                <a:gd name="T35" fmla="*/ 8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1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5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6" name="Freeform 334">
              <a:extLst>
                <a:ext uri="{FF2B5EF4-FFF2-40B4-BE49-F238E27FC236}">
                  <a16:creationId xmlns:a16="http://schemas.microsoft.com/office/drawing/2014/main" id="{B9C0CFFE-3011-BCB9-4F45-91E4D2E2DD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923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1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1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8 h 28"/>
                <a:gd name="T24" fmla="*/ 3 w 24"/>
                <a:gd name="T25" fmla="*/ 4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4 h 28"/>
                <a:gd name="T34" fmla="*/ 24 w 24"/>
                <a:gd name="T35" fmla="*/ 8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1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5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7" name="Freeform 335">
              <a:extLst>
                <a:ext uri="{FF2B5EF4-FFF2-40B4-BE49-F238E27FC236}">
                  <a16:creationId xmlns:a16="http://schemas.microsoft.com/office/drawing/2014/main" id="{5E6B1499-D949-008E-ADD0-A3F90D019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87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1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1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8" name="Freeform 336">
              <a:extLst>
                <a:ext uri="{FF2B5EF4-FFF2-40B4-BE49-F238E27FC236}">
                  <a16:creationId xmlns:a16="http://schemas.microsoft.com/office/drawing/2014/main" id="{CEB7981F-83BC-3CFF-6F48-EB20A5836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87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1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1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9" name="Freeform 337">
              <a:extLst>
                <a:ext uri="{FF2B5EF4-FFF2-40B4-BE49-F238E27FC236}">
                  <a16:creationId xmlns:a16="http://schemas.microsoft.com/office/drawing/2014/main" id="{99B92573-366D-1481-7E7E-5ADBB40E7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815"/>
              <a:ext cx="25" cy="28"/>
            </a:xfrm>
            <a:custGeom>
              <a:avLst/>
              <a:gdLst>
                <a:gd name="T0" fmla="*/ 25 w 25"/>
                <a:gd name="T1" fmla="*/ 15 h 28"/>
                <a:gd name="T2" fmla="*/ 25 w 25"/>
                <a:gd name="T3" fmla="*/ 15 h 28"/>
                <a:gd name="T4" fmla="*/ 25 w 25"/>
                <a:gd name="T5" fmla="*/ 21 h 28"/>
                <a:gd name="T6" fmla="*/ 21 w 25"/>
                <a:gd name="T7" fmla="*/ 25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5 h 28"/>
                <a:gd name="T16" fmla="*/ 0 w 25"/>
                <a:gd name="T17" fmla="*/ 21 h 28"/>
                <a:gd name="T18" fmla="*/ 0 w 25"/>
                <a:gd name="T19" fmla="*/ 15 h 28"/>
                <a:gd name="T20" fmla="*/ 0 w 25"/>
                <a:gd name="T21" fmla="*/ 15 h 28"/>
                <a:gd name="T22" fmla="*/ 0 w 25"/>
                <a:gd name="T23" fmla="*/ 8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8 h 28"/>
                <a:gd name="T36" fmla="*/ 25 w 25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5"/>
                  </a:moveTo>
                  <a:lnTo>
                    <a:pt x="25" y="15"/>
                  </a:lnTo>
                  <a:lnTo>
                    <a:pt x="25" y="21"/>
                  </a:lnTo>
                  <a:lnTo>
                    <a:pt x="21" y="25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5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0" name="Freeform 338">
              <a:extLst>
                <a:ext uri="{FF2B5EF4-FFF2-40B4-BE49-F238E27FC236}">
                  <a16:creationId xmlns:a16="http://schemas.microsoft.com/office/drawing/2014/main" id="{C367CEE2-ED24-6D16-D1DD-836F4A425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815"/>
              <a:ext cx="25" cy="28"/>
            </a:xfrm>
            <a:custGeom>
              <a:avLst/>
              <a:gdLst>
                <a:gd name="T0" fmla="*/ 25 w 25"/>
                <a:gd name="T1" fmla="*/ 15 h 28"/>
                <a:gd name="T2" fmla="*/ 25 w 25"/>
                <a:gd name="T3" fmla="*/ 15 h 28"/>
                <a:gd name="T4" fmla="*/ 25 w 25"/>
                <a:gd name="T5" fmla="*/ 21 h 28"/>
                <a:gd name="T6" fmla="*/ 21 w 25"/>
                <a:gd name="T7" fmla="*/ 25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5 h 28"/>
                <a:gd name="T16" fmla="*/ 0 w 25"/>
                <a:gd name="T17" fmla="*/ 21 h 28"/>
                <a:gd name="T18" fmla="*/ 0 w 25"/>
                <a:gd name="T19" fmla="*/ 15 h 28"/>
                <a:gd name="T20" fmla="*/ 0 w 25"/>
                <a:gd name="T21" fmla="*/ 15 h 28"/>
                <a:gd name="T22" fmla="*/ 0 w 25"/>
                <a:gd name="T23" fmla="*/ 8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8 h 28"/>
                <a:gd name="T36" fmla="*/ 25 w 25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5"/>
                  </a:moveTo>
                  <a:lnTo>
                    <a:pt x="25" y="15"/>
                  </a:lnTo>
                  <a:lnTo>
                    <a:pt x="25" y="21"/>
                  </a:lnTo>
                  <a:lnTo>
                    <a:pt x="21" y="25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5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1" name="Freeform 339">
              <a:extLst>
                <a:ext uri="{FF2B5EF4-FFF2-40B4-BE49-F238E27FC236}">
                  <a16:creationId xmlns:a16="http://schemas.microsoft.com/office/drawing/2014/main" id="{3252F023-F90A-1327-9715-C3AEA2F1A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82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2" name="Freeform 340">
              <a:extLst>
                <a:ext uri="{FF2B5EF4-FFF2-40B4-BE49-F238E27FC236}">
                  <a16:creationId xmlns:a16="http://schemas.microsoft.com/office/drawing/2014/main" id="{738753CA-0DB6-907E-FB9F-ED70EA650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82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3" name="Freeform 341">
              <a:extLst>
                <a:ext uri="{FF2B5EF4-FFF2-40B4-BE49-F238E27FC236}">
                  <a16:creationId xmlns:a16="http://schemas.microsoft.com/office/drawing/2014/main" id="{275FD2BA-94CB-32F1-22D2-8438F3878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82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4" name="Freeform 342">
              <a:extLst>
                <a:ext uri="{FF2B5EF4-FFF2-40B4-BE49-F238E27FC236}">
                  <a16:creationId xmlns:a16="http://schemas.microsoft.com/office/drawing/2014/main" id="{2F8DFE5B-6722-15C3-70DB-8C745D556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82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5" name="Freeform 343">
              <a:extLst>
                <a:ext uri="{FF2B5EF4-FFF2-40B4-BE49-F238E27FC236}">
                  <a16:creationId xmlns:a16="http://schemas.microsoft.com/office/drawing/2014/main" id="{3BD005E2-9A03-52B5-C901-A8FA18942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726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3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3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6" name="Freeform 344">
              <a:extLst>
                <a:ext uri="{FF2B5EF4-FFF2-40B4-BE49-F238E27FC236}">
                  <a16:creationId xmlns:a16="http://schemas.microsoft.com/office/drawing/2014/main" id="{1601C595-E0EA-4900-B2A9-52EBD860EB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726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3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3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7" name="Freeform 345">
              <a:extLst>
                <a:ext uri="{FF2B5EF4-FFF2-40B4-BE49-F238E27FC236}">
                  <a16:creationId xmlns:a16="http://schemas.microsoft.com/office/drawing/2014/main" id="{93DB766D-8437-5AA0-CB41-C11622906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765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1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1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8" name="Freeform 346">
              <a:extLst>
                <a:ext uri="{FF2B5EF4-FFF2-40B4-BE49-F238E27FC236}">
                  <a16:creationId xmlns:a16="http://schemas.microsoft.com/office/drawing/2014/main" id="{5BD2A828-953A-6DAF-83D8-33ACB1C6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765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1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1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9" name="Freeform 347">
              <a:extLst>
                <a:ext uri="{FF2B5EF4-FFF2-40B4-BE49-F238E27FC236}">
                  <a16:creationId xmlns:a16="http://schemas.microsoft.com/office/drawing/2014/main" id="{ACA2CB1A-372E-C514-94BD-8A118C32D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765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3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0" name="Freeform 348">
              <a:extLst>
                <a:ext uri="{FF2B5EF4-FFF2-40B4-BE49-F238E27FC236}">
                  <a16:creationId xmlns:a16="http://schemas.microsoft.com/office/drawing/2014/main" id="{BA4CA45C-62CC-D3ED-7675-E5DBB1FE1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765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3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1" name="Freeform 349">
              <a:extLst>
                <a:ext uri="{FF2B5EF4-FFF2-40B4-BE49-F238E27FC236}">
                  <a16:creationId xmlns:a16="http://schemas.microsoft.com/office/drawing/2014/main" id="{1B748F58-F381-9E05-C15E-B60FC1EF1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173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2" name="Freeform 350">
              <a:extLst>
                <a:ext uri="{FF2B5EF4-FFF2-40B4-BE49-F238E27FC236}">
                  <a16:creationId xmlns:a16="http://schemas.microsoft.com/office/drawing/2014/main" id="{56045168-5189-B6DF-0321-6798E89D6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173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3" name="Freeform 351">
              <a:extLst>
                <a:ext uri="{FF2B5EF4-FFF2-40B4-BE49-F238E27FC236}">
                  <a16:creationId xmlns:a16="http://schemas.microsoft.com/office/drawing/2014/main" id="{BD5171A0-BEB8-8E70-A519-F0E164D1A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754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4" name="Freeform 352">
              <a:extLst>
                <a:ext uri="{FF2B5EF4-FFF2-40B4-BE49-F238E27FC236}">
                  <a16:creationId xmlns:a16="http://schemas.microsoft.com/office/drawing/2014/main" id="{87B9889D-624B-6FD7-1523-2C8CEB981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754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5" name="Freeform 353">
              <a:extLst>
                <a:ext uri="{FF2B5EF4-FFF2-40B4-BE49-F238E27FC236}">
                  <a16:creationId xmlns:a16="http://schemas.microsoft.com/office/drawing/2014/main" id="{D2CE7C7B-809C-42AF-BF1A-43E0536F8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175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6" name="Freeform 354">
              <a:extLst>
                <a:ext uri="{FF2B5EF4-FFF2-40B4-BE49-F238E27FC236}">
                  <a16:creationId xmlns:a16="http://schemas.microsoft.com/office/drawing/2014/main" id="{6DEBECB5-ED5B-57D3-61E5-938C0FE2D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175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7" name="Freeform 355">
              <a:extLst>
                <a:ext uri="{FF2B5EF4-FFF2-40B4-BE49-F238E27FC236}">
                  <a16:creationId xmlns:a16="http://schemas.microsoft.com/office/drawing/2014/main" id="{E7186356-F42A-3993-0987-DB6183619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3" y="177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3 h 26"/>
                <a:gd name="T8" fmla="*/ 17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8" name="Freeform 356">
              <a:extLst>
                <a:ext uri="{FF2B5EF4-FFF2-40B4-BE49-F238E27FC236}">
                  <a16:creationId xmlns:a16="http://schemas.microsoft.com/office/drawing/2014/main" id="{46D78018-DC5F-754B-43A1-B4F10220FA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3" y="177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3 h 26"/>
                <a:gd name="T8" fmla="*/ 17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9" name="Freeform 357">
              <a:extLst>
                <a:ext uri="{FF2B5EF4-FFF2-40B4-BE49-F238E27FC236}">
                  <a16:creationId xmlns:a16="http://schemas.microsoft.com/office/drawing/2014/main" id="{035EC080-19A4-0B01-F91C-F186DD435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1765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2 w 26"/>
                <a:gd name="T23" fmla="*/ 8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0" name="Freeform 358">
              <a:extLst>
                <a:ext uri="{FF2B5EF4-FFF2-40B4-BE49-F238E27FC236}">
                  <a16:creationId xmlns:a16="http://schemas.microsoft.com/office/drawing/2014/main" id="{1EB4F6AD-B0C9-4D92-B543-D2A256CC6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1765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2 w 26"/>
                <a:gd name="T23" fmla="*/ 8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1" name="Freeform 359">
              <a:extLst>
                <a:ext uri="{FF2B5EF4-FFF2-40B4-BE49-F238E27FC236}">
                  <a16:creationId xmlns:a16="http://schemas.microsoft.com/office/drawing/2014/main" id="{05559F58-D823-9699-D1A8-87DBF38FD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7" y="1741"/>
              <a:ext cx="27" cy="26"/>
            </a:xfrm>
            <a:custGeom>
              <a:avLst/>
              <a:gdLst>
                <a:gd name="T0" fmla="*/ 27 w 27"/>
                <a:gd name="T1" fmla="*/ 13 h 26"/>
                <a:gd name="T2" fmla="*/ 27 w 27"/>
                <a:gd name="T3" fmla="*/ 13 h 26"/>
                <a:gd name="T4" fmla="*/ 27 w 27"/>
                <a:gd name="T5" fmla="*/ 19 h 26"/>
                <a:gd name="T6" fmla="*/ 23 w 27"/>
                <a:gd name="T7" fmla="*/ 24 h 26"/>
                <a:gd name="T8" fmla="*/ 19 w 27"/>
                <a:gd name="T9" fmla="*/ 26 h 26"/>
                <a:gd name="T10" fmla="*/ 14 w 27"/>
                <a:gd name="T11" fmla="*/ 26 h 26"/>
                <a:gd name="T12" fmla="*/ 10 w 27"/>
                <a:gd name="T13" fmla="*/ 26 h 26"/>
                <a:gd name="T14" fmla="*/ 4 w 27"/>
                <a:gd name="T15" fmla="*/ 24 h 26"/>
                <a:gd name="T16" fmla="*/ 2 w 27"/>
                <a:gd name="T17" fmla="*/ 19 h 26"/>
                <a:gd name="T18" fmla="*/ 0 w 27"/>
                <a:gd name="T19" fmla="*/ 13 h 26"/>
                <a:gd name="T20" fmla="*/ 0 w 27"/>
                <a:gd name="T21" fmla="*/ 13 h 26"/>
                <a:gd name="T22" fmla="*/ 2 w 27"/>
                <a:gd name="T23" fmla="*/ 8 h 26"/>
                <a:gd name="T24" fmla="*/ 4 w 27"/>
                <a:gd name="T25" fmla="*/ 4 h 26"/>
                <a:gd name="T26" fmla="*/ 10 w 27"/>
                <a:gd name="T27" fmla="*/ 2 h 26"/>
                <a:gd name="T28" fmla="*/ 14 w 27"/>
                <a:gd name="T29" fmla="*/ 0 h 26"/>
                <a:gd name="T30" fmla="*/ 19 w 27"/>
                <a:gd name="T31" fmla="*/ 2 h 26"/>
                <a:gd name="T32" fmla="*/ 23 w 27"/>
                <a:gd name="T33" fmla="*/ 4 h 26"/>
                <a:gd name="T34" fmla="*/ 27 w 27"/>
                <a:gd name="T35" fmla="*/ 8 h 26"/>
                <a:gd name="T36" fmla="*/ 27 w 27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6">
                  <a:moveTo>
                    <a:pt x="27" y="13"/>
                  </a:moveTo>
                  <a:lnTo>
                    <a:pt x="27" y="13"/>
                  </a:lnTo>
                  <a:lnTo>
                    <a:pt x="27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4" y="26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4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7" y="8"/>
                  </a:lnTo>
                  <a:lnTo>
                    <a:pt x="27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2" name="Freeform 360">
              <a:extLst>
                <a:ext uri="{FF2B5EF4-FFF2-40B4-BE49-F238E27FC236}">
                  <a16:creationId xmlns:a16="http://schemas.microsoft.com/office/drawing/2014/main" id="{1BD5A60D-5ACA-0241-6083-8913958A1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7" y="1741"/>
              <a:ext cx="27" cy="26"/>
            </a:xfrm>
            <a:custGeom>
              <a:avLst/>
              <a:gdLst>
                <a:gd name="T0" fmla="*/ 27 w 27"/>
                <a:gd name="T1" fmla="*/ 13 h 26"/>
                <a:gd name="T2" fmla="*/ 27 w 27"/>
                <a:gd name="T3" fmla="*/ 13 h 26"/>
                <a:gd name="T4" fmla="*/ 27 w 27"/>
                <a:gd name="T5" fmla="*/ 19 h 26"/>
                <a:gd name="T6" fmla="*/ 23 w 27"/>
                <a:gd name="T7" fmla="*/ 24 h 26"/>
                <a:gd name="T8" fmla="*/ 19 w 27"/>
                <a:gd name="T9" fmla="*/ 26 h 26"/>
                <a:gd name="T10" fmla="*/ 14 w 27"/>
                <a:gd name="T11" fmla="*/ 26 h 26"/>
                <a:gd name="T12" fmla="*/ 10 w 27"/>
                <a:gd name="T13" fmla="*/ 26 h 26"/>
                <a:gd name="T14" fmla="*/ 4 w 27"/>
                <a:gd name="T15" fmla="*/ 24 h 26"/>
                <a:gd name="T16" fmla="*/ 2 w 27"/>
                <a:gd name="T17" fmla="*/ 19 h 26"/>
                <a:gd name="T18" fmla="*/ 0 w 27"/>
                <a:gd name="T19" fmla="*/ 13 h 26"/>
                <a:gd name="T20" fmla="*/ 0 w 27"/>
                <a:gd name="T21" fmla="*/ 13 h 26"/>
                <a:gd name="T22" fmla="*/ 2 w 27"/>
                <a:gd name="T23" fmla="*/ 8 h 26"/>
                <a:gd name="T24" fmla="*/ 4 w 27"/>
                <a:gd name="T25" fmla="*/ 4 h 26"/>
                <a:gd name="T26" fmla="*/ 10 w 27"/>
                <a:gd name="T27" fmla="*/ 2 h 26"/>
                <a:gd name="T28" fmla="*/ 14 w 27"/>
                <a:gd name="T29" fmla="*/ 0 h 26"/>
                <a:gd name="T30" fmla="*/ 19 w 27"/>
                <a:gd name="T31" fmla="*/ 2 h 26"/>
                <a:gd name="T32" fmla="*/ 23 w 27"/>
                <a:gd name="T33" fmla="*/ 4 h 26"/>
                <a:gd name="T34" fmla="*/ 27 w 27"/>
                <a:gd name="T35" fmla="*/ 8 h 26"/>
                <a:gd name="T36" fmla="*/ 27 w 27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6">
                  <a:moveTo>
                    <a:pt x="27" y="13"/>
                  </a:moveTo>
                  <a:lnTo>
                    <a:pt x="27" y="13"/>
                  </a:lnTo>
                  <a:lnTo>
                    <a:pt x="27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4" y="26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4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7" y="8"/>
                  </a:lnTo>
                  <a:lnTo>
                    <a:pt x="27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3" name="Freeform 361">
              <a:extLst>
                <a:ext uri="{FF2B5EF4-FFF2-40B4-BE49-F238E27FC236}">
                  <a16:creationId xmlns:a16="http://schemas.microsoft.com/office/drawing/2014/main" id="{2DF8C159-ECBD-8A9F-2BE4-F03C049FB6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1736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4" name="Freeform 362">
              <a:extLst>
                <a:ext uri="{FF2B5EF4-FFF2-40B4-BE49-F238E27FC236}">
                  <a16:creationId xmlns:a16="http://schemas.microsoft.com/office/drawing/2014/main" id="{3E42B32D-60E8-DCF7-82EA-7B6A013A1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1736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5" name="Freeform 363">
              <a:extLst>
                <a:ext uri="{FF2B5EF4-FFF2-40B4-BE49-F238E27FC236}">
                  <a16:creationId xmlns:a16="http://schemas.microsoft.com/office/drawing/2014/main" id="{F8C2B42E-D6D6-1BDB-60CA-71C83B636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4" y="1732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0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1 w 26"/>
                <a:gd name="T17" fmla="*/ 20 h 28"/>
                <a:gd name="T18" fmla="*/ 0 w 26"/>
                <a:gd name="T19" fmla="*/ 15 h 28"/>
                <a:gd name="T20" fmla="*/ 0 w 26"/>
                <a:gd name="T21" fmla="*/ 15 h 28"/>
                <a:gd name="T22" fmla="*/ 1 w 26"/>
                <a:gd name="T23" fmla="*/ 7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7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6" name="Freeform 364">
              <a:extLst>
                <a:ext uri="{FF2B5EF4-FFF2-40B4-BE49-F238E27FC236}">
                  <a16:creationId xmlns:a16="http://schemas.microsoft.com/office/drawing/2014/main" id="{F3479F05-9F85-F7A4-C42D-9F3482706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4" y="1732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0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1 w 26"/>
                <a:gd name="T17" fmla="*/ 20 h 28"/>
                <a:gd name="T18" fmla="*/ 0 w 26"/>
                <a:gd name="T19" fmla="*/ 15 h 28"/>
                <a:gd name="T20" fmla="*/ 0 w 26"/>
                <a:gd name="T21" fmla="*/ 15 h 28"/>
                <a:gd name="T22" fmla="*/ 1 w 26"/>
                <a:gd name="T23" fmla="*/ 7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7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5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7" name="Freeform 365">
              <a:extLst>
                <a:ext uri="{FF2B5EF4-FFF2-40B4-BE49-F238E27FC236}">
                  <a16:creationId xmlns:a16="http://schemas.microsoft.com/office/drawing/2014/main" id="{0B92C56C-54DF-99B5-E6F8-5165FA933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8" name="Freeform 366">
              <a:extLst>
                <a:ext uri="{FF2B5EF4-FFF2-40B4-BE49-F238E27FC236}">
                  <a16:creationId xmlns:a16="http://schemas.microsoft.com/office/drawing/2014/main" id="{A1155900-38CB-488A-34C0-FB8838A66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9" name="Freeform 367">
              <a:extLst>
                <a:ext uri="{FF2B5EF4-FFF2-40B4-BE49-F238E27FC236}">
                  <a16:creationId xmlns:a16="http://schemas.microsoft.com/office/drawing/2014/main" id="{5E69BFE9-B36D-30BB-D6F1-3D450FB03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0" name="Freeform 368">
              <a:extLst>
                <a:ext uri="{FF2B5EF4-FFF2-40B4-BE49-F238E27FC236}">
                  <a16:creationId xmlns:a16="http://schemas.microsoft.com/office/drawing/2014/main" id="{E688033F-AAAC-3667-F70C-02244C6AD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1" name="Freeform 369">
              <a:extLst>
                <a:ext uri="{FF2B5EF4-FFF2-40B4-BE49-F238E27FC236}">
                  <a16:creationId xmlns:a16="http://schemas.microsoft.com/office/drawing/2014/main" id="{5BA11734-0DE1-6F24-BB53-8B509159C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2" name="Freeform 370">
              <a:extLst>
                <a:ext uri="{FF2B5EF4-FFF2-40B4-BE49-F238E27FC236}">
                  <a16:creationId xmlns:a16="http://schemas.microsoft.com/office/drawing/2014/main" id="{76AE4E94-9782-76C5-4286-E7BA03878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3" name="Freeform 371">
              <a:extLst>
                <a:ext uri="{FF2B5EF4-FFF2-40B4-BE49-F238E27FC236}">
                  <a16:creationId xmlns:a16="http://schemas.microsoft.com/office/drawing/2014/main" id="{4E830C24-2555-50D5-26FA-97BB2CA997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4" name="Freeform 372">
              <a:extLst>
                <a:ext uri="{FF2B5EF4-FFF2-40B4-BE49-F238E27FC236}">
                  <a16:creationId xmlns:a16="http://schemas.microsoft.com/office/drawing/2014/main" id="{1D3D8866-37F2-A763-7BC6-D6E2179FF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5" name="Freeform 373">
              <a:extLst>
                <a:ext uri="{FF2B5EF4-FFF2-40B4-BE49-F238E27FC236}">
                  <a16:creationId xmlns:a16="http://schemas.microsoft.com/office/drawing/2014/main" id="{6F8D01DE-36D8-99E8-3BA1-687C9CAFD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6" name="Freeform 374">
              <a:extLst>
                <a:ext uri="{FF2B5EF4-FFF2-40B4-BE49-F238E27FC236}">
                  <a16:creationId xmlns:a16="http://schemas.microsoft.com/office/drawing/2014/main" id="{5A803A07-1DC3-B9A6-621B-08E8BFC68E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7" name="Freeform 375">
              <a:extLst>
                <a:ext uri="{FF2B5EF4-FFF2-40B4-BE49-F238E27FC236}">
                  <a16:creationId xmlns:a16="http://schemas.microsoft.com/office/drawing/2014/main" id="{385AEF3E-C979-4D2B-0FB8-EFF1838A56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8" name="Freeform 376">
              <a:extLst>
                <a:ext uri="{FF2B5EF4-FFF2-40B4-BE49-F238E27FC236}">
                  <a16:creationId xmlns:a16="http://schemas.microsoft.com/office/drawing/2014/main" id="{1BD4C1AE-E29B-638D-72D5-C827DAC88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9" name="Freeform 377">
              <a:extLst>
                <a:ext uri="{FF2B5EF4-FFF2-40B4-BE49-F238E27FC236}">
                  <a16:creationId xmlns:a16="http://schemas.microsoft.com/office/drawing/2014/main" id="{C8BE50DF-754A-C3DC-17D2-C743A5B8E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0" name="Freeform 378">
              <a:extLst>
                <a:ext uri="{FF2B5EF4-FFF2-40B4-BE49-F238E27FC236}">
                  <a16:creationId xmlns:a16="http://schemas.microsoft.com/office/drawing/2014/main" id="{4127E725-DE94-0886-6516-E76F16D2D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1" name="Freeform 379">
              <a:extLst>
                <a:ext uri="{FF2B5EF4-FFF2-40B4-BE49-F238E27FC236}">
                  <a16:creationId xmlns:a16="http://schemas.microsoft.com/office/drawing/2014/main" id="{BE1B1033-34EA-6A39-955F-A7B68D3B0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3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2" name="Freeform 380">
              <a:extLst>
                <a:ext uri="{FF2B5EF4-FFF2-40B4-BE49-F238E27FC236}">
                  <a16:creationId xmlns:a16="http://schemas.microsoft.com/office/drawing/2014/main" id="{7A3CFF78-307F-8A4C-1741-2A7B9E3B5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3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3" name="Freeform 381">
              <a:extLst>
                <a:ext uri="{FF2B5EF4-FFF2-40B4-BE49-F238E27FC236}">
                  <a16:creationId xmlns:a16="http://schemas.microsoft.com/office/drawing/2014/main" id="{FA3B75CD-542D-F543-C62A-C7A024527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8" y="164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4" name="Freeform 382">
              <a:extLst>
                <a:ext uri="{FF2B5EF4-FFF2-40B4-BE49-F238E27FC236}">
                  <a16:creationId xmlns:a16="http://schemas.microsoft.com/office/drawing/2014/main" id="{A07ECDE8-2AC4-B945-9E8A-933379FAAB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8" y="164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5" name="Freeform 383">
              <a:extLst>
                <a:ext uri="{FF2B5EF4-FFF2-40B4-BE49-F238E27FC236}">
                  <a16:creationId xmlns:a16="http://schemas.microsoft.com/office/drawing/2014/main" id="{60EF1838-6B8A-9CF3-FAA1-12769DF54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2" y="168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6" name="Freeform 384">
              <a:extLst>
                <a:ext uri="{FF2B5EF4-FFF2-40B4-BE49-F238E27FC236}">
                  <a16:creationId xmlns:a16="http://schemas.microsoft.com/office/drawing/2014/main" id="{DBE6CCA1-9F44-E2D7-62B9-DF35F97B1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2" y="168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7" name="Freeform 385">
              <a:extLst>
                <a:ext uri="{FF2B5EF4-FFF2-40B4-BE49-F238E27FC236}">
                  <a16:creationId xmlns:a16="http://schemas.microsoft.com/office/drawing/2014/main" id="{14F1F4E9-2668-08A7-743C-A8B466C59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8" name="Freeform 386">
              <a:extLst>
                <a:ext uri="{FF2B5EF4-FFF2-40B4-BE49-F238E27FC236}">
                  <a16:creationId xmlns:a16="http://schemas.microsoft.com/office/drawing/2014/main" id="{4D974A75-1E6A-7645-19EA-B7E4064259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9" name="Freeform 387">
              <a:extLst>
                <a:ext uri="{FF2B5EF4-FFF2-40B4-BE49-F238E27FC236}">
                  <a16:creationId xmlns:a16="http://schemas.microsoft.com/office/drawing/2014/main" id="{D2210512-57F5-72A7-3C24-BA6162F1AE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0" name="Freeform 388">
              <a:extLst>
                <a:ext uri="{FF2B5EF4-FFF2-40B4-BE49-F238E27FC236}">
                  <a16:creationId xmlns:a16="http://schemas.microsoft.com/office/drawing/2014/main" id="{7BC06C3D-0C33-9E58-5646-78BFBFAC6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1" name="Freeform 389">
              <a:extLst>
                <a:ext uri="{FF2B5EF4-FFF2-40B4-BE49-F238E27FC236}">
                  <a16:creationId xmlns:a16="http://schemas.microsoft.com/office/drawing/2014/main" id="{74DE40C1-4D4E-4D4F-5ACB-6DECAF4F8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2" name="Freeform 390">
              <a:extLst>
                <a:ext uri="{FF2B5EF4-FFF2-40B4-BE49-F238E27FC236}">
                  <a16:creationId xmlns:a16="http://schemas.microsoft.com/office/drawing/2014/main" id="{D18A2426-EB32-375C-C863-9FE45D6D2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3" name="Freeform 391">
              <a:extLst>
                <a:ext uri="{FF2B5EF4-FFF2-40B4-BE49-F238E27FC236}">
                  <a16:creationId xmlns:a16="http://schemas.microsoft.com/office/drawing/2014/main" id="{F0056F59-8A9B-8098-145B-293FCE774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4" name="Freeform 392">
              <a:extLst>
                <a:ext uri="{FF2B5EF4-FFF2-40B4-BE49-F238E27FC236}">
                  <a16:creationId xmlns:a16="http://schemas.microsoft.com/office/drawing/2014/main" id="{937F1BA8-F8CE-44B6-CBAD-8A4F416F6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5" name="Freeform 393">
              <a:extLst>
                <a:ext uri="{FF2B5EF4-FFF2-40B4-BE49-F238E27FC236}">
                  <a16:creationId xmlns:a16="http://schemas.microsoft.com/office/drawing/2014/main" id="{B0C055C4-532A-DB12-FF9C-A182004CE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6" name="Freeform 394">
              <a:extLst>
                <a:ext uri="{FF2B5EF4-FFF2-40B4-BE49-F238E27FC236}">
                  <a16:creationId xmlns:a16="http://schemas.microsoft.com/office/drawing/2014/main" id="{4C76A437-19D4-8C7D-A831-ED62D359C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7" name="Freeform 395">
              <a:extLst>
                <a:ext uri="{FF2B5EF4-FFF2-40B4-BE49-F238E27FC236}">
                  <a16:creationId xmlns:a16="http://schemas.microsoft.com/office/drawing/2014/main" id="{630F562B-B9E4-4338-7C7D-44B71FA37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801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8 h 26"/>
                <a:gd name="T6" fmla="*/ 21 w 25"/>
                <a:gd name="T7" fmla="*/ 22 h 26"/>
                <a:gd name="T8" fmla="*/ 17 w 25"/>
                <a:gd name="T9" fmla="*/ 24 h 26"/>
                <a:gd name="T10" fmla="*/ 13 w 25"/>
                <a:gd name="T11" fmla="*/ 26 h 26"/>
                <a:gd name="T12" fmla="*/ 8 w 25"/>
                <a:gd name="T13" fmla="*/ 24 h 26"/>
                <a:gd name="T14" fmla="*/ 4 w 25"/>
                <a:gd name="T15" fmla="*/ 22 h 26"/>
                <a:gd name="T16" fmla="*/ 0 w 25"/>
                <a:gd name="T17" fmla="*/ 18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1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1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8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1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1"/>
                  </a:lnTo>
                  <a:lnTo>
                    <a:pt x="25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8" name="Freeform 396">
              <a:extLst>
                <a:ext uri="{FF2B5EF4-FFF2-40B4-BE49-F238E27FC236}">
                  <a16:creationId xmlns:a16="http://schemas.microsoft.com/office/drawing/2014/main" id="{B5517524-EE3C-9C3D-92A9-E6A08D9A8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801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8 h 26"/>
                <a:gd name="T6" fmla="*/ 21 w 25"/>
                <a:gd name="T7" fmla="*/ 22 h 26"/>
                <a:gd name="T8" fmla="*/ 17 w 25"/>
                <a:gd name="T9" fmla="*/ 24 h 26"/>
                <a:gd name="T10" fmla="*/ 13 w 25"/>
                <a:gd name="T11" fmla="*/ 26 h 26"/>
                <a:gd name="T12" fmla="*/ 8 w 25"/>
                <a:gd name="T13" fmla="*/ 24 h 26"/>
                <a:gd name="T14" fmla="*/ 4 w 25"/>
                <a:gd name="T15" fmla="*/ 22 h 26"/>
                <a:gd name="T16" fmla="*/ 0 w 25"/>
                <a:gd name="T17" fmla="*/ 18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1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1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8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1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1"/>
                  </a:lnTo>
                  <a:lnTo>
                    <a:pt x="25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9" name="Freeform 397">
              <a:extLst>
                <a:ext uri="{FF2B5EF4-FFF2-40B4-BE49-F238E27FC236}">
                  <a16:creationId xmlns:a16="http://schemas.microsoft.com/office/drawing/2014/main" id="{CDD158F0-AA79-A352-CCC6-EBD6B15986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71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0" name="Freeform 398">
              <a:extLst>
                <a:ext uri="{FF2B5EF4-FFF2-40B4-BE49-F238E27FC236}">
                  <a16:creationId xmlns:a16="http://schemas.microsoft.com/office/drawing/2014/main" id="{FF410CFC-0499-2C63-BF61-896B719FC4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71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1" name="Freeform 399">
              <a:extLst>
                <a:ext uri="{FF2B5EF4-FFF2-40B4-BE49-F238E27FC236}">
                  <a16:creationId xmlns:a16="http://schemas.microsoft.com/office/drawing/2014/main" id="{F58FF2B8-C31F-4DE2-2075-7B7970A25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84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2" name="Freeform 400">
              <a:extLst>
                <a:ext uri="{FF2B5EF4-FFF2-40B4-BE49-F238E27FC236}">
                  <a16:creationId xmlns:a16="http://schemas.microsoft.com/office/drawing/2014/main" id="{540179E4-D628-4C15-C27F-0DC4FDCFAD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84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3" name="Freeform 401">
              <a:extLst>
                <a:ext uri="{FF2B5EF4-FFF2-40B4-BE49-F238E27FC236}">
                  <a16:creationId xmlns:a16="http://schemas.microsoft.com/office/drawing/2014/main" id="{B0F0DBE4-B219-1009-E0F1-7BB011CD0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84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5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4" name="Freeform 402">
              <a:extLst>
                <a:ext uri="{FF2B5EF4-FFF2-40B4-BE49-F238E27FC236}">
                  <a16:creationId xmlns:a16="http://schemas.microsoft.com/office/drawing/2014/main" id="{2F4E5E91-1A06-DD07-4D8A-1107AAFF5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84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5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5" name="Freeform 403">
              <a:extLst>
                <a:ext uri="{FF2B5EF4-FFF2-40B4-BE49-F238E27FC236}">
                  <a16:creationId xmlns:a16="http://schemas.microsoft.com/office/drawing/2014/main" id="{F570B670-1231-7D72-5D54-996B8AEE1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84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3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6" name="Freeform 404">
              <a:extLst>
                <a:ext uri="{FF2B5EF4-FFF2-40B4-BE49-F238E27FC236}">
                  <a16:creationId xmlns:a16="http://schemas.microsoft.com/office/drawing/2014/main" id="{61996BEE-303D-2659-33EF-8087BF100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84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3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7" name="Freeform 405">
              <a:extLst>
                <a:ext uri="{FF2B5EF4-FFF2-40B4-BE49-F238E27FC236}">
                  <a16:creationId xmlns:a16="http://schemas.microsoft.com/office/drawing/2014/main" id="{B497788C-DE73-C935-8E76-D0621E5DB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1827"/>
              <a:ext cx="26" cy="27"/>
            </a:xfrm>
            <a:custGeom>
              <a:avLst/>
              <a:gdLst>
                <a:gd name="T0" fmla="*/ 26 w 26"/>
                <a:gd name="T1" fmla="*/ 14 h 27"/>
                <a:gd name="T2" fmla="*/ 26 w 26"/>
                <a:gd name="T3" fmla="*/ 14 h 27"/>
                <a:gd name="T4" fmla="*/ 24 w 26"/>
                <a:gd name="T5" fmla="*/ 20 h 27"/>
                <a:gd name="T6" fmla="*/ 23 w 26"/>
                <a:gd name="T7" fmla="*/ 24 h 27"/>
                <a:gd name="T8" fmla="*/ 19 w 26"/>
                <a:gd name="T9" fmla="*/ 26 h 27"/>
                <a:gd name="T10" fmla="*/ 13 w 26"/>
                <a:gd name="T11" fmla="*/ 27 h 27"/>
                <a:gd name="T12" fmla="*/ 8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4 h 27"/>
                <a:gd name="T20" fmla="*/ 0 w 26"/>
                <a:gd name="T21" fmla="*/ 14 h 27"/>
                <a:gd name="T22" fmla="*/ 2 w 26"/>
                <a:gd name="T23" fmla="*/ 7 h 27"/>
                <a:gd name="T24" fmla="*/ 4 w 26"/>
                <a:gd name="T25" fmla="*/ 3 h 27"/>
                <a:gd name="T26" fmla="*/ 8 w 26"/>
                <a:gd name="T27" fmla="*/ 1 h 27"/>
                <a:gd name="T28" fmla="*/ 13 w 26"/>
                <a:gd name="T29" fmla="*/ 0 h 27"/>
                <a:gd name="T30" fmla="*/ 19 w 26"/>
                <a:gd name="T31" fmla="*/ 1 h 27"/>
                <a:gd name="T32" fmla="*/ 23 w 26"/>
                <a:gd name="T33" fmla="*/ 3 h 27"/>
                <a:gd name="T34" fmla="*/ 24 w 26"/>
                <a:gd name="T35" fmla="*/ 7 h 27"/>
                <a:gd name="T36" fmla="*/ 26 w 26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4"/>
                  </a:moveTo>
                  <a:lnTo>
                    <a:pt x="26" y="14"/>
                  </a:lnTo>
                  <a:lnTo>
                    <a:pt x="24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7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4" y="7"/>
                  </a:lnTo>
                  <a:lnTo>
                    <a:pt x="26" y="14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</p:grpSp>
      <p:grpSp>
        <p:nvGrpSpPr>
          <p:cNvPr id="15" name="Group 607">
            <a:extLst>
              <a:ext uri="{FF2B5EF4-FFF2-40B4-BE49-F238E27FC236}">
                <a16:creationId xmlns:a16="http://schemas.microsoft.com/office/drawing/2014/main" id="{455AFBA1-2CFC-2372-2401-000B13396724}"/>
              </a:ext>
            </a:extLst>
          </p:cNvPr>
          <p:cNvGrpSpPr>
            <a:grpSpLocks/>
          </p:cNvGrpSpPr>
          <p:nvPr/>
        </p:nvGrpSpPr>
        <p:grpSpPr bwMode="auto">
          <a:xfrm>
            <a:off x="1771652" y="3790951"/>
            <a:ext cx="5463117" cy="1962150"/>
            <a:chOff x="837" y="1791"/>
            <a:chExt cx="2581" cy="927"/>
          </a:xfrm>
        </p:grpSpPr>
        <p:sp>
          <p:nvSpPr>
            <p:cNvPr id="238" name="Freeform 407">
              <a:extLst>
                <a:ext uri="{FF2B5EF4-FFF2-40B4-BE49-F238E27FC236}">
                  <a16:creationId xmlns:a16="http://schemas.microsoft.com/office/drawing/2014/main" id="{0BFE39C6-3B9B-1477-8DB5-DE1B6DE95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1827"/>
              <a:ext cx="26" cy="27"/>
            </a:xfrm>
            <a:custGeom>
              <a:avLst/>
              <a:gdLst>
                <a:gd name="T0" fmla="*/ 26 w 26"/>
                <a:gd name="T1" fmla="*/ 14 h 27"/>
                <a:gd name="T2" fmla="*/ 26 w 26"/>
                <a:gd name="T3" fmla="*/ 14 h 27"/>
                <a:gd name="T4" fmla="*/ 24 w 26"/>
                <a:gd name="T5" fmla="*/ 20 h 27"/>
                <a:gd name="T6" fmla="*/ 23 w 26"/>
                <a:gd name="T7" fmla="*/ 24 h 27"/>
                <a:gd name="T8" fmla="*/ 19 w 26"/>
                <a:gd name="T9" fmla="*/ 26 h 27"/>
                <a:gd name="T10" fmla="*/ 13 w 26"/>
                <a:gd name="T11" fmla="*/ 27 h 27"/>
                <a:gd name="T12" fmla="*/ 8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4 h 27"/>
                <a:gd name="T20" fmla="*/ 0 w 26"/>
                <a:gd name="T21" fmla="*/ 14 h 27"/>
                <a:gd name="T22" fmla="*/ 2 w 26"/>
                <a:gd name="T23" fmla="*/ 7 h 27"/>
                <a:gd name="T24" fmla="*/ 4 w 26"/>
                <a:gd name="T25" fmla="*/ 3 h 27"/>
                <a:gd name="T26" fmla="*/ 8 w 26"/>
                <a:gd name="T27" fmla="*/ 1 h 27"/>
                <a:gd name="T28" fmla="*/ 13 w 26"/>
                <a:gd name="T29" fmla="*/ 0 h 27"/>
                <a:gd name="T30" fmla="*/ 19 w 26"/>
                <a:gd name="T31" fmla="*/ 1 h 27"/>
                <a:gd name="T32" fmla="*/ 23 w 26"/>
                <a:gd name="T33" fmla="*/ 3 h 27"/>
                <a:gd name="T34" fmla="*/ 24 w 26"/>
                <a:gd name="T35" fmla="*/ 7 h 27"/>
                <a:gd name="T36" fmla="*/ 26 w 26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4"/>
                  </a:moveTo>
                  <a:lnTo>
                    <a:pt x="26" y="14"/>
                  </a:lnTo>
                  <a:lnTo>
                    <a:pt x="24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7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4" y="7"/>
                  </a:lnTo>
                  <a:lnTo>
                    <a:pt x="26" y="14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39" name="Freeform 408">
              <a:extLst>
                <a:ext uri="{FF2B5EF4-FFF2-40B4-BE49-F238E27FC236}">
                  <a16:creationId xmlns:a16="http://schemas.microsoft.com/office/drawing/2014/main" id="{4269A0AF-4551-E101-922C-36DC9E9365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81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0" name="Freeform 409">
              <a:extLst>
                <a:ext uri="{FF2B5EF4-FFF2-40B4-BE49-F238E27FC236}">
                  <a16:creationId xmlns:a16="http://schemas.microsoft.com/office/drawing/2014/main" id="{7BA0B0B1-0E9E-F179-B629-C12246889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81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1" name="Freeform 410">
              <a:extLst>
                <a:ext uri="{FF2B5EF4-FFF2-40B4-BE49-F238E27FC236}">
                  <a16:creationId xmlns:a16="http://schemas.microsoft.com/office/drawing/2014/main" id="{DA9A028A-84B5-0A70-7DB6-068959740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3" y="180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6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6 w 26"/>
                <a:gd name="T25" fmla="*/ 3 h 26"/>
                <a:gd name="T26" fmla="*/ 10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6" y="3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2" name="Freeform 411">
              <a:extLst>
                <a:ext uri="{FF2B5EF4-FFF2-40B4-BE49-F238E27FC236}">
                  <a16:creationId xmlns:a16="http://schemas.microsoft.com/office/drawing/2014/main" id="{D37702A8-71CC-08C3-9BE2-759B91DF7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3" y="180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6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6 w 26"/>
                <a:gd name="T25" fmla="*/ 3 h 26"/>
                <a:gd name="T26" fmla="*/ 10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6" y="3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3" name="Freeform 412">
              <a:extLst>
                <a:ext uri="{FF2B5EF4-FFF2-40B4-BE49-F238E27FC236}">
                  <a16:creationId xmlns:a16="http://schemas.microsoft.com/office/drawing/2014/main" id="{D7D34B66-72F2-257E-839E-B6B3390CD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7" y="179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3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6 w 26"/>
                <a:gd name="T15" fmla="*/ 23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6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3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6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6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4" name="Freeform 413">
              <a:extLst>
                <a:ext uri="{FF2B5EF4-FFF2-40B4-BE49-F238E27FC236}">
                  <a16:creationId xmlns:a16="http://schemas.microsoft.com/office/drawing/2014/main" id="{780BC160-E999-A2F7-D3E8-A6584D819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7" y="179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3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6 w 26"/>
                <a:gd name="T15" fmla="*/ 23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6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3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6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6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5" name="Freeform 414">
              <a:extLst>
                <a:ext uri="{FF2B5EF4-FFF2-40B4-BE49-F238E27FC236}">
                  <a16:creationId xmlns:a16="http://schemas.microsoft.com/office/drawing/2014/main" id="{3D872285-2F7C-209A-EBC7-4973090FE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592"/>
              <a:ext cx="2555" cy="113"/>
            </a:xfrm>
            <a:custGeom>
              <a:avLst/>
              <a:gdLst>
                <a:gd name="T0" fmla="*/ 0 w 2555"/>
                <a:gd name="T1" fmla="*/ 113 h 113"/>
                <a:gd name="T2" fmla="*/ 378 w 2555"/>
                <a:gd name="T3" fmla="*/ 113 h 113"/>
                <a:gd name="T4" fmla="*/ 471 w 2555"/>
                <a:gd name="T5" fmla="*/ 48 h 113"/>
                <a:gd name="T6" fmla="*/ 520 w 2555"/>
                <a:gd name="T7" fmla="*/ 50 h 113"/>
                <a:gd name="T8" fmla="*/ 566 w 2555"/>
                <a:gd name="T9" fmla="*/ 113 h 113"/>
                <a:gd name="T10" fmla="*/ 709 w 2555"/>
                <a:gd name="T11" fmla="*/ 113 h 113"/>
                <a:gd name="T12" fmla="*/ 804 w 2555"/>
                <a:gd name="T13" fmla="*/ 0 h 113"/>
                <a:gd name="T14" fmla="*/ 898 w 2555"/>
                <a:gd name="T15" fmla="*/ 113 h 113"/>
                <a:gd name="T16" fmla="*/ 993 w 2555"/>
                <a:gd name="T17" fmla="*/ 113 h 113"/>
                <a:gd name="T18" fmla="*/ 1088 w 2555"/>
                <a:gd name="T19" fmla="*/ 98 h 113"/>
                <a:gd name="T20" fmla="*/ 2555 w 2555"/>
                <a:gd name="T21" fmla="*/ 98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55" h="113">
                  <a:moveTo>
                    <a:pt x="0" y="113"/>
                  </a:moveTo>
                  <a:lnTo>
                    <a:pt x="378" y="113"/>
                  </a:lnTo>
                  <a:lnTo>
                    <a:pt x="471" y="48"/>
                  </a:lnTo>
                  <a:lnTo>
                    <a:pt x="520" y="50"/>
                  </a:lnTo>
                  <a:lnTo>
                    <a:pt x="566" y="113"/>
                  </a:lnTo>
                  <a:lnTo>
                    <a:pt x="709" y="113"/>
                  </a:lnTo>
                  <a:lnTo>
                    <a:pt x="804" y="0"/>
                  </a:lnTo>
                  <a:lnTo>
                    <a:pt x="898" y="113"/>
                  </a:lnTo>
                  <a:lnTo>
                    <a:pt x="993" y="113"/>
                  </a:lnTo>
                  <a:lnTo>
                    <a:pt x="1088" y="98"/>
                  </a:lnTo>
                  <a:lnTo>
                    <a:pt x="2555" y="98"/>
                  </a:lnTo>
                </a:path>
              </a:pathLst>
            </a:custGeom>
            <a:noFill/>
            <a:ln w="11113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6" name="Freeform 415">
              <a:extLst>
                <a:ext uri="{FF2B5EF4-FFF2-40B4-BE49-F238E27FC236}">
                  <a16:creationId xmlns:a16="http://schemas.microsoft.com/office/drawing/2014/main" id="{7C95D3EE-3BBD-8A50-799C-C1B8716BF8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560"/>
              <a:ext cx="2555" cy="130"/>
            </a:xfrm>
            <a:custGeom>
              <a:avLst/>
              <a:gdLst>
                <a:gd name="T0" fmla="*/ 0 w 2555"/>
                <a:gd name="T1" fmla="*/ 130 h 130"/>
                <a:gd name="T2" fmla="*/ 709 w 2555"/>
                <a:gd name="T3" fmla="*/ 130 h 130"/>
                <a:gd name="T4" fmla="*/ 804 w 2555"/>
                <a:gd name="T5" fmla="*/ 7 h 130"/>
                <a:gd name="T6" fmla="*/ 911 w 2555"/>
                <a:gd name="T7" fmla="*/ 130 h 130"/>
                <a:gd name="T8" fmla="*/ 2122 w 2555"/>
                <a:gd name="T9" fmla="*/ 130 h 130"/>
                <a:gd name="T10" fmla="*/ 2225 w 2555"/>
                <a:gd name="T11" fmla="*/ 0 h 130"/>
                <a:gd name="T12" fmla="*/ 2319 w 2555"/>
                <a:gd name="T13" fmla="*/ 130 h 130"/>
                <a:gd name="T14" fmla="*/ 2555 w 2555"/>
                <a:gd name="T15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55" h="130">
                  <a:moveTo>
                    <a:pt x="0" y="130"/>
                  </a:moveTo>
                  <a:lnTo>
                    <a:pt x="709" y="130"/>
                  </a:lnTo>
                  <a:lnTo>
                    <a:pt x="804" y="7"/>
                  </a:lnTo>
                  <a:lnTo>
                    <a:pt x="911" y="130"/>
                  </a:lnTo>
                  <a:lnTo>
                    <a:pt x="2122" y="130"/>
                  </a:lnTo>
                  <a:lnTo>
                    <a:pt x="2225" y="0"/>
                  </a:lnTo>
                  <a:lnTo>
                    <a:pt x="2319" y="130"/>
                  </a:lnTo>
                  <a:lnTo>
                    <a:pt x="2555" y="13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7" name="Freeform 416">
              <a:extLst>
                <a:ext uri="{FF2B5EF4-FFF2-40B4-BE49-F238E27FC236}">
                  <a16:creationId xmlns:a16="http://schemas.microsoft.com/office/drawing/2014/main" id="{1C411B65-7FC5-F892-5567-CDCD83BC11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449"/>
              <a:ext cx="2082" cy="241"/>
            </a:xfrm>
            <a:custGeom>
              <a:avLst/>
              <a:gdLst>
                <a:gd name="T0" fmla="*/ 0 w 2082"/>
                <a:gd name="T1" fmla="*/ 241 h 241"/>
                <a:gd name="T2" fmla="*/ 189 w 2082"/>
                <a:gd name="T3" fmla="*/ 241 h 241"/>
                <a:gd name="T4" fmla="*/ 284 w 2082"/>
                <a:gd name="T5" fmla="*/ 76 h 241"/>
                <a:gd name="T6" fmla="*/ 330 w 2082"/>
                <a:gd name="T7" fmla="*/ 44 h 241"/>
                <a:gd name="T8" fmla="*/ 378 w 2082"/>
                <a:gd name="T9" fmla="*/ 81 h 241"/>
                <a:gd name="T10" fmla="*/ 425 w 2082"/>
                <a:gd name="T11" fmla="*/ 241 h 241"/>
                <a:gd name="T12" fmla="*/ 614 w 2082"/>
                <a:gd name="T13" fmla="*/ 241 h 241"/>
                <a:gd name="T14" fmla="*/ 709 w 2082"/>
                <a:gd name="T15" fmla="*/ 169 h 241"/>
                <a:gd name="T16" fmla="*/ 804 w 2082"/>
                <a:gd name="T17" fmla="*/ 144 h 241"/>
                <a:gd name="T18" fmla="*/ 898 w 2082"/>
                <a:gd name="T19" fmla="*/ 152 h 241"/>
                <a:gd name="T20" fmla="*/ 993 w 2082"/>
                <a:gd name="T21" fmla="*/ 113 h 241"/>
                <a:gd name="T22" fmla="*/ 1088 w 2082"/>
                <a:gd name="T23" fmla="*/ 85 h 241"/>
                <a:gd name="T24" fmla="*/ 1183 w 2082"/>
                <a:gd name="T25" fmla="*/ 91 h 241"/>
                <a:gd name="T26" fmla="*/ 1277 w 2082"/>
                <a:gd name="T27" fmla="*/ 241 h 241"/>
                <a:gd name="T28" fmla="*/ 1372 w 2082"/>
                <a:gd name="T29" fmla="*/ 113 h 241"/>
                <a:gd name="T30" fmla="*/ 1467 w 2082"/>
                <a:gd name="T31" fmla="*/ 105 h 241"/>
                <a:gd name="T32" fmla="*/ 1562 w 2082"/>
                <a:gd name="T33" fmla="*/ 0 h 241"/>
                <a:gd name="T34" fmla="*/ 1656 w 2082"/>
                <a:gd name="T35" fmla="*/ 83 h 241"/>
                <a:gd name="T36" fmla="*/ 1751 w 2082"/>
                <a:gd name="T37" fmla="*/ 104 h 241"/>
                <a:gd name="T38" fmla="*/ 1846 w 2082"/>
                <a:gd name="T39" fmla="*/ 74 h 241"/>
                <a:gd name="T40" fmla="*/ 1940 w 2082"/>
                <a:gd name="T41" fmla="*/ 76 h 241"/>
                <a:gd name="T42" fmla="*/ 2035 w 2082"/>
                <a:gd name="T43" fmla="*/ 59 h 241"/>
                <a:gd name="T44" fmla="*/ 2082 w 2082"/>
                <a:gd name="T45" fmla="*/ 4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82" h="241">
                  <a:moveTo>
                    <a:pt x="0" y="241"/>
                  </a:moveTo>
                  <a:lnTo>
                    <a:pt x="189" y="241"/>
                  </a:lnTo>
                  <a:lnTo>
                    <a:pt x="284" y="76"/>
                  </a:lnTo>
                  <a:lnTo>
                    <a:pt x="330" y="44"/>
                  </a:lnTo>
                  <a:lnTo>
                    <a:pt x="378" y="81"/>
                  </a:lnTo>
                  <a:lnTo>
                    <a:pt x="425" y="241"/>
                  </a:lnTo>
                  <a:lnTo>
                    <a:pt x="614" y="241"/>
                  </a:lnTo>
                  <a:lnTo>
                    <a:pt x="709" y="169"/>
                  </a:lnTo>
                  <a:lnTo>
                    <a:pt x="804" y="144"/>
                  </a:lnTo>
                  <a:lnTo>
                    <a:pt x="898" y="152"/>
                  </a:lnTo>
                  <a:lnTo>
                    <a:pt x="993" y="113"/>
                  </a:lnTo>
                  <a:lnTo>
                    <a:pt x="1088" y="85"/>
                  </a:lnTo>
                  <a:lnTo>
                    <a:pt x="1183" y="91"/>
                  </a:lnTo>
                  <a:lnTo>
                    <a:pt x="1277" y="241"/>
                  </a:lnTo>
                  <a:lnTo>
                    <a:pt x="1372" y="113"/>
                  </a:lnTo>
                  <a:lnTo>
                    <a:pt x="1467" y="105"/>
                  </a:lnTo>
                  <a:lnTo>
                    <a:pt x="1562" y="0"/>
                  </a:lnTo>
                  <a:lnTo>
                    <a:pt x="1656" y="83"/>
                  </a:lnTo>
                  <a:lnTo>
                    <a:pt x="1751" y="104"/>
                  </a:lnTo>
                  <a:lnTo>
                    <a:pt x="1846" y="74"/>
                  </a:lnTo>
                  <a:lnTo>
                    <a:pt x="1940" y="76"/>
                  </a:lnTo>
                  <a:lnTo>
                    <a:pt x="2035" y="59"/>
                  </a:lnTo>
                  <a:lnTo>
                    <a:pt x="2082" y="44"/>
                  </a:lnTo>
                </a:path>
              </a:pathLst>
            </a:custGeom>
            <a:noFill/>
            <a:ln w="11113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8" name="Freeform 417">
              <a:extLst>
                <a:ext uri="{FF2B5EF4-FFF2-40B4-BE49-F238E27FC236}">
                  <a16:creationId xmlns:a16="http://schemas.microsoft.com/office/drawing/2014/main" id="{CAED5097-5184-C944-10B0-0B94F01D0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514"/>
              <a:ext cx="2522" cy="176"/>
            </a:xfrm>
            <a:custGeom>
              <a:avLst/>
              <a:gdLst>
                <a:gd name="T0" fmla="*/ 0 w 2522"/>
                <a:gd name="T1" fmla="*/ 176 h 176"/>
                <a:gd name="T2" fmla="*/ 811 w 2522"/>
                <a:gd name="T3" fmla="*/ 176 h 176"/>
                <a:gd name="T4" fmla="*/ 898 w 2522"/>
                <a:gd name="T5" fmla="*/ 53 h 176"/>
                <a:gd name="T6" fmla="*/ 993 w 2522"/>
                <a:gd name="T7" fmla="*/ 176 h 176"/>
                <a:gd name="T8" fmla="*/ 1277 w 2522"/>
                <a:gd name="T9" fmla="*/ 176 h 176"/>
                <a:gd name="T10" fmla="*/ 1372 w 2522"/>
                <a:gd name="T11" fmla="*/ 48 h 176"/>
                <a:gd name="T12" fmla="*/ 1467 w 2522"/>
                <a:gd name="T13" fmla="*/ 31 h 176"/>
                <a:gd name="T14" fmla="*/ 1562 w 2522"/>
                <a:gd name="T15" fmla="*/ 40 h 176"/>
                <a:gd name="T16" fmla="*/ 1656 w 2522"/>
                <a:gd name="T17" fmla="*/ 176 h 176"/>
                <a:gd name="T18" fmla="*/ 1751 w 2522"/>
                <a:gd name="T19" fmla="*/ 176 h 176"/>
                <a:gd name="T20" fmla="*/ 1846 w 2522"/>
                <a:gd name="T21" fmla="*/ 74 h 176"/>
                <a:gd name="T22" fmla="*/ 1940 w 2522"/>
                <a:gd name="T23" fmla="*/ 72 h 176"/>
                <a:gd name="T24" fmla="*/ 1987 w 2522"/>
                <a:gd name="T25" fmla="*/ 52 h 176"/>
                <a:gd name="T26" fmla="*/ 2035 w 2522"/>
                <a:gd name="T27" fmla="*/ 74 h 176"/>
                <a:gd name="T28" fmla="*/ 2130 w 2522"/>
                <a:gd name="T29" fmla="*/ 78 h 176"/>
                <a:gd name="T30" fmla="*/ 2225 w 2522"/>
                <a:gd name="T31" fmla="*/ 0 h 176"/>
                <a:gd name="T32" fmla="*/ 2319 w 2522"/>
                <a:gd name="T33" fmla="*/ 66 h 176"/>
                <a:gd name="T34" fmla="*/ 2414 w 2522"/>
                <a:gd name="T35" fmla="*/ 55 h 176"/>
                <a:gd name="T36" fmla="*/ 2522 w 2522"/>
                <a:gd name="T37" fmla="*/ 5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2" h="176">
                  <a:moveTo>
                    <a:pt x="0" y="176"/>
                  </a:moveTo>
                  <a:lnTo>
                    <a:pt x="811" y="176"/>
                  </a:lnTo>
                  <a:lnTo>
                    <a:pt x="898" y="53"/>
                  </a:lnTo>
                  <a:lnTo>
                    <a:pt x="993" y="176"/>
                  </a:lnTo>
                  <a:lnTo>
                    <a:pt x="1277" y="176"/>
                  </a:lnTo>
                  <a:lnTo>
                    <a:pt x="1372" y="48"/>
                  </a:lnTo>
                  <a:lnTo>
                    <a:pt x="1467" y="31"/>
                  </a:lnTo>
                  <a:lnTo>
                    <a:pt x="1562" y="40"/>
                  </a:lnTo>
                  <a:lnTo>
                    <a:pt x="1656" y="176"/>
                  </a:lnTo>
                  <a:lnTo>
                    <a:pt x="1751" y="176"/>
                  </a:lnTo>
                  <a:lnTo>
                    <a:pt x="1846" y="74"/>
                  </a:lnTo>
                  <a:lnTo>
                    <a:pt x="1940" y="72"/>
                  </a:lnTo>
                  <a:lnTo>
                    <a:pt x="1987" y="52"/>
                  </a:lnTo>
                  <a:lnTo>
                    <a:pt x="2035" y="74"/>
                  </a:lnTo>
                  <a:lnTo>
                    <a:pt x="2130" y="78"/>
                  </a:lnTo>
                  <a:lnTo>
                    <a:pt x="2225" y="0"/>
                  </a:lnTo>
                  <a:lnTo>
                    <a:pt x="2319" y="66"/>
                  </a:lnTo>
                  <a:lnTo>
                    <a:pt x="2414" y="55"/>
                  </a:lnTo>
                  <a:lnTo>
                    <a:pt x="2522" y="52"/>
                  </a:lnTo>
                </a:path>
              </a:pathLst>
            </a:custGeom>
            <a:noFill/>
            <a:ln w="11113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9" name="Freeform 418">
              <a:extLst>
                <a:ext uri="{FF2B5EF4-FFF2-40B4-BE49-F238E27FC236}">
                  <a16:creationId xmlns:a16="http://schemas.microsoft.com/office/drawing/2014/main" id="{E8BFC0A0-4C8E-0A8A-A624-B2ABACEEE8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410"/>
              <a:ext cx="2230" cy="280"/>
            </a:xfrm>
            <a:custGeom>
              <a:avLst/>
              <a:gdLst>
                <a:gd name="T0" fmla="*/ 0 w 2230"/>
                <a:gd name="T1" fmla="*/ 280 h 280"/>
                <a:gd name="T2" fmla="*/ 378 w 2230"/>
                <a:gd name="T3" fmla="*/ 280 h 280"/>
                <a:gd name="T4" fmla="*/ 471 w 2230"/>
                <a:gd name="T5" fmla="*/ 135 h 280"/>
                <a:gd name="T6" fmla="*/ 520 w 2230"/>
                <a:gd name="T7" fmla="*/ 115 h 280"/>
                <a:gd name="T8" fmla="*/ 566 w 2230"/>
                <a:gd name="T9" fmla="*/ 53 h 280"/>
                <a:gd name="T10" fmla="*/ 614 w 2230"/>
                <a:gd name="T11" fmla="*/ 280 h 280"/>
                <a:gd name="T12" fmla="*/ 709 w 2230"/>
                <a:gd name="T13" fmla="*/ 280 h 280"/>
                <a:gd name="T14" fmla="*/ 804 w 2230"/>
                <a:gd name="T15" fmla="*/ 52 h 280"/>
                <a:gd name="T16" fmla="*/ 898 w 2230"/>
                <a:gd name="T17" fmla="*/ 0 h 280"/>
                <a:gd name="T18" fmla="*/ 993 w 2230"/>
                <a:gd name="T19" fmla="*/ 89 h 280"/>
                <a:gd name="T20" fmla="*/ 1088 w 2230"/>
                <a:gd name="T21" fmla="*/ 102 h 280"/>
                <a:gd name="T22" fmla="*/ 1183 w 2230"/>
                <a:gd name="T23" fmla="*/ 280 h 280"/>
                <a:gd name="T24" fmla="*/ 1277 w 2230"/>
                <a:gd name="T25" fmla="*/ 74 h 280"/>
                <a:gd name="T26" fmla="*/ 1372 w 2230"/>
                <a:gd name="T27" fmla="*/ 46 h 280"/>
                <a:gd name="T28" fmla="*/ 1467 w 2230"/>
                <a:gd name="T29" fmla="*/ 35 h 280"/>
                <a:gd name="T30" fmla="*/ 1562 w 2230"/>
                <a:gd name="T31" fmla="*/ 35 h 280"/>
                <a:gd name="T32" fmla="*/ 1656 w 2230"/>
                <a:gd name="T33" fmla="*/ 89 h 280"/>
                <a:gd name="T34" fmla="*/ 1751 w 2230"/>
                <a:gd name="T35" fmla="*/ 135 h 280"/>
                <a:gd name="T36" fmla="*/ 1846 w 2230"/>
                <a:gd name="T37" fmla="*/ 100 h 280"/>
                <a:gd name="T38" fmla="*/ 1940 w 2230"/>
                <a:gd name="T39" fmla="*/ 107 h 280"/>
                <a:gd name="T40" fmla="*/ 1987 w 2230"/>
                <a:gd name="T41" fmla="*/ 109 h 280"/>
                <a:gd name="T42" fmla="*/ 2035 w 2230"/>
                <a:gd name="T43" fmla="*/ 85 h 280"/>
                <a:gd name="T44" fmla="*/ 2135 w 2230"/>
                <a:gd name="T45" fmla="*/ 81 h 280"/>
                <a:gd name="T46" fmla="*/ 2230 w 2230"/>
                <a:gd name="T47" fmla="*/ 74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30" h="280">
                  <a:moveTo>
                    <a:pt x="0" y="280"/>
                  </a:moveTo>
                  <a:lnTo>
                    <a:pt x="378" y="280"/>
                  </a:lnTo>
                  <a:lnTo>
                    <a:pt x="471" y="135"/>
                  </a:lnTo>
                  <a:lnTo>
                    <a:pt x="520" y="115"/>
                  </a:lnTo>
                  <a:lnTo>
                    <a:pt x="566" y="53"/>
                  </a:lnTo>
                  <a:lnTo>
                    <a:pt x="614" y="280"/>
                  </a:lnTo>
                  <a:lnTo>
                    <a:pt x="709" y="280"/>
                  </a:lnTo>
                  <a:lnTo>
                    <a:pt x="804" y="52"/>
                  </a:lnTo>
                  <a:lnTo>
                    <a:pt x="898" y="0"/>
                  </a:lnTo>
                  <a:lnTo>
                    <a:pt x="993" y="89"/>
                  </a:lnTo>
                  <a:lnTo>
                    <a:pt x="1088" y="102"/>
                  </a:lnTo>
                  <a:lnTo>
                    <a:pt x="1183" y="280"/>
                  </a:lnTo>
                  <a:lnTo>
                    <a:pt x="1277" y="74"/>
                  </a:lnTo>
                  <a:lnTo>
                    <a:pt x="1372" y="46"/>
                  </a:lnTo>
                  <a:lnTo>
                    <a:pt x="1467" y="35"/>
                  </a:lnTo>
                  <a:lnTo>
                    <a:pt x="1562" y="35"/>
                  </a:lnTo>
                  <a:lnTo>
                    <a:pt x="1656" y="89"/>
                  </a:lnTo>
                  <a:lnTo>
                    <a:pt x="1751" y="135"/>
                  </a:lnTo>
                  <a:lnTo>
                    <a:pt x="1846" y="100"/>
                  </a:lnTo>
                  <a:lnTo>
                    <a:pt x="1940" y="107"/>
                  </a:lnTo>
                  <a:lnTo>
                    <a:pt x="1987" y="109"/>
                  </a:lnTo>
                  <a:lnTo>
                    <a:pt x="2035" y="85"/>
                  </a:lnTo>
                  <a:lnTo>
                    <a:pt x="2135" y="81"/>
                  </a:lnTo>
                  <a:lnTo>
                    <a:pt x="2230" y="74"/>
                  </a:lnTo>
                </a:path>
              </a:pathLst>
            </a:custGeom>
            <a:noFill/>
            <a:ln w="11113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0" name="Freeform 419">
              <a:extLst>
                <a:ext uri="{FF2B5EF4-FFF2-40B4-BE49-F238E27FC236}">
                  <a16:creationId xmlns:a16="http://schemas.microsoft.com/office/drawing/2014/main" id="{F8F777CF-73FA-ADD8-B82C-1B113BDB8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348"/>
              <a:ext cx="2035" cy="342"/>
            </a:xfrm>
            <a:custGeom>
              <a:avLst/>
              <a:gdLst>
                <a:gd name="T0" fmla="*/ 0 w 2035"/>
                <a:gd name="T1" fmla="*/ 342 h 342"/>
                <a:gd name="T2" fmla="*/ 471 w 2035"/>
                <a:gd name="T3" fmla="*/ 342 h 342"/>
                <a:gd name="T4" fmla="*/ 566 w 2035"/>
                <a:gd name="T5" fmla="*/ 78 h 342"/>
                <a:gd name="T6" fmla="*/ 614 w 2035"/>
                <a:gd name="T7" fmla="*/ 0 h 342"/>
                <a:gd name="T8" fmla="*/ 709 w 2035"/>
                <a:gd name="T9" fmla="*/ 236 h 342"/>
                <a:gd name="T10" fmla="*/ 796 w 2035"/>
                <a:gd name="T11" fmla="*/ 262 h 342"/>
                <a:gd name="T12" fmla="*/ 898 w 2035"/>
                <a:gd name="T13" fmla="*/ 342 h 342"/>
                <a:gd name="T14" fmla="*/ 986 w 2035"/>
                <a:gd name="T15" fmla="*/ 342 h 342"/>
                <a:gd name="T16" fmla="*/ 1088 w 2035"/>
                <a:gd name="T17" fmla="*/ 234 h 342"/>
                <a:gd name="T18" fmla="*/ 1183 w 2035"/>
                <a:gd name="T19" fmla="*/ 342 h 342"/>
                <a:gd name="T20" fmla="*/ 2035 w 2035"/>
                <a:gd name="T21" fmla="*/ 34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35" h="342">
                  <a:moveTo>
                    <a:pt x="0" y="342"/>
                  </a:moveTo>
                  <a:lnTo>
                    <a:pt x="471" y="342"/>
                  </a:lnTo>
                  <a:lnTo>
                    <a:pt x="566" y="78"/>
                  </a:lnTo>
                  <a:lnTo>
                    <a:pt x="614" y="0"/>
                  </a:lnTo>
                  <a:lnTo>
                    <a:pt x="709" y="236"/>
                  </a:lnTo>
                  <a:lnTo>
                    <a:pt x="796" y="262"/>
                  </a:lnTo>
                  <a:lnTo>
                    <a:pt x="898" y="342"/>
                  </a:lnTo>
                  <a:lnTo>
                    <a:pt x="986" y="342"/>
                  </a:lnTo>
                  <a:lnTo>
                    <a:pt x="1088" y="234"/>
                  </a:lnTo>
                  <a:lnTo>
                    <a:pt x="1183" y="342"/>
                  </a:lnTo>
                  <a:lnTo>
                    <a:pt x="2035" y="342"/>
                  </a:lnTo>
                </a:path>
              </a:pathLst>
            </a:custGeom>
            <a:noFill/>
            <a:ln w="11113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1" name="Freeform 420">
              <a:extLst>
                <a:ext uri="{FF2B5EF4-FFF2-40B4-BE49-F238E27FC236}">
                  <a16:creationId xmlns:a16="http://schemas.microsoft.com/office/drawing/2014/main" id="{35EE51A9-893A-609D-3721-1E9F05E25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2" name="Freeform 421">
              <a:extLst>
                <a:ext uri="{FF2B5EF4-FFF2-40B4-BE49-F238E27FC236}">
                  <a16:creationId xmlns:a16="http://schemas.microsoft.com/office/drawing/2014/main" id="{57CD6CF6-0911-908E-A496-B89B05989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3" name="Freeform 422">
              <a:extLst>
                <a:ext uri="{FF2B5EF4-FFF2-40B4-BE49-F238E27FC236}">
                  <a16:creationId xmlns:a16="http://schemas.microsoft.com/office/drawing/2014/main" id="{C04827BE-CBA4-4117-B9D6-3B9A7350CE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4" name="Freeform 423">
              <a:extLst>
                <a:ext uri="{FF2B5EF4-FFF2-40B4-BE49-F238E27FC236}">
                  <a16:creationId xmlns:a16="http://schemas.microsoft.com/office/drawing/2014/main" id="{EE59305D-628E-9D03-BA0E-F326DAC031A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5" name="Freeform 424">
              <a:extLst>
                <a:ext uri="{FF2B5EF4-FFF2-40B4-BE49-F238E27FC236}">
                  <a16:creationId xmlns:a16="http://schemas.microsoft.com/office/drawing/2014/main" id="{86DC7B01-BDB7-20C8-1B4E-52D12898A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92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6" name="Freeform 425">
              <a:extLst>
                <a:ext uri="{FF2B5EF4-FFF2-40B4-BE49-F238E27FC236}">
                  <a16:creationId xmlns:a16="http://schemas.microsoft.com/office/drawing/2014/main" id="{D959501F-857C-CBCF-80F0-CBD23DF26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92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7" name="Freeform 426">
              <a:extLst>
                <a:ext uri="{FF2B5EF4-FFF2-40B4-BE49-F238E27FC236}">
                  <a16:creationId xmlns:a16="http://schemas.microsoft.com/office/drawing/2014/main" id="{0A1DE447-2CC8-CEA7-2AEE-39462C4D83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692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8" name="Freeform 427">
              <a:extLst>
                <a:ext uri="{FF2B5EF4-FFF2-40B4-BE49-F238E27FC236}">
                  <a16:creationId xmlns:a16="http://schemas.microsoft.com/office/drawing/2014/main" id="{EDC54AAE-E96D-1C8C-D08D-15C8332AC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692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9" name="Freeform 428">
              <a:extLst>
                <a:ext uri="{FF2B5EF4-FFF2-40B4-BE49-F238E27FC236}">
                  <a16:creationId xmlns:a16="http://schemas.microsoft.com/office/drawing/2014/main" id="{89AADB73-B593-B908-1EE0-02C3B0F35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692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8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8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0" name="Freeform 429">
              <a:extLst>
                <a:ext uri="{FF2B5EF4-FFF2-40B4-BE49-F238E27FC236}">
                  <a16:creationId xmlns:a16="http://schemas.microsoft.com/office/drawing/2014/main" id="{8234F7FF-48A1-C620-05DB-340B89B1C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692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8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8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1" name="Freeform 430">
              <a:extLst>
                <a:ext uri="{FF2B5EF4-FFF2-40B4-BE49-F238E27FC236}">
                  <a16:creationId xmlns:a16="http://schemas.microsoft.com/office/drawing/2014/main" id="{40CDFC0B-4287-25A1-548E-585C79FBD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27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0 h 28"/>
                <a:gd name="T6" fmla="*/ 21 w 24"/>
                <a:gd name="T7" fmla="*/ 24 h 28"/>
                <a:gd name="T8" fmla="*/ 17 w 24"/>
                <a:gd name="T9" fmla="*/ 26 h 28"/>
                <a:gd name="T10" fmla="*/ 11 w 24"/>
                <a:gd name="T11" fmla="*/ 28 h 28"/>
                <a:gd name="T12" fmla="*/ 8 w 24"/>
                <a:gd name="T13" fmla="*/ 26 h 28"/>
                <a:gd name="T14" fmla="*/ 4 w 24"/>
                <a:gd name="T15" fmla="*/ 24 h 28"/>
                <a:gd name="T16" fmla="*/ 0 w 24"/>
                <a:gd name="T17" fmla="*/ 20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7 h 28"/>
                <a:gd name="T24" fmla="*/ 4 w 24"/>
                <a:gd name="T25" fmla="*/ 4 h 28"/>
                <a:gd name="T26" fmla="*/ 8 w 24"/>
                <a:gd name="T27" fmla="*/ 2 h 28"/>
                <a:gd name="T28" fmla="*/ 11 w 24"/>
                <a:gd name="T29" fmla="*/ 0 h 28"/>
                <a:gd name="T30" fmla="*/ 17 w 24"/>
                <a:gd name="T31" fmla="*/ 2 h 28"/>
                <a:gd name="T32" fmla="*/ 21 w 24"/>
                <a:gd name="T33" fmla="*/ 4 h 28"/>
                <a:gd name="T34" fmla="*/ 24 w 24"/>
                <a:gd name="T35" fmla="*/ 7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2" name="Freeform 431">
              <a:extLst>
                <a:ext uri="{FF2B5EF4-FFF2-40B4-BE49-F238E27FC236}">
                  <a16:creationId xmlns:a16="http://schemas.microsoft.com/office/drawing/2014/main" id="{8637F48C-F55E-ED7E-E218-1C6589FA83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27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0 h 28"/>
                <a:gd name="T6" fmla="*/ 21 w 24"/>
                <a:gd name="T7" fmla="*/ 24 h 28"/>
                <a:gd name="T8" fmla="*/ 17 w 24"/>
                <a:gd name="T9" fmla="*/ 26 h 28"/>
                <a:gd name="T10" fmla="*/ 11 w 24"/>
                <a:gd name="T11" fmla="*/ 28 h 28"/>
                <a:gd name="T12" fmla="*/ 8 w 24"/>
                <a:gd name="T13" fmla="*/ 26 h 28"/>
                <a:gd name="T14" fmla="*/ 4 w 24"/>
                <a:gd name="T15" fmla="*/ 24 h 28"/>
                <a:gd name="T16" fmla="*/ 0 w 24"/>
                <a:gd name="T17" fmla="*/ 20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7 h 28"/>
                <a:gd name="T24" fmla="*/ 4 w 24"/>
                <a:gd name="T25" fmla="*/ 4 h 28"/>
                <a:gd name="T26" fmla="*/ 8 w 24"/>
                <a:gd name="T27" fmla="*/ 2 h 28"/>
                <a:gd name="T28" fmla="*/ 11 w 24"/>
                <a:gd name="T29" fmla="*/ 0 h 28"/>
                <a:gd name="T30" fmla="*/ 17 w 24"/>
                <a:gd name="T31" fmla="*/ 2 h 28"/>
                <a:gd name="T32" fmla="*/ 21 w 24"/>
                <a:gd name="T33" fmla="*/ 4 h 28"/>
                <a:gd name="T34" fmla="*/ 24 w 24"/>
                <a:gd name="T35" fmla="*/ 7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3" name="Freeform 432">
              <a:extLst>
                <a:ext uri="{FF2B5EF4-FFF2-40B4-BE49-F238E27FC236}">
                  <a16:creationId xmlns:a16="http://schemas.microsoft.com/office/drawing/2014/main" id="{1C939F90-FDE4-3DC2-67A7-E06BB8827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26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4" name="Freeform 433">
              <a:extLst>
                <a:ext uri="{FF2B5EF4-FFF2-40B4-BE49-F238E27FC236}">
                  <a16:creationId xmlns:a16="http://schemas.microsoft.com/office/drawing/2014/main" id="{B71E1BAE-7AF4-CE98-D48A-9F264862A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26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5" name="Freeform 434">
              <a:extLst>
                <a:ext uri="{FF2B5EF4-FFF2-40B4-BE49-F238E27FC236}">
                  <a16:creationId xmlns:a16="http://schemas.microsoft.com/office/drawing/2014/main" id="{D537A1A5-3D45-ACEB-E91D-4E6E14D5D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692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6" name="Freeform 435">
              <a:extLst>
                <a:ext uri="{FF2B5EF4-FFF2-40B4-BE49-F238E27FC236}">
                  <a16:creationId xmlns:a16="http://schemas.microsoft.com/office/drawing/2014/main" id="{9DAC17BA-2389-5E50-086F-0BC948059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692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7" name="Freeform 436">
              <a:extLst>
                <a:ext uri="{FF2B5EF4-FFF2-40B4-BE49-F238E27FC236}">
                  <a16:creationId xmlns:a16="http://schemas.microsoft.com/office/drawing/2014/main" id="{CFE15B14-3487-B84F-E52B-C56E86AFC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8" name="Freeform 437">
              <a:extLst>
                <a:ext uri="{FF2B5EF4-FFF2-40B4-BE49-F238E27FC236}">
                  <a16:creationId xmlns:a16="http://schemas.microsoft.com/office/drawing/2014/main" id="{18CFEDDB-73F0-2DC1-D992-FD59076B40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9" name="Freeform 438">
              <a:extLst>
                <a:ext uri="{FF2B5EF4-FFF2-40B4-BE49-F238E27FC236}">
                  <a16:creationId xmlns:a16="http://schemas.microsoft.com/office/drawing/2014/main" id="{5B0AE113-DDCD-55D7-BBF7-34E9FDF4B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0" name="Freeform 439">
              <a:extLst>
                <a:ext uri="{FF2B5EF4-FFF2-40B4-BE49-F238E27FC236}">
                  <a16:creationId xmlns:a16="http://schemas.microsoft.com/office/drawing/2014/main" id="{52F6251D-36AB-D19F-9EF0-6775DD59E3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1" name="Freeform 440">
              <a:extLst>
                <a:ext uri="{FF2B5EF4-FFF2-40B4-BE49-F238E27FC236}">
                  <a16:creationId xmlns:a16="http://schemas.microsoft.com/office/drawing/2014/main" id="{0D9B4C0E-766D-7D24-1F54-DE3E84C8A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57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2" name="Freeform 441">
              <a:extLst>
                <a:ext uri="{FF2B5EF4-FFF2-40B4-BE49-F238E27FC236}">
                  <a16:creationId xmlns:a16="http://schemas.microsoft.com/office/drawing/2014/main" id="{9934FE1E-FDEC-4815-F10B-6A7B66C5B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57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3" name="Freeform 442">
              <a:extLst>
                <a:ext uri="{FF2B5EF4-FFF2-40B4-BE49-F238E27FC236}">
                  <a16:creationId xmlns:a16="http://schemas.microsoft.com/office/drawing/2014/main" id="{E89C6EAD-686D-8A66-DFD4-8E126A5DA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4" name="Freeform 443">
              <a:extLst>
                <a:ext uri="{FF2B5EF4-FFF2-40B4-BE49-F238E27FC236}">
                  <a16:creationId xmlns:a16="http://schemas.microsoft.com/office/drawing/2014/main" id="{D02A8E18-5D99-D50F-889E-832EA63C5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5" name="Freeform 444">
              <a:extLst>
                <a:ext uri="{FF2B5EF4-FFF2-40B4-BE49-F238E27FC236}">
                  <a16:creationId xmlns:a16="http://schemas.microsoft.com/office/drawing/2014/main" id="{0D8322E2-476F-CB2A-A9A6-D0B8BF9AC8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6" name="Freeform 445">
              <a:extLst>
                <a:ext uri="{FF2B5EF4-FFF2-40B4-BE49-F238E27FC236}">
                  <a16:creationId xmlns:a16="http://schemas.microsoft.com/office/drawing/2014/main" id="{A1FE76E6-220A-87AC-8D57-1A323782F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7" name="Freeform 446">
              <a:extLst>
                <a:ext uri="{FF2B5EF4-FFF2-40B4-BE49-F238E27FC236}">
                  <a16:creationId xmlns:a16="http://schemas.microsoft.com/office/drawing/2014/main" id="{C4594502-3B2F-18C8-C475-A3E93ED89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8" name="Freeform 447">
              <a:extLst>
                <a:ext uri="{FF2B5EF4-FFF2-40B4-BE49-F238E27FC236}">
                  <a16:creationId xmlns:a16="http://schemas.microsoft.com/office/drawing/2014/main" id="{9B26699E-8128-E15D-7224-D14D0D2D6E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9" name="Freeform 448">
              <a:extLst>
                <a:ext uri="{FF2B5EF4-FFF2-40B4-BE49-F238E27FC236}">
                  <a16:creationId xmlns:a16="http://schemas.microsoft.com/office/drawing/2014/main" id="{2313A620-8715-2F4D-4D51-C2E7111EE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0" name="Freeform 449">
              <a:extLst>
                <a:ext uri="{FF2B5EF4-FFF2-40B4-BE49-F238E27FC236}">
                  <a16:creationId xmlns:a16="http://schemas.microsoft.com/office/drawing/2014/main" id="{09722CDA-2F2D-DA2E-4E1D-37974ADA0A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1" name="Freeform 450">
              <a:extLst>
                <a:ext uri="{FF2B5EF4-FFF2-40B4-BE49-F238E27FC236}">
                  <a16:creationId xmlns:a16="http://schemas.microsoft.com/office/drawing/2014/main" id="{AD6C4F0B-8213-5E48-1C91-0B5E513C7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2" name="Freeform 451">
              <a:extLst>
                <a:ext uri="{FF2B5EF4-FFF2-40B4-BE49-F238E27FC236}">
                  <a16:creationId xmlns:a16="http://schemas.microsoft.com/office/drawing/2014/main" id="{301DFAA9-EC44-B9FA-A35A-09C6B3091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3" name="Freeform 452">
              <a:extLst>
                <a:ext uri="{FF2B5EF4-FFF2-40B4-BE49-F238E27FC236}">
                  <a16:creationId xmlns:a16="http://schemas.microsoft.com/office/drawing/2014/main" id="{F72AC606-A2F3-8FEF-5D2E-57304CEDD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4" name="Freeform 453">
              <a:extLst>
                <a:ext uri="{FF2B5EF4-FFF2-40B4-BE49-F238E27FC236}">
                  <a16:creationId xmlns:a16="http://schemas.microsoft.com/office/drawing/2014/main" id="{D708DEE9-5EA0-9E9D-C874-F4631B16E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5" name="Freeform 454">
              <a:extLst>
                <a:ext uri="{FF2B5EF4-FFF2-40B4-BE49-F238E27FC236}">
                  <a16:creationId xmlns:a16="http://schemas.microsoft.com/office/drawing/2014/main" id="{E1E6C585-D0AC-F439-2A62-A49C7E3C5D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6" name="Freeform 455">
              <a:extLst>
                <a:ext uri="{FF2B5EF4-FFF2-40B4-BE49-F238E27FC236}">
                  <a16:creationId xmlns:a16="http://schemas.microsoft.com/office/drawing/2014/main" id="{85F7F48D-74A1-B114-BC12-60D5B36AB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7" name="Freeform 456">
              <a:extLst>
                <a:ext uri="{FF2B5EF4-FFF2-40B4-BE49-F238E27FC236}">
                  <a16:creationId xmlns:a16="http://schemas.microsoft.com/office/drawing/2014/main" id="{EDF4FD80-BCB1-FB20-3951-8F24E3669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8" name="Freeform 457">
              <a:extLst>
                <a:ext uri="{FF2B5EF4-FFF2-40B4-BE49-F238E27FC236}">
                  <a16:creationId xmlns:a16="http://schemas.microsoft.com/office/drawing/2014/main" id="{A34E5DFF-A3E3-EBC8-AE49-EB378F6F5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9" name="Freeform 458">
              <a:extLst>
                <a:ext uri="{FF2B5EF4-FFF2-40B4-BE49-F238E27FC236}">
                  <a16:creationId xmlns:a16="http://schemas.microsoft.com/office/drawing/2014/main" id="{6C57E951-290B-11CE-0258-287F48CEA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0" name="Freeform 459">
              <a:extLst>
                <a:ext uri="{FF2B5EF4-FFF2-40B4-BE49-F238E27FC236}">
                  <a16:creationId xmlns:a16="http://schemas.microsoft.com/office/drawing/2014/main" id="{BAD382F2-9A2C-51EF-3776-70A2C323C5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1" name="Freeform 460">
              <a:extLst>
                <a:ext uri="{FF2B5EF4-FFF2-40B4-BE49-F238E27FC236}">
                  <a16:creationId xmlns:a16="http://schemas.microsoft.com/office/drawing/2014/main" id="{6EC3D9D5-8E95-E2F5-54C9-21D645DBCB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2" name="Freeform 461">
              <a:extLst>
                <a:ext uri="{FF2B5EF4-FFF2-40B4-BE49-F238E27FC236}">
                  <a16:creationId xmlns:a16="http://schemas.microsoft.com/office/drawing/2014/main" id="{88F3C038-5250-D0D5-D2E8-22FE14707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3" name="Freeform 462">
              <a:extLst>
                <a:ext uri="{FF2B5EF4-FFF2-40B4-BE49-F238E27FC236}">
                  <a16:creationId xmlns:a16="http://schemas.microsoft.com/office/drawing/2014/main" id="{E67EAA5C-119F-5EA4-F5D8-07B93D20D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4" name="Freeform 463">
              <a:extLst>
                <a:ext uri="{FF2B5EF4-FFF2-40B4-BE49-F238E27FC236}">
                  <a16:creationId xmlns:a16="http://schemas.microsoft.com/office/drawing/2014/main" id="{D2AA395C-48B8-8EF7-71BC-90D656275F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5" name="Freeform 464">
              <a:extLst>
                <a:ext uri="{FF2B5EF4-FFF2-40B4-BE49-F238E27FC236}">
                  <a16:creationId xmlns:a16="http://schemas.microsoft.com/office/drawing/2014/main" id="{1D224CF6-35CD-7589-F6C0-DA9D801FA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6" name="Freeform 465">
              <a:extLst>
                <a:ext uri="{FF2B5EF4-FFF2-40B4-BE49-F238E27FC236}">
                  <a16:creationId xmlns:a16="http://schemas.microsoft.com/office/drawing/2014/main" id="{038EBB65-6352-237F-8BAD-65E53B75E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7" name="Freeform 466">
              <a:extLst>
                <a:ext uri="{FF2B5EF4-FFF2-40B4-BE49-F238E27FC236}">
                  <a16:creationId xmlns:a16="http://schemas.microsoft.com/office/drawing/2014/main" id="{0E9C7CF9-0549-C3C3-8B92-026CC75A2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8" name="Freeform 467">
              <a:extLst>
                <a:ext uri="{FF2B5EF4-FFF2-40B4-BE49-F238E27FC236}">
                  <a16:creationId xmlns:a16="http://schemas.microsoft.com/office/drawing/2014/main" id="{26AB2047-D034-4E9B-7E89-F5E908A01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9" name="Freeform 468">
              <a:extLst>
                <a:ext uri="{FF2B5EF4-FFF2-40B4-BE49-F238E27FC236}">
                  <a16:creationId xmlns:a16="http://schemas.microsoft.com/office/drawing/2014/main" id="{8798C641-0DEE-EA50-9198-230541763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0" name="Freeform 469">
              <a:extLst>
                <a:ext uri="{FF2B5EF4-FFF2-40B4-BE49-F238E27FC236}">
                  <a16:creationId xmlns:a16="http://schemas.microsoft.com/office/drawing/2014/main" id="{A11AA6F4-4770-C17B-82B2-DD1D67A571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1" name="Freeform 470">
              <a:extLst>
                <a:ext uri="{FF2B5EF4-FFF2-40B4-BE49-F238E27FC236}">
                  <a16:creationId xmlns:a16="http://schemas.microsoft.com/office/drawing/2014/main" id="{9E4CE56E-0D97-16C6-5ED8-467062BC5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2" name="Freeform 471">
              <a:extLst>
                <a:ext uri="{FF2B5EF4-FFF2-40B4-BE49-F238E27FC236}">
                  <a16:creationId xmlns:a16="http://schemas.microsoft.com/office/drawing/2014/main" id="{E22CEBD0-C457-A2A9-1FCE-16739B317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3" name="Freeform 472">
              <a:extLst>
                <a:ext uri="{FF2B5EF4-FFF2-40B4-BE49-F238E27FC236}">
                  <a16:creationId xmlns:a16="http://schemas.microsoft.com/office/drawing/2014/main" id="{841B1517-67FD-FD7A-DE28-1DB6D2C47B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4" name="Freeform 473">
              <a:extLst>
                <a:ext uri="{FF2B5EF4-FFF2-40B4-BE49-F238E27FC236}">
                  <a16:creationId xmlns:a16="http://schemas.microsoft.com/office/drawing/2014/main" id="{E13B8F2F-0308-EE12-929A-4C352F115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5" name="Freeform 474">
              <a:extLst>
                <a:ext uri="{FF2B5EF4-FFF2-40B4-BE49-F238E27FC236}">
                  <a16:creationId xmlns:a16="http://schemas.microsoft.com/office/drawing/2014/main" id="{7ACF9A7D-9F86-E7C2-5219-4D0AC146D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6" name="Freeform 475">
              <a:extLst>
                <a:ext uri="{FF2B5EF4-FFF2-40B4-BE49-F238E27FC236}">
                  <a16:creationId xmlns:a16="http://schemas.microsoft.com/office/drawing/2014/main" id="{06ACBD6E-10D8-1F17-49BE-03B10D9F3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7" name="Freeform 476">
              <a:extLst>
                <a:ext uri="{FF2B5EF4-FFF2-40B4-BE49-F238E27FC236}">
                  <a16:creationId xmlns:a16="http://schemas.microsoft.com/office/drawing/2014/main" id="{1C7BEB13-0859-738C-1382-2B584B9D8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8" name="Freeform 477">
              <a:extLst>
                <a:ext uri="{FF2B5EF4-FFF2-40B4-BE49-F238E27FC236}">
                  <a16:creationId xmlns:a16="http://schemas.microsoft.com/office/drawing/2014/main" id="{F2BA7B63-BC74-EBBB-2FB1-ECC6A1BC75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9" name="Freeform 478">
              <a:extLst>
                <a:ext uri="{FF2B5EF4-FFF2-40B4-BE49-F238E27FC236}">
                  <a16:creationId xmlns:a16="http://schemas.microsoft.com/office/drawing/2014/main" id="{8C76E99A-B1EE-1019-43A2-5E5F2B3B8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0" name="Freeform 479">
              <a:extLst>
                <a:ext uri="{FF2B5EF4-FFF2-40B4-BE49-F238E27FC236}">
                  <a16:creationId xmlns:a16="http://schemas.microsoft.com/office/drawing/2014/main" id="{640C558A-6CE2-0392-BD58-54187193B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1" name="Freeform 480">
              <a:extLst>
                <a:ext uri="{FF2B5EF4-FFF2-40B4-BE49-F238E27FC236}">
                  <a16:creationId xmlns:a16="http://schemas.microsoft.com/office/drawing/2014/main" id="{37F49F9B-F98D-9EF7-17E5-8EB47376B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2" name="Freeform 481">
              <a:extLst>
                <a:ext uri="{FF2B5EF4-FFF2-40B4-BE49-F238E27FC236}">
                  <a16:creationId xmlns:a16="http://schemas.microsoft.com/office/drawing/2014/main" id="{8C9E705D-FFDF-AAB5-5AA7-96BF00297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3" name="Freeform 482">
              <a:extLst>
                <a:ext uri="{FF2B5EF4-FFF2-40B4-BE49-F238E27FC236}">
                  <a16:creationId xmlns:a16="http://schemas.microsoft.com/office/drawing/2014/main" id="{74230BA0-D650-CE54-D9D4-0CB3A0627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4" name="Freeform 483">
              <a:extLst>
                <a:ext uri="{FF2B5EF4-FFF2-40B4-BE49-F238E27FC236}">
                  <a16:creationId xmlns:a16="http://schemas.microsoft.com/office/drawing/2014/main" id="{529162BD-E368-0492-03C7-BB3DF2F4B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5" name="Freeform 484">
              <a:extLst>
                <a:ext uri="{FF2B5EF4-FFF2-40B4-BE49-F238E27FC236}">
                  <a16:creationId xmlns:a16="http://schemas.microsoft.com/office/drawing/2014/main" id="{C27032AB-B3AF-F682-F230-CFB3AE860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6" name="Freeform 485">
              <a:extLst>
                <a:ext uri="{FF2B5EF4-FFF2-40B4-BE49-F238E27FC236}">
                  <a16:creationId xmlns:a16="http://schemas.microsoft.com/office/drawing/2014/main" id="{5DA781E2-C659-5272-0EB7-4C3D400CA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7" name="Freeform 486">
              <a:extLst>
                <a:ext uri="{FF2B5EF4-FFF2-40B4-BE49-F238E27FC236}">
                  <a16:creationId xmlns:a16="http://schemas.microsoft.com/office/drawing/2014/main" id="{E4FA2787-A67E-DB88-5484-334F9B0FB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8" name="Freeform 487">
              <a:extLst>
                <a:ext uri="{FF2B5EF4-FFF2-40B4-BE49-F238E27FC236}">
                  <a16:creationId xmlns:a16="http://schemas.microsoft.com/office/drawing/2014/main" id="{95106589-73BA-D01B-7741-D6180E782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9" name="Freeform 488">
              <a:extLst>
                <a:ext uri="{FF2B5EF4-FFF2-40B4-BE49-F238E27FC236}">
                  <a16:creationId xmlns:a16="http://schemas.microsoft.com/office/drawing/2014/main" id="{469C299B-730B-E0DA-1AE7-263F2B3EF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0" name="Freeform 489">
              <a:extLst>
                <a:ext uri="{FF2B5EF4-FFF2-40B4-BE49-F238E27FC236}">
                  <a16:creationId xmlns:a16="http://schemas.microsoft.com/office/drawing/2014/main" id="{80508382-DBFC-6F21-1621-39BAE06C0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1" name="Freeform 490">
              <a:extLst>
                <a:ext uri="{FF2B5EF4-FFF2-40B4-BE49-F238E27FC236}">
                  <a16:creationId xmlns:a16="http://schemas.microsoft.com/office/drawing/2014/main" id="{814FD18D-D039-ED29-4930-DA079A003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2" name="Freeform 491">
              <a:extLst>
                <a:ext uri="{FF2B5EF4-FFF2-40B4-BE49-F238E27FC236}">
                  <a16:creationId xmlns:a16="http://schemas.microsoft.com/office/drawing/2014/main" id="{0867EAC0-D0E8-0157-19F9-1DAABDC21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3" name="Freeform 492">
              <a:extLst>
                <a:ext uri="{FF2B5EF4-FFF2-40B4-BE49-F238E27FC236}">
                  <a16:creationId xmlns:a16="http://schemas.microsoft.com/office/drawing/2014/main" id="{37984E78-B96C-4B58-DEE2-3965EAAC99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677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2 h 26"/>
                <a:gd name="T8" fmla="*/ 17 w 25"/>
                <a:gd name="T9" fmla="*/ 24 h 26"/>
                <a:gd name="T10" fmla="*/ 13 w 25"/>
                <a:gd name="T11" fmla="*/ 26 h 26"/>
                <a:gd name="T12" fmla="*/ 8 w 25"/>
                <a:gd name="T13" fmla="*/ 24 h 26"/>
                <a:gd name="T14" fmla="*/ 4 w 25"/>
                <a:gd name="T15" fmla="*/ 22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2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2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5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4" name="Freeform 493">
              <a:extLst>
                <a:ext uri="{FF2B5EF4-FFF2-40B4-BE49-F238E27FC236}">
                  <a16:creationId xmlns:a16="http://schemas.microsoft.com/office/drawing/2014/main" id="{A401E095-1BFB-2100-F80A-B9366F129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677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2 h 26"/>
                <a:gd name="T8" fmla="*/ 17 w 25"/>
                <a:gd name="T9" fmla="*/ 24 h 26"/>
                <a:gd name="T10" fmla="*/ 13 w 25"/>
                <a:gd name="T11" fmla="*/ 26 h 26"/>
                <a:gd name="T12" fmla="*/ 8 w 25"/>
                <a:gd name="T13" fmla="*/ 24 h 26"/>
                <a:gd name="T14" fmla="*/ 4 w 25"/>
                <a:gd name="T15" fmla="*/ 22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2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2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5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5" name="Freeform 494">
              <a:extLst>
                <a:ext uri="{FF2B5EF4-FFF2-40B4-BE49-F238E27FC236}">
                  <a16:creationId xmlns:a16="http://schemas.microsoft.com/office/drawing/2014/main" id="{4C251AF0-F6F7-83BA-BB63-11B3C8AF0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6" name="Freeform 495">
              <a:extLst>
                <a:ext uri="{FF2B5EF4-FFF2-40B4-BE49-F238E27FC236}">
                  <a16:creationId xmlns:a16="http://schemas.microsoft.com/office/drawing/2014/main" id="{3C36FBD5-2785-D781-48A8-49767B727B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7" name="Freeform 496">
              <a:extLst>
                <a:ext uri="{FF2B5EF4-FFF2-40B4-BE49-F238E27FC236}">
                  <a16:creationId xmlns:a16="http://schemas.microsoft.com/office/drawing/2014/main" id="{B99F5AE3-B7E5-FB20-164F-8DA580DDD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8" name="Freeform 497">
              <a:extLst>
                <a:ext uri="{FF2B5EF4-FFF2-40B4-BE49-F238E27FC236}">
                  <a16:creationId xmlns:a16="http://schemas.microsoft.com/office/drawing/2014/main" id="{5BF624FE-3A72-6FE8-1E99-7D48AD3D9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9" name="Freeform 498">
              <a:extLst>
                <a:ext uri="{FF2B5EF4-FFF2-40B4-BE49-F238E27FC236}">
                  <a16:creationId xmlns:a16="http://schemas.microsoft.com/office/drawing/2014/main" id="{8F42A6A3-BE27-AC34-3316-09BDD026A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0" name="Freeform 499">
              <a:extLst>
                <a:ext uri="{FF2B5EF4-FFF2-40B4-BE49-F238E27FC236}">
                  <a16:creationId xmlns:a16="http://schemas.microsoft.com/office/drawing/2014/main" id="{4D3BAE97-F6DA-15AD-30B3-BBB4F10CC0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1" name="Freeform 500">
              <a:extLst>
                <a:ext uri="{FF2B5EF4-FFF2-40B4-BE49-F238E27FC236}">
                  <a16:creationId xmlns:a16="http://schemas.microsoft.com/office/drawing/2014/main" id="{5259CC5B-D84B-DEE4-4ED1-FEF6A0535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2" name="Freeform 501">
              <a:extLst>
                <a:ext uri="{FF2B5EF4-FFF2-40B4-BE49-F238E27FC236}">
                  <a16:creationId xmlns:a16="http://schemas.microsoft.com/office/drawing/2014/main" id="{42EF7DF5-D327-7A05-330E-26515DE71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3" name="Freeform 502">
              <a:extLst>
                <a:ext uri="{FF2B5EF4-FFF2-40B4-BE49-F238E27FC236}">
                  <a16:creationId xmlns:a16="http://schemas.microsoft.com/office/drawing/2014/main" id="{A1CCC7B7-4411-9B94-AB3F-BC4DC15A3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55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4" name="Freeform 503">
              <a:extLst>
                <a:ext uri="{FF2B5EF4-FFF2-40B4-BE49-F238E27FC236}">
                  <a16:creationId xmlns:a16="http://schemas.microsoft.com/office/drawing/2014/main" id="{F8F46A28-2758-353C-D990-16B4F11897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55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5" name="Freeform 504">
              <a:extLst>
                <a:ext uri="{FF2B5EF4-FFF2-40B4-BE49-F238E27FC236}">
                  <a16:creationId xmlns:a16="http://schemas.microsoft.com/office/drawing/2014/main" id="{38878545-DEA9-4203-4744-2FDC100BB5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10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10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6" name="Freeform 505">
              <a:extLst>
                <a:ext uri="{FF2B5EF4-FFF2-40B4-BE49-F238E27FC236}">
                  <a16:creationId xmlns:a16="http://schemas.microsoft.com/office/drawing/2014/main" id="{A91DB84F-32CB-31F3-9B0A-1BEAFFB692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10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10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7" name="Freeform 506">
              <a:extLst>
                <a:ext uri="{FF2B5EF4-FFF2-40B4-BE49-F238E27FC236}">
                  <a16:creationId xmlns:a16="http://schemas.microsoft.com/office/drawing/2014/main" id="{E73C0036-92D0-ABF1-8AF6-2004299ED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8" name="Freeform 507">
              <a:extLst>
                <a:ext uri="{FF2B5EF4-FFF2-40B4-BE49-F238E27FC236}">
                  <a16:creationId xmlns:a16="http://schemas.microsoft.com/office/drawing/2014/main" id="{D48255F5-C458-175E-390D-EDA7FFB4A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9" name="Freeform 508">
              <a:extLst>
                <a:ext uri="{FF2B5EF4-FFF2-40B4-BE49-F238E27FC236}">
                  <a16:creationId xmlns:a16="http://schemas.microsoft.com/office/drawing/2014/main" id="{B1916ACC-DBD9-64D0-0D3F-6F7379C67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0" name="Freeform 509">
              <a:extLst>
                <a:ext uri="{FF2B5EF4-FFF2-40B4-BE49-F238E27FC236}">
                  <a16:creationId xmlns:a16="http://schemas.microsoft.com/office/drawing/2014/main" id="{2C0D90CA-C8B6-D0C6-89BF-CFD27296E3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1" name="Freeform 510">
              <a:extLst>
                <a:ext uri="{FF2B5EF4-FFF2-40B4-BE49-F238E27FC236}">
                  <a16:creationId xmlns:a16="http://schemas.microsoft.com/office/drawing/2014/main" id="{BD3DB17E-198F-71CE-734B-FE6605D4B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2" name="Freeform 511">
              <a:extLst>
                <a:ext uri="{FF2B5EF4-FFF2-40B4-BE49-F238E27FC236}">
                  <a16:creationId xmlns:a16="http://schemas.microsoft.com/office/drawing/2014/main" id="{8D6C0052-A224-4721-5503-454B3D210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3" name="Freeform 512">
              <a:extLst>
                <a:ext uri="{FF2B5EF4-FFF2-40B4-BE49-F238E27FC236}">
                  <a16:creationId xmlns:a16="http://schemas.microsoft.com/office/drawing/2014/main" id="{C5083B78-820F-8286-131A-84832AFF3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4" name="Freeform 513">
              <a:extLst>
                <a:ext uri="{FF2B5EF4-FFF2-40B4-BE49-F238E27FC236}">
                  <a16:creationId xmlns:a16="http://schemas.microsoft.com/office/drawing/2014/main" id="{D462DF2B-BA84-2294-71A9-7D737325C6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5" name="Freeform 514">
              <a:extLst>
                <a:ext uri="{FF2B5EF4-FFF2-40B4-BE49-F238E27FC236}">
                  <a16:creationId xmlns:a16="http://schemas.microsoft.com/office/drawing/2014/main" id="{114772E8-5C0C-6877-543F-6F8C313973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6" name="Freeform 515">
              <a:extLst>
                <a:ext uri="{FF2B5EF4-FFF2-40B4-BE49-F238E27FC236}">
                  <a16:creationId xmlns:a16="http://schemas.microsoft.com/office/drawing/2014/main" id="{B5D0FA4F-CEAC-8A0B-4A12-FBD0EAAEA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7" name="Freeform 516">
              <a:extLst>
                <a:ext uri="{FF2B5EF4-FFF2-40B4-BE49-F238E27FC236}">
                  <a16:creationId xmlns:a16="http://schemas.microsoft.com/office/drawing/2014/main" id="{D56644E3-16EB-FC88-549C-DDD96AFA7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8" name="Freeform 517">
              <a:extLst>
                <a:ext uri="{FF2B5EF4-FFF2-40B4-BE49-F238E27FC236}">
                  <a16:creationId xmlns:a16="http://schemas.microsoft.com/office/drawing/2014/main" id="{CA37F3FE-CC75-9670-D79E-7D69CD0202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9" name="Freeform 518">
              <a:extLst>
                <a:ext uri="{FF2B5EF4-FFF2-40B4-BE49-F238E27FC236}">
                  <a16:creationId xmlns:a16="http://schemas.microsoft.com/office/drawing/2014/main" id="{45EBF784-7B2B-C67F-B8FE-91019306B6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0" name="Freeform 519">
              <a:extLst>
                <a:ext uri="{FF2B5EF4-FFF2-40B4-BE49-F238E27FC236}">
                  <a16:creationId xmlns:a16="http://schemas.microsoft.com/office/drawing/2014/main" id="{A694580A-223C-BB4F-6BF6-641BA42F2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1" name="Freeform 520">
              <a:extLst>
                <a:ext uri="{FF2B5EF4-FFF2-40B4-BE49-F238E27FC236}">
                  <a16:creationId xmlns:a16="http://schemas.microsoft.com/office/drawing/2014/main" id="{F0FB03DC-1BF2-B065-039F-F1CFC73B5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2" name="Freeform 521">
              <a:extLst>
                <a:ext uri="{FF2B5EF4-FFF2-40B4-BE49-F238E27FC236}">
                  <a16:creationId xmlns:a16="http://schemas.microsoft.com/office/drawing/2014/main" id="{48FAAE93-A5A5-F409-917A-5C89653234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3" name="Freeform 522">
              <a:extLst>
                <a:ext uri="{FF2B5EF4-FFF2-40B4-BE49-F238E27FC236}">
                  <a16:creationId xmlns:a16="http://schemas.microsoft.com/office/drawing/2014/main" id="{7054AE3E-25FC-547D-8962-42AAC6A7F4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4" name="Freeform 523">
              <a:extLst>
                <a:ext uri="{FF2B5EF4-FFF2-40B4-BE49-F238E27FC236}">
                  <a16:creationId xmlns:a16="http://schemas.microsoft.com/office/drawing/2014/main" id="{0C0725D2-FD96-72DF-0016-A64AF960C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5" name="Freeform 524">
              <a:extLst>
                <a:ext uri="{FF2B5EF4-FFF2-40B4-BE49-F238E27FC236}">
                  <a16:creationId xmlns:a16="http://schemas.microsoft.com/office/drawing/2014/main" id="{55BB5AD0-8315-ADBC-A09F-FC9BF389E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6" name="Freeform 525">
              <a:extLst>
                <a:ext uri="{FF2B5EF4-FFF2-40B4-BE49-F238E27FC236}">
                  <a16:creationId xmlns:a16="http://schemas.microsoft.com/office/drawing/2014/main" id="{6B908F54-E0DF-73EA-BA14-A9CEBB766D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7" name="Freeform 526">
              <a:extLst>
                <a:ext uri="{FF2B5EF4-FFF2-40B4-BE49-F238E27FC236}">
                  <a16:creationId xmlns:a16="http://schemas.microsoft.com/office/drawing/2014/main" id="{800D9AC4-3E5A-C747-AA7E-8B85AC89DE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8" name="Freeform 527">
              <a:extLst>
                <a:ext uri="{FF2B5EF4-FFF2-40B4-BE49-F238E27FC236}">
                  <a16:creationId xmlns:a16="http://schemas.microsoft.com/office/drawing/2014/main" id="{B3E5E275-8495-AB5C-148E-066049DC9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9" name="Freeform 528">
              <a:extLst>
                <a:ext uri="{FF2B5EF4-FFF2-40B4-BE49-F238E27FC236}">
                  <a16:creationId xmlns:a16="http://schemas.microsoft.com/office/drawing/2014/main" id="{0A89AA51-FFA2-42BF-9488-BBD1545CA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5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5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5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5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0" name="Freeform 529">
              <a:extLst>
                <a:ext uri="{FF2B5EF4-FFF2-40B4-BE49-F238E27FC236}">
                  <a16:creationId xmlns:a16="http://schemas.microsoft.com/office/drawing/2014/main" id="{5836B56C-981C-0AD8-3AAF-3143F5DA8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5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5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5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5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1" name="Freeform 530">
              <a:extLst>
                <a:ext uri="{FF2B5EF4-FFF2-40B4-BE49-F238E27FC236}">
                  <a16:creationId xmlns:a16="http://schemas.microsoft.com/office/drawing/2014/main" id="{D944D45C-ECBD-626E-E20D-AE2D0BDFAA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2" name="Freeform 531">
              <a:extLst>
                <a:ext uri="{FF2B5EF4-FFF2-40B4-BE49-F238E27FC236}">
                  <a16:creationId xmlns:a16="http://schemas.microsoft.com/office/drawing/2014/main" id="{13391C95-9FA0-7D08-6238-DFD65D2024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3" name="Freeform 532">
              <a:extLst>
                <a:ext uri="{FF2B5EF4-FFF2-40B4-BE49-F238E27FC236}">
                  <a16:creationId xmlns:a16="http://schemas.microsoft.com/office/drawing/2014/main" id="{3EFD4974-3F5F-D3B6-7FE3-D223BAE3F7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10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10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4" name="Freeform 533">
              <a:extLst>
                <a:ext uri="{FF2B5EF4-FFF2-40B4-BE49-F238E27FC236}">
                  <a16:creationId xmlns:a16="http://schemas.microsoft.com/office/drawing/2014/main" id="{52E32EDB-3B9E-AA13-FEE9-0522D42C26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10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10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5" name="Freeform 534">
              <a:extLst>
                <a:ext uri="{FF2B5EF4-FFF2-40B4-BE49-F238E27FC236}">
                  <a16:creationId xmlns:a16="http://schemas.microsoft.com/office/drawing/2014/main" id="{14EDBD93-9357-C55A-7703-70C10E2656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" y="254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6" name="Freeform 535">
              <a:extLst>
                <a:ext uri="{FF2B5EF4-FFF2-40B4-BE49-F238E27FC236}">
                  <a16:creationId xmlns:a16="http://schemas.microsoft.com/office/drawing/2014/main" id="{3031EC4D-6391-F7A5-7696-50B7301D4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" y="254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7" name="Freeform 536">
              <a:extLst>
                <a:ext uri="{FF2B5EF4-FFF2-40B4-BE49-F238E27FC236}">
                  <a16:creationId xmlns:a16="http://schemas.microsoft.com/office/drawing/2014/main" id="{E2B88305-9F33-6B8D-6280-9B5D9B71E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8" name="Freeform 537">
              <a:extLst>
                <a:ext uri="{FF2B5EF4-FFF2-40B4-BE49-F238E27FC236}">
                  <a16:creationId xmlns:a16="http://schemas.microsoft.com/office/drawing/2014/main" id="{55C19033-279C-8837-F478-59908A2630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9" name="Freeform 538">
              <a:extLst>
                <a:ext uri="{FF2B5EF4-FFF2-40B4-BE49-F238E27FC236}">
                  <a16:creationId xmlns:a16="http://schemas.microsoft.com/office/drawing/2014/main" id="{417DE38E-DF00-3A99-8F5F-918256D6B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0" name="Freeform 539">
              <a:extLst>
                <a:ext uri="{FF2B5EF4-FFF2-40B4-BE49-F238E27FC236}">
                  <a16:creationId xmlns:a16="http://schemas.microsoft.com/office/drawing/2014/main" id="{EF8F1BE6-D5CC-115C-3E3D-DC1F1F80F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1" name="Freeform 540">
              <a:extLst>
                <a:ext uri="{FF2B5EF4-FFF2-40B4-BE49-F238E27FC236}">
                  <a16:creationId xmlns:a16="http://schemas.microsoft.com/office/drawing/2014/main" id="{C62755EF-9B6A-D102-D63D-A0E4FD37B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2" name="Freeform 541">
              <a:extLst>
                <a:ext uri="{FF2B5EF4-FFF2-40B4-BE49-F238E27FC236}">
                  <a16:creationId xmlns:a16="http://schemas.microsoft.com/office/drawing/2014/main" id="{3F2BC3F3-CF4D-6B81-816F-98265C383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3" name="Freeform 542">
              <a:extLst>
                <a:ext uri="{FF2B5EF4-FFF2-40B4-BE49-F238E27FC236}">
                  <a16:creationId xmlns:a16="http://schemas.microsoft.com/office/drawing/2014/main" id="{33C3D33C-15E7-E99C-10E2-37EA82BB9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4" name="Freeform 543">
              <a:extLst>
                <a:ext uri="{FF2B5EF4-FFF2-40B4-BE49-F238E27FC236}">
                  <a16:creationId xmlns:a16="http://schemas.microsoft.com/office/drawing/2014/main" id="{357AD057-4756-D1C4-2B40-BCE9532B9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5" name="Freeform 544">
              <a:extLst>
                <a:ext uri="{FF2B5EF4-FFF2-40B4-BE49-F238E27FC236}">
                  <a16:creationId xmlns:a16="http://schemas.microsoft.com/office/drawing/2014/main" id="{CAFBCCA4-73E6-D2D1-1A35-B2784699F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6" name="Freeform 545">
              <a:extLst>
                <a:ext uri="{FF2B5EF4-FFF2-40B4-BE49-F238E27FC236}">
                  <a16:creationId xmlns:a16="http://schemas.microsoft.com/office/drawing/2014/main" id="{DBF0768B-27DC-579E-966A-E57EF078E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7" name="Freeform 546">
              <a:extLst>
                <a:ext uri="{FF2B5EF4-FFF2-40B4-BE49-F238E27FC236}">
                  <a16:creationId xmlns:a16="http://schemas.microsoft.com/office/drawing/2014/main" id="{68B568A8-CC01-2BC2-43B5-9F305DC698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8" name="Freeform 547">
              <a:extLst>
                <a:ext uri="{FF2B5EF4-FFF2-40B4-BE49-F238E27FC236}">
                  <a16:creationId xmlns:a16="http://schemas.microsoft.com/office/drawing/2014/main" id="{4A377868-38A1-EA4F-4D45-121178A1F09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9" name="Freeform 548">
              <a:extLst>
                <a:ext uri="{FF2B5EF4-FFF2-40B4-BE49-F238E27FC236}">
                  <a16:creationId xmlns:a16="http://schemas.microsoft.com/office/drawing/2014/main" id="{B504A24E-7A1D-C6B5-ACBF-F6B0421DA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0" name="Freeform 549">
              <a:extLst>
                <a:ext uri="{FF2B5EF4-FFF2-40B4-BE49-F238E27FC236}">
                  <a16:creationId xmlns:a16="http://schemas.microsoft.com/office/drawing/2014/main" id="{DC1153D0-176A-59B8-9716-D31DDA50E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1" name="Freeform 550">
              <a:extLst>
                <a:ext uri="{FF2B5EF4-FFF2-40B4-BE49-F238E27FC236}">
                  <a16:creationId xmlns:a16="http://schemas.microsoft.com/office/drawing/2014/main" id="{0D6F3BCA-4E5C-006C-AD70-9269C3A05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2" name="Freeform 551">
              <a:extLst>
                <a:ext uri="{FF2B5EF4-FFF2-40B4-BE49-F238E27FC236}">
                  <a16:creationId xmlns:a16="http://schemas.microsoft.com/office/drawing/2014/main" id="{EDEB8448-0DE1-6B41-A766-9A11979BBE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3" name="Freeform 552">
              <a:extLst>
                <a:ext uri="{FF2B5EF4-FFF2-40B4-BE49-F238E27FC236}">
                  <a16:creationId xmlns:a16="http://schemas.microsoft.com/office/drawing/2014/main" id="{509C0F66-62EB-7890-42E6-A0385172D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512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0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0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7 h 28"/>
                <a:gd name="T24" fmla="*/ 3 w 24"/>
                <a:gd name="T25" fmla="*/ 3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3 h 28"/>
                <a:gd name="T34" fmla="*/ 24 w 24"/>
                <a:gd name="T35" fmla="*/ 7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4" name="Freeform 553">
              <a:extLst>
                <a:ext uri="{FF2B5EF4-FFF2-40B4-BE49-F238E27FC236}">
                  <a16:creationId xmlns:a16="http://schemas.microsoft.com/office/drawing/2014/main" id="{7E2D38C3-6389-3604-2540-BCD44A8D3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512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0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0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7 h 28"/>
                <a:gd name="T24" fmla="*/ 3 w 24"/>
                <a:gd name="T25" fmla="*/ 3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3 h 28"/>
                <a:gd name="T34" fmla="*/ 24 w 24"/>
                <a:gd name="T35" fmla="*/ 7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5" name="Freeform 554">
              <a:extLst>
                <a:ext uri="{FF2B5EF4-FFF2-40B4-BE49-F238E27FC236}">
                  <a16:creationId xmlns:a16="http://schemas.microsoft.com/office/drawing/2014/main" id="{18517D51-7A70-C106-AE10-58EEB0042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248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6" name="Freeform 555">
              <a:extLst>
                <a:ext uri="{FF2B5EF4-FFF2-40B4-BE49-F238E27FC236}">
                  <a16:creationId xmlns:a16="http://schemas.microsoft.com/office/drawing/2014/main" id="{18A6DAD1-5E67-D9F6-2455-FE5BFCDE2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248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7" name="Freeform 556">
              <a:extLst>
                <a:ext uri="{FF2B5EF4-FFF2-40B4-BE49-F238E27FC236}">
                  <a16:creationId xmlns:a16="http://schemas.microsoft.com/office/drawing/2014/main" id="{26E346DE-5C35-4C32-ED34-10C760E4D1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515"/>
              <a:ext cx="25" cy="28"/>
            </a:xfrm>
            <a:custGeom>
              <a:avLst/>
              <a:gdLst>
                <a:gd name="T0" fmla="*/ 25 w 25"/>
                <a:gd name="T1" fmla="*/ 15 h 28"/>
                <a:gd name="T2" fmla="*/ 25 w 25"/>
                <a:gd name="T3" fmla="*/ 15 h 28"/>
                <a:gd name="T4" fmla="*/ 25 w 25"/>
                <a:gd name="T5" fmla="*/ 21 h 28"/>
                <a:gd name="T6" fmla="*/ 21 w 25"/>
                <a:gd name="T7" fmla="*/ 25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5 h 28"/>
                <a:gd name="T16" fmla="*/ 0 w 25"/>
                <a:gd name="T17" fmla="*/ 21 h 28"/>
                <a:gd name="T18" fmla="*/ 0 w 25"/>
                <a:gd name="T19" fmla="*/ 15 h 28"/>
                <a:gd name="T20" fmla="*/ 0 w 25"/>
                <a:gd name="T21" fmla="*/ 15 h 28"/>
                <a:gd name="T22" fmla="*/ 0 w 25"/>
                <a:gd name="T23" fmla="*/ 8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8 h 28"/>
                <a:gd name="T36" fmla="*/ 25 w 25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5"/>
                  </a:moveTo>
                  <a:lnTo>
                    <a:pt x="25" y="15"/>
                  </a:lnTo>
                  <a:lnTo>
                    <a:pt x="25" y="21"/>
                  </a:lnTo>
                  <a:lnTo>
                    <a:pt x="21" y="25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5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8" name="Freeform 557">
              <a:extLst>
                <a:ext uri="{FF2B5EF4-FFF2-40B4-BE49-F238E27FC236}">
                  <a16:creationId xmlns:a16="http://schemas.microsoft.com/office/drawing/2014/main" id="{6A6507CA-F372-5F86-4BFC-B0401D214B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515"/>
              <a:ext cx="25" cy="28"/>
            </a:xfrm>
            <a:custGeom>
              <a:avLst/>
              <a:gdLst>
                <a:gd name="T0" fmla="*/ 25 w 25"/>
                <a:gd name="T1" fmla="*/ 15 h 28"/>
                <a:gd name="T2" fmla="*/ 25 w 25"/>
                <a:gd name="T3" fmla="*/ 15 h 28"/>
                <a:gd name="T4" fmla="*/ 25 w 25"/>
                <a:gd name="T5" fmla="*/ 21 h 28"/>
                <a:gd name="T6" fmla="*/ 21 w 25"/>
                <a:gd name="T7" fmla="*/ 25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5 h 28"/>
                <a:gd name="T16" fmla="*/ 0 w 25"/>
                <a:gd name="T17" fmla="*/ 21 h 28"/>
                <a:gd name="T18" fmla="*/ 0 w 25"/>
                <a:gd name="T19" fmla="*/ 15 h 28"/>
                <a:gd name="T20" fmla="*/ 0 w 25"/>
                <a:gd name="T21" fmla="*/ 15 h 28"/>
                <a:gd name="T22" fmla="*/ 0 w 25"/>
                <a:gd name="T23" fmla="*/ 8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8 h 28"/>
                <a:gd name="T36" fmla="*/ 25 w 25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5"/>
                  </a:moveTo>
                  <a:lnTo>
                    <a:pt x="25" y="15"/>
                  </a:lnTo>
                  <a:lnTo>
                    <a:pt x="25" y="21"/>
                  </a:lnTo>
                  <a:lnTo>
                    <a:pt x="21" y="25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5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9" name="Freeform 558">
              <a:extLst>
                <a:ext uri="{FF2B5EF4-FFF2-40B4-BE49-F238E27FC236}">
                  <a16:creationId xmlns:a16="http://schemas.microsoft.com/office/drawing/2014/main" id="{4EE5DF4E-BA19-F0DA-5E7A-63A17FF937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0" name="Freeform 559">
              <a:extLst>
                <a:ext uri="{FF2B5EF4-FFF2-40B4-BE49-F238E27FC236}">
                  <a16:creationId xmlns:a16="http://schemas.microsoft.com/office/drawing/2014/main" id="{5F17054F-F0D1-D4C4-0A53-D31113C15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1" name="Freeform 560">
              <a:extLst>
                <a:ext uri="{FF2B5EF4-FFF2-40B4-BE49-F238E27FC236}">
                  <a16:creationId xmlns:a16="http://schemas.microsoft.com/office/drawing/2014/main" id="{BBC1D1DC-859C-EC90-32CD-8618791820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2" name="Freeform 561">
              <a:extLst>
                <a:ext uri="{FF2B5EF4-FFF2-40B4-BE49-F238E27FC236}">
                  <a16:creationId xmlns:a16="http://schemas.microsoft.com/office/drawing/2014/main" id="{A9A2D8A6-707C-0293-6397-0F683EB1A6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3" name="Freeform 562">
              <a:extLst>
                <a:ext uri="{FF2B5EF4-FFF2-40B4-BE49-F238E27FC236}">
                  <a16:creationId xmlns:a16="http://schemas.microsoft.com/office/drawing/2014/main" id="{D28268AD-A256-823D-FC36-7C1EAE365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4" name="Freeform 563">
              <a:extLst>
                <a:ext uri="{FF2B5EF4-FFF2-40B4-BE49-F238E27FC236}">
                  <a16:creationId xmlns:a16="http://schemas.microsoft.com/office/drawing/2014/main" id="{917518E7-B61C-65DC-0149-FE1D4F82C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5" name="Freeform 564">
              <a:extLst>
                <a:ext uri="{FF2B5EF4-FFF2-40B4-BE49-F238E27FC236}">
                  <a16:creationId xmlns:a16="http://schemas.microsoft.com/office/drawing/2014/main" id="{194AF099-7F84-6FAF-7BA4-CDC825B6D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6" name="Freeform 565">
              <a:extLst>
                <a:ext uri="{FF2B5EF4-FFF2-40B4-BE49-F238E27FC236}">
                  <a16:creationId xmlns:a16="http://schemas.microsoft.com/office/drawing/2014/main" id="{3E8E2DEB-5BB9-0300-EC92-9162771D4D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7" name="Freeform 566">
              <a:extLst>
                <a:ext uri="{FF2B5EF4-FFF2-40B4-BE49-F238E27FC236}">
                  <a16:creationId xmlns:a16="http://schemas.microsoft.com/office/drawing/2014/main" id="{6DF1EA87-B93E-6826-BEDA-B5EE0CA17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8" name="Freeform 567">
              <a:extLst>
                <a:ext uri="{FF2B5EF4-FFF2-40B4-BE49-F238E27FC236}">
                  <a16:creationId xmlns:a16="http://schemas.microsoft.com/office/drawing/2014/main" id="{BCD61CBA-4EA4-1359-4467-1C6A4716F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9" name="Freeform 568">
              <a:extLst>
                <a:ext uri="{FF2B5EF4-FFF2-40B4-BE49-F238E27FC236}">
                  <a16:creationId xmlns:a16="http://schemas.microsoft.com/office/drawing/2014/main" id="{AD4F8E70-7B6E-679C-D849-8418BA574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0" name="Freeform 569">
              <a:extLst>
                <a:ext uri="{FF2B5EF4-FFF2-40B4-BE49-F238E27FC236}">
                  <a16:creationId xmlns:a16="http://schemas.microsoft.com/office/drawing/2014/main" id="{B8CC55FE-588C-E0AD-B085-19C602104B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1" name="Freeform 570">
              <a:extLst>
                <a:ext uri="{FF2B5EF4-FFF2-40B4-BE49-F238E27FC236}">
                  <a16:creationId xmlns:a16="http://schemas.microsoft.com/office/drawing/2014/main" id="{10B02E58-4B35-5D14-109A-13DC55F1B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60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2" name="Freeform 571">
              <a:extLst>
                <a:ext uri="{FF2B5EF4-FFF2-40B4-BE49-F238E27FC236}">
                  <a16:creationId xmlns:a16="http://schemas.microsoft.com/office/drawing/2014/main" id="{97DABFDB-BA2B-5DD1-6E6F-EFA5F656D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60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3" name="Freeform 572">
              <a:extLst>
                <a:ext uri="{FF2B5EF4-FFF2-40B4-BE49-F238E27FC236}">
                  <a16:creationId xmlns:a16="http://schemas.microsoft.com/office/drawing/2014/main" id="{9F06FD4B-8F15-09E2-9FA0-1C4232C9C0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580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5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5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4" name="Freeform 573">
              <a:extLst>
                <a:ext uri="{FF2B5EF4-FFF2-40B4-BE49-F238E27FC236}">
                  <a16:creationId xmlns:a16="http://schemas.microsoft.com/office/drawing/2014/main" id="{9E7384E9-80E6-1B20-AF93-A5CD0623A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580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5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5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5" name="Freeform 574">
              <a:extLst>
                <a:ext uri="{FF2B5EF4-FFF2-40B4-BE49-F238E27FC236}">
                  <a16:creationId xmlns:a16="http://schemas.microsoft.com/office/drawing/2014/main" id="{DCA0D134-5919-11EE-5411-E21B84F66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258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6" name="Freeform 575">
              <a:extLst>
                <a:ext uri="{FF2B5EF4-FFF2-40B4-BE49-F238E27FC236}">
                  <a16:creationId xmlns:a16="http://schemas.microsoft.com/office/drawing/2014/main" id="{1257CFE8-AFFA-9C48-81D3-86CAB4C2EC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258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7" name="Freeform 576">
              <a:extLst>
                <a:ext uri="{FF2B5EF4-FFF2-40B4-BE49-F238E27FC236}">
                  <a16:creationId xmlns:a16="http://schemas.microsoft.com/office/drawing/2014/main" id="{73928456-51E5-D540-237F-FA0FFAC84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54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8" name="Freeform 577">
              <a:extLst>
                <a:ext uri="{FF2B5EF4-FFF2-40B4-BE49-F238E27FC236}">
                  <a16:creationId xmlns:a16="http://schemas.microsoft.com/office/drawing/2014/main" id="{65E43826-58E1-3812-D989-F9C2406628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54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9" name="Freeform 578">
              <a:extLst>
                <a:ext uri="{FF2B5EF4-FFF2-40B4-BE49-F238E27FC236}">
                  <a16:creationId xmlns:a16="http://schemas.microsoft.com/office/drawing/2014/main" id="{65EB4322-BE04-7C39-23FD-47B0000C0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519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7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2 w 26"/>
                <a:gd name="T23" fmla="*/ 8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7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0" name="Freeform 579">
              <a:extLst>
                <a:ext uri="{FF2B5EF4-FFF2-40B4-BE49-F238E27FC236}">
                  <a16:creationId xmlns:a16="http://schemas.microsoft.com/office/drawing/2014/main" id="{F3B6F02D-8897-1F39-42E9-0FACED08C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519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7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2 w 26"/>
                <a:gd name="T23" fmla="*/ 8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7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1" name="Freeform 580">
              <a:extLst>
                <a:ext uri="{FF2B5EF4-FFF2-40B4-BE49-F238E27FC236}">
                  <a16:creationId xmlns:a16="http://schemas.microsoft.com/office/drawing/2014/main" id="{FFA7A8EC-0F16-A2B8-F8EF-5C971A7AB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525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0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2 w 26"/>
                <a:gd name="T17" fmla="*/ 20 h 28"/>
                <a:gd name="T18" fmla="*/ 0 w 26"/>
                <a:gd name="T19" fmla="*/ 15 h 28"/>
                <a:gd name="T20" fmla="*/ 0 w 26"/>
                <a:gd name="T21" fmla="*/ 15 h 28"/>
                <a:gd name="T22" fmla="*/ 2 w 26"/>
                <a:gd name="T23" fmla="*/ 9 h 28"/>
                <a:gd name="T24" fmla="*/ 3 w 26"/>
                <a:gd name="T25" fmla="*/ 3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3 h 28"/>
                <a:gd name="T34" fmla="*/ 24 w 26"/>
                <a:gd name="T35" fmla="*/ 9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9"/>
                  </a:lnTo>
                  <a:lnTo>
                    <a:pt x="3" y="3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3"/>
                  </a:lnTo>
                  <a:lnTo>
                    <a:pt x="24" y="9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2" name="Freeform 581">
              <a:extLst>
                <a:ext uri="{FF2B5EF4-FFF2-40B4-BE49-F238E27FC236}">
                  <a16:creationId xmlns:a16="http://schemas.microsoft.com/office/drawing/2014/main" id="{C5DE3FC3-5323-7ABD-4288-CC03B5EC89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525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0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2 w 26"/>
                <a:gd name="T17" fmla="*/ 20 h 28"/>
                <a:gd name="T18" fmla="*/ 0 w 26"/>
                <a:gd name="T19" fmla="*/ 15 h 28"/>
                <a:gd name="T20" fmla="*/ 0 w 26"/>
                <a:gd name="T21" fmla="*/ 15 h 28"/>
                <a:gd name="T22" fmla="*/ 2 w 26"/>
                <a:gd name="T23" fmla="*/ 9 h 28"/>
                <a:gd name="T24" fmla="*/ 3 w 26"/>
                <a:gd name="T25" fmla="*/ 3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3 h 28"/>
                <a:gd name="T34" fmla="*/ 24 w 26"/>
                <a:gd name="T35" fmla="*/ 9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9"/>
                  </a:lnTo>
                  <a:lnTo>
                    <a:pt x="3" y="3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3"/>
                  </a:lnTo>
                  <a:lnTo>
                    <a:pt x="24" y="9"/>
                  </a:lnTo>
                  <a:lnTo>
                    <a:pt x="26" y="15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3" name="Freeform 582">
              <a:extLst>
                <a:ext uri="{FF2B5EF4-FFF2-40B4-BE49-F238E27FC236}">
                  <a16:creationId xmlns:a16="http://schemas.microsoft.com/office/drawing/2014/main" id="{A1B97D44-5890-AC3D-C46A-00E63C50A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4" name="Freeform 583">
              <a:extLst>
                <a:ext uri="{FF2B5EF4-FFF2-40B4-BE49-F238E27FC236}">
                  <a16:creationId xmlns:a16="http://schemas.microsoft.com/office/drawing/2014/main" id="{52E104BF-0CBE-FA08-D4E2-00E62FB8F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5" name="Freeform 584">
              <a:extLst>
                <a:ext uri="{FF2B5EF4-FFF2-40B4-BE49-F238E27FC236}">
                  <a16:creationId xmlns:a16="http://schemas.microsoft.com/office/drawing/2014/main" id="{0912D2F5-9471-C560-E01D-D2059E7884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254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6" name="Freeform 585">
              <a:extLst>
                <a:ext uri="{FF2B5EF4-FFF2-40B4-BE49-F238E27FC236}">
                  <a16:creationId xmlns:a16="http://schemas.microsoft.com/office/drawing/2014/main" id="{0F595C16-92EA-D3EA-6B63-27640F7B5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254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7" name="Freeform 586">
              <a:extLst>
                <a:ext uri="{FF2B5EF4-FFF2-40B4-BE49-F238E27FC236}">
                  <a16:creationId xmlns:a16="http://schemas.microsoft.com/office/drawing/2014/main" id="{DCD3F564-945E-284F-69E3-9DE2E7103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" y="2436"/>
              <a:ext cx="26" cy="27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4 w 26"/>
                <a:gd name="T5" fmla="*/ 20 h 27"/>
                <a:gd name="T6" fmla="*/ 22 w 26"/>
                <a:gd name="T7" fmla="*/ 24 h 27"/>
                <a:gd name="T8" fmla="*/ 16 w 26"/>
                <a:gd name="T9" fmla="*/ 26 h 27"/>
                <a:gd name="T10" fmla="*/ 13 w 26"/>
                <a:gd name="T11" fmla="*/ 27 h 27"/>
                <a:gd name="T12" fmla="*/ 7 w 26"/>
                <a:gd name="T13" fmla="*/ 26 h 27"/>
                <a:gd name="T14" fmla="*/ 3 w 26"/>
                <a:gd name="T15" fmla="*/ 24 h 27"/>
                <a:gd name="T16" fmla="*/ 1 w 26"/>
                <a:gd name="T17" fmla="*/ 20 h 27"/>
                <a:gd name="T18" fmla="*/ 0 w 26"/>
                <a:gd name="T19" fmla="*/ 13 h 27"/>
                <a:gd name="T20" fmla="*/ 0 w 26"/>
                <a:gd name="T21" fmla="*/ 13 h 27"/>
                <a:gd name="T22" fmla="*/ 1 w 26"/>
                <a:gd name="T23" fmla="*/ 7 h 27"/>
                <a:gd name="T24" fmla="*/ 3 w 26"/>
                <a:gd name="T25" fmla="*/ 3 h 27"/>
                <a:gd name="T26" fmla="*/ 7 w 26"/>
                <a:gd name="T27" fmla="*/ 1 h 27"/>
                <a:gd name="T28" fmla="*/ 13 w 26"/>
                <a:gd name="T29" fmla="*/ 0 h 27"/>
                <a:gd name="T30" fmla="*/ 16 w 26"/>
                <a:gd name="T31" fmla="*/ 1 h 27"/>
                <a:gd name="T32" fmla="*/ 22 w 26"/>
                <a:gd name="T33" fmla="*/ 3 h 27"/>
                <a:gd name="T34" fmla="*/ 24 w 26"/>
                <a:gd name="T35" fmla="*/ 7 h 27"/>
                <a:gd name="T36" fmla="*/ 26 w 26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7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6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8" name="Freeform 587">
              <a:extLst>
                <a:ext uri="{FF2B5EF4-FFF2-40B4-BE49-F238E27FC236}">
                  <a16:creationId xmlns:a16="http://schemas.microsoft.com/office/drawing/2014/main" id="{A564038A-2292-FF03-E97A-8165F2344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" y="2436"/>
              <a:ext cx="26" cy="27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4 w 26"/>
                <a:gd name="T5" fmla="*/ 20 h 27"/>
                <a:gd name="T6" fmla="*/ 22 w 26"/>
                <a:gd name="T7" fmla="*/ 24 h 27"/>
                <a:gd name="T8" fmla="*/ 16 w 26"/>
                <a:gd name="T9" fmla="*/ 26 h 27"/>
                <a:gd name="T10" fmla="*/ 13 w 26"/>
                <a:gd name="T11" fmla="*/ 27 h 27"/>
                <a:gd name="T12" fmla="*/ 7 w 26"/>
                <a:gd name="T13" fmla="*/ 26 h 27"/>
                <a:gd name="T14" fmla="*/ 3 w 26"/>
                <a:gd name="T15" fmla="*/ 24 h 27"/>
                <a:gd name="T16" fmla="*/ 1 w 26"/>
                <a:gd name="T17" fmla="*/ 20 h 27"/>
                <a:gd name="T18" fmla="*/ 0 w 26"/>
                <a:gd name="T19" fmla="*/ 13 h 27"/>
                <a:gd name="T20" fmla="*/ 0 w 26"/>
                <a:gd name="T21" fmla="*/ 13 h 27"/>
                <a:gd name="T22" fmla="*/ 1 w 26"/>
                <a:gd name="T23" fmla="*/ 7 h 27"/>
                <a:gd name="T24" fmla="*/ 3 w 26"/>
                <a:gd name="T25" fmla="*/ 3 h 27"/>
                <a:gd name="T26" fmla="*/ 7 w 26"/>
                <a:gd name="T27" fmla="*/ 1 h 27"/>
                <a:gd name="T28" fmla="*/ 13 w 26"/>
                <a:gd name="T29" fmla="*/ 0 h 27"/>
                <a:gd name="T30" fmla="*/ 16 w 26"/>
                <a:gd name="T31" fmla="*/ 1 h 27"/>
                <a:gd name="T32" fmla="*/ 22 w 26"/>
                <a:gd name="T33" fmla="*/ 3 h 27"/>
                <a:gd name="T34" fmla="*/ 24 w 26"/>
                <a:gd name="T35" fmla="*/ 7 h 27"/>
                <a:gd name="T36" fmla="*/ 26 w 26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7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6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9" name="Freeform 588">
              <a:extLst>
                <a:ext uri="{FF2B5EF4-FFF2-40B4-BE49-F238E27FC236}">
                  <a16:creationId xmlns:a16="http://schemas.microsoft.com/office/drawing/2014/main" id="{111D9BDE-AC31-8EBC-41D9-31C694EDF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540"/>
              <a:ext cx="26" cy="27"/>
            </a:xfrm>
            <a:custGeom>
              <a:avLst/>
              <a:gdLst>
                <a:gd name="T0" fmla="*/ 26 w 26"/>
                <a:gd name="T1" fmla="*/ 14 h 27"/>
                <a:gd name="T2" fmla="*/ 26 w 26"/>
                <a:gd name="T3" fmla="*/ 14 h 27"/>
                <a:gd name="T4" fmla="*/ 24 w 26"/>
                <a:gd name="T5" fmla="*/ 20 h 27"/>
                <a:gd name="T6" fmla="*/ 22 w 26"/>
                <a:gd name="T7" fmla="*/ 24 h 27"/>
                <a:gd name="T8" fmla="*/ 17 w 26"/>
                <a:gd name="T9" fmla="*/ 26 h 27"/>
                <a:gd name="T10" fmla="*/ 13 w 26"/>
                <a:gd name="T11" fmla="*/ 27 h 27"/>
                <a:gd name="T12" fmla="*/ 7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4 h 27"/>
                <a:gd name="T20" fmla="*/ 0 w 26"/>
                <a:gd name="T21" fmla="*/ 14 h 27"/>
                <a:gd name="T22" fmla="*/ 2 w 26"/>
                <a:gd name="T23" fmla="*/ 7 h 27"/>
                <a:gd name="T24" fmla="*/ 4 w 26"/>
                <a:gd name="T25" fmla="*/ 3 h 27"/>
                <a:gd name="T26" fmla="*/ 7 w 26"/>
                <a:gd name="T27" fmla="*/ 1 h 27"/>
                <a:gd name="T28" fmla="*/ 13 w 26"/>
                <a:gd name="T29" fmla="*/ 0 h 27"/>
                <a:gd name="T30" fmla="*/ 17 w 26"/>
                <a:gd name="T31" fmla="*/ 1 h 27"/>
                <a:gd name="T32" fmla="*/ 22 w 26"/>
                <a:gd name="T33" fmla="*/ 3 h 27"/>
                <a:gd name="T34" fmla="*/ 24 w 26"/>
                <a:gd name="T35" fmla="*/ 7 h 27"/>
                <a:gd name="T36" fmla="*/ 26 w 26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4"/>
                  </a:moveTo>
                  <a:lnTo>
                    <a:pt x="26" y="14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7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4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0" name="Freeform 589">
              <a:extLst>
                <a:ext uri="{FF2B5EF4-FFF2-40B4-BE49-F238E27FC236}">
                  <a16:creationId xmlns:a16="http://schemas.microsoft.com/office/drawing/2014/main" id="{EE98A0C3-088A-941C-7265-08355529B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540"/>
              <a:ext cx="26" cy="27"/>
            </a:xfrm>
            <a:custGeom>
              <a:avLst/>
              <a:gdLst>
                <a:gd name="T0" fmla="*/ 26 w 26"/>
                <a:gd name="T1" fmla="*/ 14 h 27"/>
                <a:gd name="T2" fmla="*/ 26 w 26"/>
                <a:gd name="T3" fmla="*/ 14 h 27"/>
                <a:gd name="T4" fmla="*/ 24 w 26"/>
                <a:gd name="T5" fmla="*/ 20 h 27"/>
                <a:gd name="T6" fmla="*/ 22 w 26"/>
                <a:gd name="T7" fmla="*/ 24 h 27"/>
                <a:gd name="T8" fmla="*/ 17 w 26"/>
                <a:gd name="T9" fmla="*/ 26 h 27"/>
                <a:gd name="T10" fmla="*/ 13 w 26"/>
                <a:gd name="T11" fmla="*/ 27 h 27"/>
                <a:gd name="T12" fmla="*/ 7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4 h 27"/>
                <a:gd name="T20" fmla="*/ 0 w 26"/>
                <a:gd name="T21" fmla="*/ 14 h 27"/>
                <a:gd name="T22" fmla="*/ 2 w 26"/>
                <a:gd name="T23" fmla="*/ 7 h 27"/>
                <a:gd name="T24" fmla="*/ 4 w 26"/>
                <a:gd name="T25" fmla="*/ 3 h 27"/>
                <a:gd name="T26" fmla="*/ 7 w 26"/>
                <a:gd name="T27" fmla="*/ 1 h 27"/>
                <a:gd name="T28" fmla="*/ 13 w 26"/>
                <a:gd name="T29" fmla="*/ 0 h 27"/>
                <a:gd name="T30" fmla="*/ 17 w 26"/>
                <a:gd name="T31" fmla="*/ 1 h 27"/>
                <a:gd name="T32" fmla="*/ 22 w 26"/>
                <a:gd name="T33" fmla="*/ 3 h 27"/>
                <a:gd name="T34" fmla="*/ 24 w 26"/>
                <a:gd name="T35" fmla="*/ 7 h 27"/>
                <a:gd name="T36" fmla="*/ 26 w 26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4"/>
                  </a:moveTo>
                  <a:lnTo>
                    <a:pt x="26" y="14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7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4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1" name="Freeform 590">
              <a:extLst>
                <a:ext uri="{FF2B5EF4-FFF2-40B4-BE49-F238E27FC236}">
                  <a16:creationId xmlns:a16="http://schemas.microsoft.com/office/drawing/2014/main" id="{DFFFE72E-D020-1515-35E6-049D809E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251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2" name="Freeform 591">
              <a:extLst>
                <a:ext uri="{FF2B5EF4-FFF2-40B4-BE49-F238E27FC236}">
                  <a16:creationId xmlns:a16="http://schemas.microsoft.com/office/drawing/2014/main" id="{ADDD3716-A37A-C3A3-548A-6EF350D1A1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251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3" name="Freeform 592">
              <a:extLst>
                <a:ext uri="{FF2B5EF4-FFF2-40B4-BE49-F238E27FC236}">
                  <a16:creationId xmlns:a16="http://schemas.microsoft.com/office/drawing/2014/main" id="{D18D3337-59E7-D074-5C8D-A4E48B0F0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54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4" name="Freeform 593">
              <a:extLst>
                <a:ext uri="{FF2B5EF4-FFF2-40B4-BE49-F238E27FC236}">
                  <a16:creationId xmlns:a16="http://schemas.microsoft.com/office/drawing/2014/main" id="{7DEA4CA3-0C12-306C-925C-0B1D46A298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54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5" name="Freeform 594">
              <a:extLst>
                <a:ext uri="{FF2B5EF4-FFF2-40B4-BE49-F238E27FC236}">
                  <a16:creationId xmlns:a16="http://schemas.microsoft.com/office/drawing/2014/main" id="{BC469F92-C4F5-2C3C-D656-B5EE7BA2A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51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6" name="Freeform 595">
              <a:extLst>
                <a:ext uri="{FF2B5EF4-FFF2-40B4-BE49-F238E27FC236}">
                  <a16:creationId xmlns:a16="http://schemas.microsoft.com/office/drawing/2014/main" id="{1CB84343-605F-AB29-DC31-5C29FC396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51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7" name="Freeform 596">
              <a:extLst>
                <a:ext uri="{FF2B5EF4-FFF2-40B4-BE49-F238E27FC236}">
                  <a16:creationId xmlns:a16="http://schemas.microsoft.com/office/drawing/2014/main" id="{F705C199-8B2F-9B41-B6D4-EFDC9D300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251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3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3 w 26"/>
                <a:gd name="T33" fmla="*/ 3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3" y="3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8" name="Freeform 597">
              <a:extLst>
                <a:ext uri="{FF2B5EF4-FFF2-40B4-BE49-F238E27FC236}">
                  <a16:creationId xmlns:a16="http://schemas.microsoft.com/office/drawing/2014/main" id="{DB366A82-95A0-2BB4-1FC3-CEA2AB0F0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251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3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3 w 26"/>
                <a:gd name="T33" fmla="*/ 3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3" y="3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9" name="Freeform 598">
              <a:extLst>
                <a:ext uri="{FF2B5EF4-FFF2-40B4-BE49-F238E27FC236}">
                  <a16:creationId xmlns:a16="http://schemas.microsoft.com/office/drawing/2014/main" id="{9440CE1A-4F16-E80B-D411-F30906550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49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0" name="Freeform 599">
              <a:extLst>
                <a:ext uri="{FF2B5EF4-FFF2-40B4-BE49-F238E27FC236}">
                  <a16:creationId xmlns:a16="http://schemas.microsoft.com/office/drawing/2014/main" id="{E8C5C69D-B732-4C5D-307E-A4DC49DA9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49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1" name="Freeform 600">
              <a:extLst>
                <a:ext uri="{FF2B5EF4-FFF2-40B4-BE49-F238E27FC236}">
                  <a16:creationId xmlns:a16="http://schemas.microsoft.com/office/drawing/2014/main" id="{3EEB3AF8-9997-F634-BABD-1A48E15B39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9" y="248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5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5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5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5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2" name="Freeform 601">
              <a:extLst>
                <a:ext uri="{FF2B5EF4-FFF2-40B4-BE49-F238E27FC236}">
                  <a16:creationId xmlns:a16="http://schemas.microsoft.com/office/drawing/2014/main" id="{3AA13248-F504-9176-6168-FAE760ADF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9" y="248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5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5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5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5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3" name="Freeform 602">
              <a:extLst>
                <a:ext uri="{FF2B5EF4-FFF2-40B4-BE49-F238E27FC236}">
                  <a16:creationId xmlns:a16="http://schemas.microsoft.com/office/drawing/2014/main" id="{C3E19622-BC4A-3D03-F605-7FF1B0C71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4" name="Freeform 603">
              <a:extLst>
                <a:ext uri="{FF2B5EF4-FFF2-40B4-BE49-F238E27FC236}">
                  <a16:creationId xmlns:a16="http://schemas.microsoft.com/office/drawing/2014/main" id="{98C58ED9-6EC1-EBCF-800F-B74C3C33A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5" name="Freeform 604">
              <a:extLst>
                <a:ext uri="{FF2B5EF4-FFF2-40B4-BE49-F238E27FC236}">
                  <a16:creationId xmlns:a16="http://schemas.microsoft.com/office/drawing/2014/main" id="{4028E808-E7BA-FBBA-770F-86C16FBD6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6" name="Freeform 605">
              <a:extLst>
                <a:ext uri="{FF2B5EF4-FFF2-40B4-BE49-F238E27FC236}">
                  <a16:creationId xmlns:a16="http://schemas.microsoft.com/office/drawing/2014/main" id="{25ECEF66-8CD2-0C56-362D-402A430F568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7" name="Freeform 606">
              <a:extLst>
                <a:ext uri="{FF2B5EF4-FFF2-40B4-BE49-F238E27FC236}">
                  <a16:creationId xmlns:a16="http://schemas.microsoft.com/office/drawing/2014/main" id="{DAB192A8-B6D9-F3C0-A187-066B513A2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</p:grpSp>
      <p:sp>
        <p:nvSpPr>
          <p:cNvPr id="16" name="Freeform 608">
            <a:extLst>
              <a:ext uri="{FF2B5EF4-FFF2-40B4-BE49-F238E27FC236}">
                <a16:creationId xmlns:a16="http://schemas.microsoft.com/office/drawing/2014/main" id="{3F810CC1-7736-733F-467D-CB8D0668B54D}"/>
              </a:ext>
            </a:extLst>
          </p:cNvPr>
          <p:cNvSpPr>
            <a:spLocks/>
          </p:cNvSpPr>
          <p:nvPr/>
        </p:nvSpPr>
        <p:spPr bwMode="auto">
          <a:xfrm>
            <a:off x="2171702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" name="Freeform 609">
            <a:extLst>
              <a:ext uri="{FF2B5EF4-FFF2-40B4-BE49-F238E27FC236}">
                <a16:creationId xmlns:a16="http://schemas.microsoft.com/office/drawing/2014/main" id="{5938DE2D-B7ED-C888-D8AB-900F32EA375D}"/>
              </a:ext>
            </a:extLst>
          </p:cNvPr>
          <p:cNvSpPr>
            <a:spLocks/>
          </p:cNvSpPr>
          <p:nvPr/>
        </p:nvSpPr>
        <p:spPr bwMode="auto">
          <a:xfrm>
            <a:off x="237278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6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3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3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6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" name="Freeform 610">
            <a:extLst>
              <a:ext uri="{FF2B5EF4-FFF2-40B4-BE49-F238E27FC236}">
                <a16:creationId xmlns:a16="http://schemas.microsoft.com/office/drawing/2014/main" id="{CCFC2C9C-FFDA-FB77-E9FA-AAAE51631224}"/>
              </a:ext>
            </a:extLst>
          </p:cNvPr>
          <p:cNvSpPr>
            <a:spLocks/>
          </p:cNvSpPr>
          <p:nvPr/>
        </p:nvSpPr>
        <p:spPr bwMode="auto">
          <a:xfrm>
            <a:off x="237278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6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3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3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6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0" name="Freeform 611">
            <a:extLst>
              <a:ext uri="{FF2B5EF4-FFF2-40B4-BE49-F238E27FC236}">
                <a16:creationId xmlns:a16="http://schemas.microsoft.com/office/drawing/2014/main" id="{ADE33300-4BD6-CEE6-40E5-BFB992580567}"/>
              </a:ext>
            </a:extLst>
          </p:cNvPr>
          <p:cNvSpPr>
            <a:spLocks/>
          </p:cNvSpPr>
          <p:nvPr/>
        </p:nvSpPr>
        <p:spPr bwMode="auto">
          <a:xfrm>
            <a:off x="2571752" y="5666317"/>
            <a:ext cx="52917" cy="55033"/>
          </a:xfrm>
          <a:custGeom>
            <a:avLst/>
            <a:gdLst>
              <a:gd name="T0" fmla="*/ 25 w 25"/>
              <a:gd name="T1" fmla="*/ 13 h 26"/>
              <a:gd name="T2" fmla="*/ 25 w 25"/>
              <a:gd name="T3" fmla="*/ 13 h 26"/>
              <a:gd name="T4" fmla="*/ 25 w 25"/>
              <a:gd name="T5" fmla="*/ 19 h 26"/>
              <a:gd name="T6" fmla="*/ 21 w 25"/>
              <a:gd name="T7" fmla="*/ 22 h 26"/>
              <a:gd name="T8" fmla="*/ 17 w 25"/>
              <a:gd name="T9" fmla="*/ 24 h 26"/>
              <a:gd name="T10" fmla="*/ 13 w 25"/>
              <a:gd name="T11" fmla="*/ 26 h 26"/>
              <a:gd name="T12" fmla="*/ 8 w 25"/>
              <a:gd name="T13" fmla="*/ 24 h 26"/>
              <a:gd name="T14" fmla="*/ 4 w 25"/>
              <a:gd name="T15" fmla="*/ 22 h 26"/>
              <a:gd name="T16" fmla="*/ 0 w 25"/>
              <a:gd name="T17" fmla="*/ 19 h 26"/>
              <a:gd name="T18" fmla="*/ 0 w 25"/>
              <a:gd name="T19" fmla="*/ 13 h 26"/>
              <a:gd name="T20" fmla="*/ 0 w 25"/>
              <a:gd name="T21" fmla="*/ 13 h 26"/>
              <a:gd name="T22" fmla="*/ 0 w 25"/>
              <a:gd name="T23" fmla="*/ 7 h 26"/>
              <a:gd name="T24" fmla="*/ 4 w 25"/>
              <a:gd name="T25" fmla="*/ 2 h 26"/>
              <a:gd name="T26" fmla="*/ 8 w 25"/>
              <a:gd name="T27" fmla="*/ 0 h 26"/>
              <a:gd name="T28" fmla="*/ 13 w 25"/>
              <a:gd name="T29" fmla="*/ 0 h 26"/>
              <a:gd name="T30" fmla="*/ 17 w 25"/>
              <a:gd name="T31" fmla="*/ 0 h 26"/>
              <a:gd name="T32" fmla="*/ 21 w 25"/>
              <a:gd name="T33" fmla="*/ 2 h 26"/>
              <a:gd name="T34" fmla="*/ 25 w 25"/>
              <a:gd name="T35" fmla="*/ 7 h 26"/>
              <a:gd name="T36" fmla="*/ 25 w 25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26">
                <a:moveTo>
                  <a:pt x="25" y="13"/>
                </a:moveTo>
                <a:lnTo>
                  <a:pt x="25" y="13"/>
                </a:lnTo>
                <a:lnTo>
                  <a:pt x="25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5" y="7"/>
                </a:lnTo>
                <a:lnTo>
                  <a:pt x="25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2" name="Freeform 612">
            <a:extLst>
              <a:ext uri="{FF2B5EF4-FFF2-40B4-BE49-F238E27FC236}">
                <a16:creationId xmlns:a16="http://schemas.microsoft.com/office/drawing/2014/main" id="{2D86B49F-22AA-BDE0-8DEE-A91642EA7918}"/>
              </a:ext>
            </a:extLst>
          </p:cNvPr>
          <p:cNvSpPr>
            <a:spLocks/>
          </p:cNvSpPr>
          <p:nvPr/>
        </p:nvSpPr>
        <p:spPr bwMode="auto">
          <a:xfrm>
            <a:off x="2571752" y="5666317"/>
            <a:ext cx="52917" cy="55033"/>
          </a:xfrm>
          <a:custGeom>
            <a:avLst/>
            <a:gdLst>
              <a:gd name="T0" fmla="*/ 25 w 25"/>
              <a:gd name="T1" fmla="*/ 13 h 26"/>
              <a:gd name="T2" fmla="*/ 25 w 25"/>
              <a:gd name="T3" fmla="*/ 13 h 26"/>
              <a:gd name="T4" fmla="*/ 25 w 25"/>
              <a:gd name="T5" fmla="*/ 19 h 26"/>
              <a:gd name="T6" fmla="*/ 21 w 25"/>
              <a:gd name="T7" fmla="*/ 22 h 26"/>
              <a:gd name="T8" fmla="*/ 17 w 25"/>
              <a:gd name="T9" fmla="*/ 24 h 26"/>
              <a:gd name="T10" fmla="*/ 13 w 25"/>
              <a:gd name="T11" fmla="*/ 26 h 26"/>
              <a:gd name="T12" fmla="*/ 8 w 25"/>
              <a:gd name="T13" fmla="*/ 24 h 26"/>
              <a:gd name="T14" fmla="*/ 4 w 25"/>
              <a:gd name="T15" fmla="*/ 22 h 26"/>
              <a:gd name="T16" fmla="*/ 0 w 25"/>
              <a:gd name="T17" fmla="*/ 19 h 26"/>
              <a:gd name="T18" fmla="*/ 0 w 25"/>
              <a:gd name="T19" fmla="*/ 13 h 26"/>
              <a:gd name="T20" fmla="*/ 0 w 25"/>
              <a:gd name="T21" fmla="*/ 13 h 26"/>
              <a:gd name="T22" fmla="*/ 0 w 25"/>
              <a:gd name="T23" fmla="*/ 7 h 26"/>
              <a:gd name="T24" fmla="*/ 4 w 25"/>
              <a:gd name="T25" fmla="*/ 2 h 26"/>
              <a:gd name="T26" fmla="*/ 8 w 25"/>
              <a:gd name="T27" fmla="*/ 0 h 26"/>
              <a:gd name="T28" fmla="*/ 13 w 25"/>
              <a:gd name="T29" fmla="*/ 0 h 26"/>
              <a:gd name="T30" fmla="*/ 17 w 25"/>
              <a:gd name="T31" fmla="*/ 0 h 26"/>
              <a:gd name="T32" fmla="*/ 21 w 25"/>
              <a:gd name="T33" fmla="*/ 2 h 26"/>
              <a:gd name="T34" fmla="*/ 25 w 25"/>
              <a:gd name="T35" fmla="*/ 7 h 26"/>
              <a:gd name="T36" fmla="*/ 25 w 25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26">
                <a:moveTo>
                  <a:pt x="25" y="13"/>
                </a:moveTo>
                <a:lnTo>
                  <a:pt x="25" y="13"/>
                </a:lnTo>
                <a:lnTo>
                  <a:pt x="25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5" y="7"/>
                </a:lnTo>
                <a:lnTo>
                  <a:pt x="25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3" name="Freeform 613">
            <a:extLst>
              <a:ext uri="{FF2B5EF4-FFF2-40B4-BE49-F238E27FC236}">
                <a16:creationId xmlns:a16="http://schemas.microsoft.com/office/drawing/2014/main" id="{98A3184D-BB60-BA5D-D1B5-33CB238C2150}"/>
              </a:ext>
            </a:extLst>
          </p:cNvPr>
          <p:cNvSpPr>
            <a:spLocks/>
          </p:cNvSpPr>
          <p:nvPr/>
        </p:nvSpPr>
        <p:spPr bwMode="auto">
          <a:xfrm>
            <a:off x="277283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1 w 24"/>
              <a:gd name="T7" fmla="*/ 22 h 26"/>
              <a:gd name="T8" fmla="*/ 17 w 24"/>
              <a:gd name="T9" fmla="*/ 24 h 26"/>
              <a:gd name="T10" fmla="*/ 11 w 24"/>
              <a:gd name="T11" fmla="*/ 26 h 26"/>
              <a:gd name="T12" fmla="*/ 8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8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1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1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1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4" name="Freeform 614">
            <a:extLst>
              <a:ext uri="{FF2B5EF4-FFF2-40B4-BE49-F238E27FC236}">
                <a16:creationId xmlns:a16="http://schemas.microsoft.com/office/drawing/2014/main" id="{1B149858-F90E-CA5D-8AB4-6C68D7A704FC}"/>
              </a:ext>
            </a:extLst>
          </p:cNvPr>
          <p:cNvSpPr>
            <a:spLocks/>
          </p:cNvSpPr>
          <p:nvPr/>
        </p:nvSpPr>
        <p:spPr bwMode="auto">
          <a:xfrm>
            <a:off x="277283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1 w 24"/>
              <a:gd name="T7" fmla="*/ 22 h 26"/>
              <a:gd name="T8" fmla="*/ 17 w 24"/>
              <a:gd name="T9" fmla="*/ 24 h 26"/>
              <a:gd name="T10" fmla="*/ 11 w 24"/>
              <a:gd name="T11" fmla="*/ 26 h 26"/>
              <a:gd name="T12" fmla="*/ 8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8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1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1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1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5" name="Freeform 615">
            <a:extLst>
              <a:ext uri="{FF2B5EF4-FFF2-40B4-BE49-F238E27FC236}">
                <a16:creationId xmlns:a16="http://schemas.microsoft.com/office/drawing/2014/main" id="{3BB31E25-6821-1DBC-7F3F-506E4EAE35ED}"/>
              </a:ext>
            </a:extLst>
          </p:cNvPr>
          <p:cNvSpPr>
            <a:spLocks/>
          </p:cNvSpPr>
          <p:nvPr/>
        </p:nvSpPr>
        <p:spPr bwMode="auto">
          <a:xfrm>
            <a:off x="2973919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1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1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1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6" name="Freeform 616">
            <a:extLst>
              <a:ext uri="{FF2B5EF4-FFF2-40B4-BE49-F238E27FC236}">
                <a16:creationId xmlns:a16="http://schemas.microsoft.com/office/drawing/2014/main" id="{93BC639F-8D8C-056C-D45F-FF429650FF7B}"/>
              </a:ext>
            </a:extLst>
          </p:cNvPr>
          <p:cNvSpPr>
            <a:spLocks/>
          </p:cNvSpPr>
          <p:nvPr/>
        </p:nvSpPr>
        <p:spPr bwMode="auto">
          <a:xfrm>
            <a:off x="2973919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1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1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1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7" name="Freeform 617">
            <a:extLst>
              <a:ext uri="{FF2B5EF4-FFF2-40B4-BE49-F238E27FC236}">
                <a16:creationId xmlns:a16="http://schemas.microsoft.com/office/drawing/2014/main" id="{25CA3491-B137-C062-3E86-01D57E0CEFA0}"/>
              </a:ext>
            </a:extLst>
          </p:cNvPr>
          <p:cNvSpPr>
            <a:spLocks/>
          </p:cNvSpPr>
          <p:nvPr/>
        </p:nvSpPr>
        <p:spPr bwMode="auto">
          <a:xfrm>
            <a:off x="32723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9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9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8" name="Freeform 618">
            <a:extLst>
              <a:ext uri="{FF2B5EF4-FFF2-40B4-BE49-F238E27FC236}">
                <a16:creationId xmlns:a16="http://schemas.microsoft.com/office/drawing/2014/main" id="{1845D356-25D6-0931-E161-94EAE7A3A314}"/>
              </a:ext>
            </a:extLst>
          </p:cNvPr>
          <p:cNvSpPr>
            <a:spLocks/>
          </p:cNvSpPr>
          <p:nvPr/>
        </p:nvSpPr>
        <p:spPr bwMode="auto">
          <a:xfrm>
            <a:off x="32723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9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9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9" name="Freeform 619">
            <a:extLst>
              <a:ext uri="{FF2B5EF4-FFF2-40B4-BE49-F238E27FC236}">
                <a16:creationId xmlns:a16="http://schemas.microsoft.com/office/drawing/2014/main" id="{F2D25D01-CCF8-10E3-381A-88295A9976B5}"/>
              </a:ext>
            </a:extLst>
          </p:cNvPr>
          <p:cNvSpPr>
            <a:spLocks/>
          </p:cNvSpPr>
          <p:nvPr/>
        </p:nvSpPr>
        <p:spPr bwMode="auto">
          <a:xfrm>
            <a:off x="34882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1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1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0" name="Freeform 620">
            <a:extLst>
              <a:ext uri="{FF2B5EF4-FFF2-40B4-BE49-F238E27FC236}">
                <a16:creationId xmlns:a16="http://schemas.microsoft.com/office/drawing/2014/main" id="{ED120886-4677-DD76-8B9C-BEC568601425}"/>
              </a:ext>
            </a:extLst>
          </p:cNvPr>
          <p:cNvSpPr>
            <a:spLocks/>
          </p:cNvSpPr>
          <p:nvPr/>
        </p:nvSpPr>
        <p:spPr bwMode="auto">
          <a:xfrm>
            <a:off x="34882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1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1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1" name="Freeform 621">
            <a:extLst>
              <a:ext uri="{FF2B5EF4-FFF2-40B4-BE49-F238E27FC236}">
                <a16:creationId xmlns:a16="http://schemas.microsoft.com/office/drawing/2014/main" id="{498F97B1-CD8A-219A-D573-353F36ACBFBF}"/>
              </a:ext>
            </a:extLst>
          </p:cNvPr>
          <p:cNvSpPr>
            <a:spLocks/>
          </p:cNvSpPr>
          <p:nvPr/>
        </p:nvSpPr>
        <p:spPr bwMode="auto">
          <a:xfrm>
            <a:off x="3672419" y="540596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5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5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9 w 26"/>
              <a:gd name="T31" fmla="*/ 2 h 26"/>
              <a:gd name="T32" fmla="*/ 23 w 26"/>
              <a:gd name="T33" fmla="*/ 4 h 26"/>
              <a:gd name="T34" fmla="*/ 25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5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5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9" y="2"/>
                </a:lnTo>
                <a:lnTo>
                  <a:pt x="23" y="4"/>
                </a:lnTo>
                <a:lnTo>
                  <a:pt x="25" y="8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2" name="Freeform 622">
            <a:extLst>
              <a:ext uri="{FF2B5EF4-FFF2-40B4-BE49-F238E27FC236}">
                <a16:creationId xmlns:a16="http://schemas.microsoft.com/office/drawing/2014/main" id="{9BEA7704-BEAF-5A8B-7394-411A4958DA32}"/>
              </a:ext>
            </a:extLst>
          </p:cNvPr>
          <p:cNvSpPr>
            <a:spLocks/>
          </p:cNvSpPr>
          <p:nvPr/>
        </p:nvSpPr>
        <p:spPr bwMode="auto">
          <a:xfrm>
            <a:off x="3672419" y="540596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5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5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9 w 26"/>
              <a:gd name="T31" fmla="*/ 2 h 26"/>
              <a:gd name="T32" fmla="*/ 23 w 26"/>
              <a:gd name="T33" fmla="*/ 4 h 26"/>
              <a:gd name="T34" fmla="*/ 25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5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5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9" y="2"/>
                </a:lnTo>
                <a:lnTo>
                  <a:pt x="23" y="4"/>
                </a:lnTo>
                <a:lnTo>
                  <a:pt x="25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3" name="Freeform 623">
            <a:extLst>
              <a:ext uri="{FF2B5EF4-FFF2-40B4-BE49-F238E27FC236}">
                <a16:creationId xmlns:a16="http://schemas.microsoft.com/office/drawing/2014/main" id="{02DFD76B-BABE-B6D9-0F8B-0A93186BE364}"/>
              </a:ext>
            </a:extLst>
          </p:cNvPr>
          <p:cNvSpPr>
            <a:spLocks/>
          </p:cNvSpPr>
          <p:nvPr/>
        </p:nvSpPr>
        <p:spPr bwMode="auto">
          <a:xfrm>
            <a:off x="387350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9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4" name="Freeform 624">
            <a:extLst>
              <a:ext uri="{FF2B5EF4-FFF2-40B4-BE49-F238E27FC236}">
                <a16:creationId xmlns:a16="http://schemas.microsoft.com/office/drawing/2014/main" id="{4AD5485A-AC8D-AB71-6977-776D7A683C22}"/>
              </a:ext>
            </a:extLst>
          </p:cNvPr>
          <p:cNvSpPr>
            <a:spLocks/>
          </p:cNvSpPr>
          <p:nvPr/>
        </p:nvSpPr>
        <p:spPr bwMode="auto">
          <a:xfrm>
            <a:off x="387350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9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5" name="Freeform 625">
            <a:extLst>
              <a:ext uri="{FF2B5EF4-FFF2-40B4-BE49-F238E27FC236}">
                <a16:creationId xmlns:a16="http://schemas.microsoft.com/office/drawing/2014/main" id="{F3C75805-4B4B-546C-45D2-2F2311E3D487}"/>
              </a:ext>
            </a:extLst>
          </p:cNvPr>
          <p:cNvSpPr>
            <a:spLocks/>
          </p:cNvSpPr>
          <p:nvPr/>
        </p:nvSpPr>
        <p:spPr bwMode="auto">
          <a:xfrm>
            <a:off x="40745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6" name="Freeform 626">
            <a:extLst>
              <a:ext uri="{FF2B5EF4-FFF2-40B4-BE49-F238E27FC236}">
                <a16:creationId xmlns:a16="http://schemas.microsoft.com/office/drawing/2014/main" id="{43B9888D-EFAF-C38C-67FA-6BE538222DE5}"/>
              </a:ext>
            </a:extLst>
          </p:cNvPr>
          <p:cNvSpPr>
            <a:spLocks/>
          </p:cNvSpPr>
          <p:nvPr/>
        </p:nvSpPr>
        <p:spPr bwMode="auto">
          <a:xfrm>
            <a:off x="40745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7" name="Freeform 627">
            <a:extLst>
              <a:ext uri="{FF2B5EF4-FFF2-40B4-BE49-F238E27FC236}">
                <a16:creationId xmlns:a16="http://schemas.microsoft.com/office/drawing/2014/main" id="{3FE97749-FF44-AAD4-4A42-13718C89D27D}"/>
              </a:ext>
            </a:extLst>
          </p:cNvPr>
          <p:cNvSpPr>
            <a:spLocks/>
          </p:cNvSpPr>
          <p:nvPr/>
        </p:nvSpPr>
        <p:spPr bwMode="auto">
          <a:xfrm>
            <a:off x="42756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8" name="Freeform 628">
            <a:extLst>
              <a:ext uri="{FF2B5EF4-FFF2-40B4-BE49-F238E27FC236}">
                <a16:creationId xmlns:a16="http://schemas.microsoft.com/office/drawing/2014/main" id="{50AB60E9-34BB-1CAD-C9B4-E670858331F1}"/>
              </a:ext>
            </a:extLst>
          </p:cNvPr>
          <p:cNvSpPr>
            <a:spLocks/>
          </p:cNvSpPr>
          <p:nvPr/>
        </p:nvSpPr>
        <p:spPr bwMode="auto">
          <a:xfrm>
            <a:off x="42756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9" name="Freeform 629">
            <a:extLst>
              <a:ext uri="{FF2B5EF4-FFF2-40B4-BE49-F238E27FC236}">
                <a16:creationId xmlns:a16="http://schemas.microsoft.com/office/drawing/2014/main" id="{BC8AE132-AC73-EFDC-13DF-F0148073537B}"/>
              </a:ext>
            </a:extLst>
          </p:cNvPr>
          <p:cNvSpPr>
            <a:spLocks/>
          </p:cNvSpPr>
          <p:nvPr/>
        </p:nvSpPr>
        <p:spPr bwMode="auto">
          <a:xfrm>
            <a:off x="44746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1" name="Freeform 630">
            <a:extLst>
              <a:ext uri="{FF2B5EF4-FFF2-40B4-BE49-F238E27FC236}">
                <a16:creationId xmlns:a16="http://schemas.microsoft.com/office/drawing/2014/main" id="{6D59BEA5-374D-B0CB-3A69-A2D8EAFEDBC1}"/>
              </a:ext>
            </a:extLst>
          </p:cNvPr>
          <p:cNvSpPr>
            <a:spLocks/>
          </p:cNvSpPr>
          <p:nvPr/>
        </p:nvSpPr>
        <p:spPr bwMode="auto">
          <a:xfrm>
            <a:off x="44746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2" name="Freeform 631">
            <a:extLst>
              <a:ext uri="{FF2B5EF4-FFF2-40B4-BE49-F238E27FC236}">
                <a16:creationId xmlns:a16="http://schemas.microsoft.com/office/drawing/2014/main" id="{18B9ACA8-685C-2401-83BF-409823ED3449}"/>
              </a:ext>
            </a:extLst>
          </p:cNvPr>
          <p:cNvSpPr>
            <a:spLocks/>
          </p:cNvSpPr>
          <p:nvPr/>
        </p:nvSpPr>
        <p:spPr bwMode="auto">
          <a:xfrm>
            <a:off x="4675719" y="53953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4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4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3" name="Freeform 632">
            <a:extLst>
              <a:ext uri="{FF2B5EF4-FFF2-40B4-BE49-F238E27FC236}">
                <a16:creationId xmlns:a16="http://schemas.microsoft.com/office/drawing/2014/main" id="{B0132E38-FA1C-A62B-3071-E57B250D179E}"/>
              </a:ext>
            </a:extLst>
          </p:cNvPr>
          <p:cNvSpPr>
            <a:spLocks/>
          </p:cNvSpPr>
          <p:nvPr/>
        </p:nvSpPr>
        <p:spPr bwMode="auto">
          <a:xfrm>
            <a:off x="4675719" y="53953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4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4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4" name="Freeform 633">
            <a:extLst>
              <a:ext uri="{FF2B5EF4-FFF2-40B4-BE49-F238E27FC236}">
                <a16:creationId xmlns:a16="http://schemas.microsoft.com/office/drawing/2014/main" id="{D974BB93-4B0D-F4AF-26B0-054BF936D043}"/>
              </a:ext>
            </a:extLst>
          </p:cNvPr>
          <p:cNvSpPr>
            <a:spLocks/>
          </p:cNvSpPr>
          <p:nvPr/>
        </p:nvSpPr>
        <p:spPr bwMode="auto">
          <a:xfrm>
            <a:off x="4876802" y="53594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4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5" name="Freeform 634">
            <a:extLst>
              <a:ext uri="{FF2B5EF4-FFF2-40B4-BE49-F238E27FC236}">
                <a16:creationId xmlns:a16="http://schemas.microsoft.com/office/drawing/2014/main" id="{04EFA6B2-2C9F-7A6C-8393-0A222530B1B5}"/>
              </a:ext>
            </a:extLst>
          </p:cNvPr>
          <p:cNvSpPr>
            <a:spLocks/>
          </p:cNvSpPr>
          <p:nvPr/>
        </p:nvSpPr>
        <p:spPr bwMode="auto">
          <a:xfrm>
            <a:off x="4876802" y="53594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4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6" name="Freeform 635">
            <a:extLst>
              <a:ext uri="{FF2B5EF4-FFF2-40B4-BE49-F238E27FC236}">
                <a16:creationId xmlns:a16="http://schemas.microsoft.com/office/drawing/2014/main" id="{8DCEF68B-E07D-440A-5C60-20789C3D4C28}"/>
              </a:ext>
            </a:extLst>
          </p:cNvPr>
          <p:cNvSpPr>
            <a:spLocks/>
          </p:cNvSpPr>
          <p:nvPr/>
        </p:nvSpPr>
        <p:spPr bwMode="auto">
          <a:xfrm>
            <a:off x="5077885" y="53784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5 h 26"/>
              <a:gd name="T8" fmla="*/ 16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3 w 26"/>
              <a:gd name="T15" fmla="*/ 25 h 26"/>
              <a:gd name="T16" fmla="*/ 1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1 w 26"/>
              <a:gd name="T23" fmla="*/ 8 h 26"/>
              <a:gd name="T24" fmla="*/ 3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6 w 26"/>
              <a:gd name="T31" fmla="*/ 2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5"/>
                </a:lnTo>
                <a:lnTo>
                  <a:pt x="16" y="26"/>
                </a:lnTo>
                <a:lnTo>
                  <a:pt x="13" y="26"/>
                </a:lnTo>
                <a:lnTo>
                  <a:pt x="7" y="26"/>
                </a:lnTo>
                <a:lnTo>
                  <a:pt x="3" y="25"/>
                </a:lnTo>
                <a:lnTo>
                  <a:pt x="1" y="19"/>
                </a:lnTo>
                <a:lnTo>
                  <a:pt x="0" y="13"/>
                </a:lnTo>
                <a:lnTo>
                  <a:pt x="0" y="13"/>
                </a:lnTo>
                <a:lnTo>
                  <a:pt x="1" y="8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6" y="2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7" name="Freeform 636">
            <a:extLst>
              <a:ext uri="{FF2B5EF4-FFF2-40B4-BE49-F238E27FC236}">
                <a16:creationId xmlns:a16="http://schemas.microsoft.com/office/drawing/2014/main" id="{8746B621-43CB-B089-4476-3B29FD6A9B9C}"/>
              </a:ext>
            </a:extLst>
          </p:cNvPr>
          <p:cNvSpPr>
            <a:spLocks/>
          </p:cNvSpPr>
          <p:nvPr/>
        </p:nvSpPr>
        <p:spPr bwMode="auto">
          <a:xfrm>
            <a:off x="5077885" y="53784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5 h 26"/>
              <a:gd name="T8" fmla="*/ 16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3 w 26"/>
              <a:gd name="T15" fmla="*/ 25 h 26"/>
              <a:gd name="T16" fmla="*/ 1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1 w 26"/>
              <a:gd name="T23" fmla="*/ 8 h 26"/>
              <a:gd name="T24" fmla="*/ 3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6 w 26"/>
              <a:gd name="T31" fmla="*/ 2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5"/>
                </a:lnTo>
                <a:lnTo>
                  <a:pt x="16" y="26"/>
                </a:lnTo>
                <a:lnTo>
                  <a:pt x="13" y="26"/>
                </a:lnTo>
                <a:lnTo>
                  <a:pt x="7" y="26"/>
                </a:lnTo>
                <a:lnTo>
                  <a:pt x="3" y="25"/>
                </a:lnTo>
                <a:lnTo>
                  <a:pt x="1" y="19"/>
                </a:lnTo>
                <a:lnTo>
                  <a:pt x="0" y="13"/>
                </a:lnTo>
                <a:lnTo>
                  <a:pt x="0" y="13"/>
                </a:lnTo>
                <a:lnTo>
                  <a:pt x="1" y="8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6" y="2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8" name="Freeform 637">
            <a:extLst>
              <a:ext uri="{FF2B5EF4-FFF2-40B4-BE49-F238E27FC236}">
                <a16:creationId xmlns:a16="http://schemas.microsoft.com/office/drawing/2014/main" id="{6D15E03F-1D81-15AF-FF6F-13B971E58B2E}"/>
              </a:ext>
            </a:extLst>
          </p:cNvPr>
          <p:cNvSpPr>
            <a:spLocks/>
          </p:cNvSpPr>
          <p:nvPr/>
        </p:nvSpPr>
        <p:spPr bwMode="auto">
          <a:xfrm>
            <a:off x="52768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9" name="Freeform 638">
            <a:extLst>
              <a:ext uri="{FF2B5EF4-FFF2-40B4-BE49-F238E27FC236}">
                <a16:creationId xmlns:a16="http://schemas.microsoft.com/office/drawing/2014/main" id="{F14444E0-6A70-FD9A-72B5-A102959AE0C1}"/>
              </a:ext>
            </a:extLst>
          </p:cNvPr>
          <p:cNvSpPr>
            <a:spLocks/>
          </p:cNvSpPr>
          <p:nvPr/>
        </p:nvSpPr>
        <p:spPr bwMode="auto">
          <a:xfrm>
            <a:off x="52768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0" name="Freeform 639">
            <a:extLst>
              <a:ext uri="{FF2B5EF4-FFF2-40B4-BE49-F238E27FC236}">
                <a16:creationId xmlns:a16="http://schemas.microsoft.com/office/drawing/2014/main" id="{1464C2D5-0990-471F-FAD0-DEC82918609E}"/>
              </a:ext>
            </a:extLst>
          </p:cNvPr>
          <p:cNvSpPr>
            <a:spLocks/>
          </p:cNvSpPr>
          <p:nvPr/>
        </p:nvSpPr>
        <p:spPr bwMode="auto">
          <a:xfrm>
            <a:off x="54779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1" name="Freeform 640">
            <a:extLst>
              <a:ext uri="{FF2B5EF4-FFF2-40B4-BE49-F238E27FC236}">
                <a16:creationId xmlns:a16="http://schemas.microsoft.com/office/drawing/2014/main" id="{E3098C3B-FC2D-353E-58E4-7CB8D2F0DC6B}"/>
              </a:ext>
            </a:extLst>
          </p:cNvPr>
          <p:cNvSpPr>
            <a:spLocks/>
          </p:cNvSpPr>
          <p:nvPr/>
        </p:nvSpPr>
        <p:spPr bwMode="auto">
          <a:xfrm>
            <a:off x="54779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2" name="Freeform 641">
            <a:extLst>
              <a:ext uri="{FF2B5EF4-FFF2-40B4-BE49-F238E27FC236}">
                <a16:creationId xmlns:a16="http://schemas.microsoft.com/office/drawing/2014/main" id="{6C7A5A83-F4FE-302D-A7FF-247B26C1E6D1}"/>
              </a:ext>
            </a:extLst>
          </p:cNvPr>
          <p:cNvSpPr>
            <a:spLocks/>
          </p:cNvSpPr>
          <p:nvPr/>
        </p:nvSpPr>
        <p:spPr bwMode="auto">
          <a:xfrm>
            <a:off x="5679019" y="54504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6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3 w 26"/>
              <a:gd name="T15" fmla="*/ 24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6 w 26"/>
              <a:gd name="T31" fmla="*/ 2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6" y="26"/>
                </a:lnTo>
                <a:lnTo>
                  <a:pt x="13" y="26"/>
                </a:lnTo>
                <a:lnTo>
                  <a:pt x="7" y="26"/>
                </a:lnTo>
                <a:lnTo>
                  <a:pt x="3" y="24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6" y="2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3" name="Freeform 642">
            <a:extLst>
              <a:ext uri="{FF2B5EF4-FFF2-40B4-BE49-F238E27FC236}">
                <a16:creationId xmlns:a16="http://schemas.microsoft.com/office/drawing/2014/main" id="{C0C3BCC7-C847-1CB7-7724-96600350EB02}"/>
              </a:ext>
            </a:extLst>
          </p:cNvPr>
          <p:cNvSpPr>
            <a:spLocks/>
          </p:cNvSpPr>
          <p:nvPr/>
        </p:nvSpPr>
        <p:spPr bwMode="auto">
          <a:xfrm>
            <a:off x="5679019" y="54504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6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3 w 26"/>
              <a:gd name="T15" fmla="*/ 24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6 w 26"/>
              <a:gd name="T31" fmla="*/ 2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6" y="26"/>
                </a:lnTo>
                <a:lnTo>
                  <a:pt x="13" y="26"/>
                </a:lnTo>
                <a:lnTo>
                  <a:pt x="7" y="26"/>
                </a:lnTo>
                <a:lnTo>
                  <a:pt x="3" y="24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6" y="2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4" name="Freeform 643">
            <a:extLst>
              <a:ext uri="{FF2B5EF4-FFF2-40B4-BE49-F238E27FC236}">
                <a16:creationId xmlns:a16="http://schemas.microsoft.com/office/drawing/2014/main" id="{C0ECFA41-400C-5CA2-6DA3-AEF1255F9F48}"/>
              </a:ext>
            </a:extLst>
          </p:cNvPr>
          <p:cNvSpPr>
            <a:spLocks/>
          </p:cNvSpPr>
          <p:nvPr/>
        </p:nvSpPr>
        <p:spPr bwMode="auto">
          <a:xfrm>
            <a:off x="5877986" y="54461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4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4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4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4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5" name="Freeform 644">
            <a:extLst>
              <a:ext uri="{FF2B5EF4-FFF2-40B4-BE49-F238E27FC236}">
                <a16:creationId xmlns:a16="http://schemas.microsoft.com/office/drawing/2014/main" id="{716696D5-CF77-AFA8-7787-CF32E5C9AF3B}"/>
              </a:ext>
            </a:extLst>
          </p:cNvPr>
          <p:cNvSpPr>
            <a:spLocks/>
          </p:cNvSpPr>
          <p:nvPr/>
        </p:nvSpPr>
        <p:spPr bwMode="auto">
          <a:xfrm>
            <a:off x="5877986" y="54461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4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4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4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4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6" name="Freeform 645">
            <a:extLst>
              <a:ext uri="{FF2B5EF4-FFF2-40B4-BE49-F238E27FC236}">
                <a16:creationId xmlns:a16="http://schemas.microsoft.com/office/drawing/2014/main" id="{D38F16A1-37BE-0FCE-8B84-40B4DB882C77}"/>
              </a:ext>
            </a:extLst>
          </p:cNvPr>
          <p:cNvSpPr>
            <a:spLocks/>
          </p:cNvSpPr>
          <p:nvPr/>
        </p:nvSpPr>
        <p:spPr bwMode="auto">
          <a:xfrm>
            <a:off x="5977469" y="54038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8 h 26"/>
              <a:gd name="T6" fmla="*/ 22 w 26"/>
              <a:gd name="T7" fmla="*/ 24 h 26"/>
              <a:gd name="T8" fmla="*/ 18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5 w 26"/>
              <a:gd name="T15" fmla="*/ 24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5 w 26"/>
              <a:gd name="T25" fmla="*/ 3 h 26"/>
              <a:gd name="T26" fmla="*/ 9 w 26"/>
              <a:gd name="T27" fmla="*/ 1 h 26"/>
              <a:gd name="T28" fmla="*/ 13 w 26"/>
              <a:gd name="T29" fmla="*/ 0 h 26"/>
              <a:gd name="T30" fmla="*/ 18 w 26"/>
              <a:gd name="T31" fmla="*/ 1 h 26"/>
              <a:gd name="T32" fmla="*/ 22 w 26"/>
              <a:gd name="T33" fmla="*/ 3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8"/>
                </a:lnTo>
                <a:lnTo>
                  <a:pt x="22" y="24"/>
                </a:lnTo>
                <a:lnTo>
                  <a:pt x="18" y="26"/>
                </a:lnTo>
                <a:lnTo>
                  <a:pt x="13" y="26"/>
                </a:lnTo>
                <a:lnTo>
                  <a:pt x="9" y="26"/>
                </a:lnTo>
                <a:lnTo>
                  <a:pt x="5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5" y="3"/>
                </a:lnTo>
                <a:lnTo>
                  <a:pt x="9" y="1"/>
                </a:lnTo>
                <a:lnTo>
                  <a:pt x="13" y="0"/>
                </a:lnTo>
                <a:lnTo>
                  <a:pt x="18" y="1"/>
                </a:lnTo>
                <a:lnTo>
                  <a:pt x="22" y="3"/>
                </a:lnTo>
                <a:lnTo>
                  <a:pt x="26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7" name="Freeform 646">
            <a:extLst>
              <a:ext uri="{FF2B5EF4-FFF2-40B4-BE49-F238E27FC236}">
                <a16:creationId xmlns:a16="http://schemas.microsoft.com/office/drawing/2014/main" id="{9F0B7832-3BE1-F6EF-AD0C-BAC627680558}"/>
              </a:ext>
            </a:extLst>
          </p:cNvPr>
          <p:cNvSpPr>
            <a:spLocks/>
          </p:cNvSpPr>
          <p:nvPr/>
        </p:nvSpPr>
        <p:spPr bwMode="auto">
          <a:xfrm>
            <a:off x="5977469" y="54038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8 h 26"/>
              <a:gd name="T6" fmla="*/ 22 w 26"/>
              <a:gd name="T7" fmla="*/ 24 h 26"/>
              <a:gd name="T8" fmla="*/ 18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5 w 26"/>
              <a:gd name="T15" fmla="*/ 24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5 w 26"/>
              <a:gd name="T25" fmla="*/ 3 h 26"/>
              <a:gd name="T26" fmla="*/ 9 w 26"/>
              <a:gd name="T27" fmla="*/ 1 h 26"/>
              <a:gd name="T28" fmla="*/ 13 w 26"/>
              <a:gd name="T29" fmla="*/ 0 h 26"/>
              <a:gd name="T30" fmla="*/ 18 w 26"/>
              <a:gd name="T31" fmla="*/ 1 h 26"/>
              <a:gd name="T32" fmla="*/ 22 w 26"/>
              <a:gd name="T33" fmla="*/ 3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8"/>
                </a:lnTo>
                <a:lnTo>
                  <a:pt x="22" y="24"/>
                </a:lnTo>
                <a:lnTo>
                  <a:pt x="18" y="26"/>
                </a:lnTo>
                <a:lnTo>
                  <a:pt x="13" y="26"/>
                </a:lnTo>
                <a:lnTo>
                  <a:pt x="9" y="26"/>
                </a:lnTo>
                <a:lnTo>
                  <a:pt x="5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5" y="3"/>
                </a:lnTo>
                <a:lnTo>
                  <a:pt x="9" y="1"/>
                </a:lnTo>
                <a:lnTo>
                  <a:pt x="13" y="0"/>
                </a:lnTo>
                <a:lnTo>
                  <a:pt x="18" y="1"/>
                </a:lnTo>
                <a:lnTo>
                  <a:pt x="22" y="3"/>
                </a:lnTo>
                <a:lnTo>
                  <a:pt x="26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8" name="Freeform 647">
            <a:extLst>
              <a:ext uri="{FF2B5EF4-FFF2-40B4-BE49-F238E27FC236}">
                <a16:creationId xmlns:a16="http://schemas.microsoft.com/office/drawing/2014/main" id="{49ABC5C7-352B-9731-086A-046421BB4FE5}"/>
              </a:ext>
            </a:extLst>
          </p:cNvPr>
          <p:cNvSpPr>
            <a:spLocks/>
          </p:cNvSpPr>
          <p:nvPr/>
        </p:nvSpPr>
        <p:spPr bwMode="auto">
          <a:xfrm>
            <a:off x="6079069" y="54504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4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4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9" name="Freeform 648">
            <a:extLst>
              <a:ext uri="{FF2B5EF4-FFF2-40B4-BE49-F238E27FC236}">
                <a16:creationId xmlns:a16="http://schemas.microsoft.com/office/drawing/2014/main" id="{3464D3B4-E523-4647-3F41-1487F9395140}"/>
              </a:ext>
            </a:extLst>
          </p:cNvPr>
          <p:cNvSpPr>
            <a:spLocks/>
          </p:cNvSpPr>
          <p:nvPr/>
        </p:nvSpPr>
        <p:spPr bwMode="auto">
          <a:xfrm>
            <a:off x="6079069" y="54504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4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4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60" name="Freeform 649">
            <a:extLst>
              <a:ext uri="{FF2B5EF4-FFF2-40B4-BE49-F238E27FC236}">
                <a16:creationId xmlns:a16="http://schemas.microsoft.com/office/drawing/2014/main" id="{2E829D42-F328-5FF5-ADE7-0B6F264D1612}"/>
              </a:ext>
            </a:extLst>
          </p:cNvPr>
          <p:cNvSpPr>
            <a:spLocks/>
          </p:cNvSpPr>
          <p:nvPr/>
        </p:nvSpPr>
        <p:spPr bwMode="auto">
          <a:xfrm>
            <a:off x="6280152" y="54588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3 h 26"/>
              <a:gd name="T26" fmla="*/ 7 w 26"/>
              <a:gd name="T27" fmla="*/ 1 h 26"/>
              <a:gd name="T28" fmla="*/ 13 w 26"/>
              <a:gd name="T29" fmla="*/ 0 h 26"/>
              <a:gd name="T30" fmla="*/ 17 w 26"/>
              <a:gd name="T31" fmla="*/ 1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3"/>
                </a:lnTo>
                <a:lnTo>
                  <a:pt x="7" y="1"/>
                </a:lnTo>
                <a:lnTo>
                  <a:pt x="13" y="0"/>
                </a:lnTo>
                <a:lnTo>
                  <a:pt x="17" y="1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61" name="Freeform 650">
            <a:extLst>
              <a:ext uri="{FF2B5EF4-FFF2-40B4-BE49-F238E27FC236}">
                <a16:creationId xmlns:a16="http://schemas.microsoft.com/office/drawing/2014/main" id="{FF2AF280-2E93-E4FB-52FF-C2A0E3828832}"/>
              </a:ext>
            </a:extLst>
          </p:cNvPr>
          <p:cNvSpPr>
            <a:spLocks/>
          </p:cNvSpPr>
          <p:nvPr/>
        </p:nvSpPr>
        <p:spPr bwMode="auto">
          <a:xfrm>
            <a:off x="6280152" y="54588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3 h 26"/>
              <a:gd name="T26" fmla="*/ 7 w 26"/>
              <a:gd name="T27" fmla="*/ 1 h 26"/>
              <a:gd name="T28" fmla="*/ 13 w 26"/>
              <a:gd name="T29" fmla="*/ 0 h 26"/>
              <a:gd name="T30" fmla="*/ 17 w 26"/>
              <a:gd name="T31" fmla="*/ 1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3"/>
                </a:lnTo>
                <a:lnTo>
                  <a:pt x="7" y="1"/>
                </a:lnTo>
                <a:lnTo>
                  <a:pt x="13" y="0"/>
                </a:lnTo>
                <a:lnTo>
                  <a:pt x="17" y="1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62" name="Freeform 651">
            <a:extLst>
              <a:ext uri="{FF2B5EF4-FFF2-40B4-BE49-F238E27FC236}">
                <a16:creationId xmlns:a16="http://schemas.microsoft.com/office/drawing/2014/main" id="{6C652803-E7EE-EB89-C306-BB90A5494DE7}"/>
              </a:ext>
            </a:extLst>
          </p:cNvPr>
          <p:cNvSpPr>
            <a:spLocks/>
          </p:cNvSpPr>
          <p:nvPr/>
        </p:nvSpPr>
        <p:spPr bwMode="auto">
          <a:xfrm>
            <a:off x="6481236" y="52937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1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1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1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1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63" name="Freeform 652">
            <a:extLst>
              <a:ext uri="{FF2B5EF4-FFF2-40B4-BE49-F238E27FC236}">
                <a16:creationId xmlns:a16="http://schemas.microsoft.com/office/drawing/2014/main" id="{56663FA3-516E-4E7C-1040-9892137AF84E}"/>
              </a:ext>
            </a:extLst>
          </p:cNvPr>
          <p:cNvSpPr>
            <a:spLocks/>
          </p:cNvSpPr>
          <p:nvPr/>
        </p:nvSpPr>
        <p:spPr bwMode="auto">
          <a:xfrm>
            <a:off x="6481236" y="52937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1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1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1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1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64" name="Freeform 653">
            <a:extLst>
              <a:ext uri="{FF2B5EF4-FFF2-40B4-BE49-F238E27FC236}">
                <a16:creationId xmlns:a16="http://schemas.microsoft.com/office/drawing/2014/main" id="{7D82520E-CD3E-43D8-C30C-E784D2E41B8B}"/>
              </a:ext>
            </a:extLst>
          </p:cNvPr>
          <p:cNvSpPr>
            <a:spLocks/>
          </p:cNvSpPr>
          <p:nvPr/>
        </p:nvSpPr>
        <p:spPr bwMode="auto">
          <a:xfrm>
            <a:off x="6680202" y="54334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5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5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3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5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5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7" y="2"/>
                </a:lnTo>
                <a:lnTo>
                  <a:pt x="23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85" name="Freeform 654">
            <a:extLst>
              <a:ext uri="{FF2B5EF4-FFF2-40B4-BE49-F238E27FC236}">
                <a16:creationId xmlns:a16="http://schemas.microsoft.com/office/drawing/2014/main" id="{C7844635-72E4-C5B5-9E74-9098BE8A41E7}"/>
              </a:ext>
            </a:extLst>
          </p:cNvPr>
          <p:cNvSpPr>
            <a:spLocks/>
          </p:cNvSpPr>
          <p:nvPr/>
        </p:nvSpPr>
        <p:spPr bwMode="auto">
          <a:xfrm>
            <a:off x="6680202" y="54334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5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5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3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5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5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7" y="2"/>
                </a:lnTo>
                <a:lnTo>
                  <a:pt x="23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89" name="Freeform 655">
            <a:extLst>
              <a:ext uri="{FF2B5EF4-FFF2-40B4-BE49-F238E27FC236}">
                <a16:creationId xmlns:a16="http://schemas.microsoft.com/office/drawing/2014/main" id="{369518DB-EAD8-2634-E795-33FE3CB64602}"/>
              </a:ext>
            </a:extLst>
          </p:cNvPr>
          <p:cNvSpPr>
            <a:spLocks/>
          </p:cNvSpPr>
          <p:nvPr/>
        </p:nvSpPr>
        <p:spPr bwMode="auto">
          <a:xfrm>
            <a:off x="6881286" y="54102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3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3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4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3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3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0" name="Freeform 656">
            <a:extLst>
              <a:ext uri="{FF2B5EF4-FFF2-40B4-BE49-F238E27FC236}">
                <a16:creationId xmlns:a16="http://schemas.microsoft.com/office/drawing/2014/main" id="{EB858B87-98A2-7325-3DAB-F8D4A82C56A7}"/>
              </a:ext>
            </a:extLst>
          </p:cNvPr>
          <p:cNvSpPr>
            <a:spLocks/>
          </p:cNvSpPr>
          <p:nvPr/>
        </p:nvSpPr>
        <p:spPr bwMode="auto">
          <a:xfrm>
            <a:off x="6881286" y="54102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3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3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4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3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3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1" name="Freeform 657">
            <a:extLst>
              <a:ext uri="{FF2B5EF4-FFF2-40B4-BE49-F238E27FC236}">
                <a16:creationId xmlns:a16="http://schemas.microsoft.com/office/drawing/2014/main" id="{8F328AED-BFEA-3B6F-1545-DE95E6198305}"/>
              </a:ext>
            </a:extLst>
          </p:cNvPr>
          <p:cNvSpPr>
            <a:spLocks/>
          </p:cNvSpPr>
          <p:nvPr/>
        </p:nvSpPr>
        <p:spPr bwMode="auto">
          <a:xfrm>
            <a:off x="7109886" y="54038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8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3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3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8" y="26"/>
                </a:lnTo>
                <a:lnTo>
                  <a:pt x="13" y="26"/>
                </a:lnTo>
                <a:lnTo>
                  <a:pt x="9" y="26"/>
                </a:lnTo>
                <a:lnTo>
                  <a:pt x="3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3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2" name="Freeform 658">
            <a:extLst>
              <a:ext uri="{FF2B5EF4-FFF2-40B4-BE49-F238E27FC236}">
                <a16:creationId xmlns:a16="http://schemas.microsoft.com/office/drawing/2014/main" id="{21A05B83-7E87-F81A-FF95-6C0A011C170F}"/>
              </a:ext>
            </a:extLst>
          </p:cNvPr>
          <p:cNvSpPr>
            <a:spLocks/>
          </p:cNvSpPr>
          <p:nvPr/>
        </p:nvSpPr>
        <p:spPr bwMode="auto">
          <a:xfrm>
            <a:off x="7109886" y="54038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8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3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3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8" y="26"/>
                </a:lnTo>
                <a:lnTo>
                  <a:pt x="13" y="26"/>
                </a:lnTo>
                <a:lnTo>
                  <a:pt x="9" y="26"/>
                </a:lnTo>
                <a:lnTo>
                  <a:pt x="3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3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3" name="Freeform 659">
            <a:extLst>
              <a:ext uri="{FF2B5EF4-FFF2-40B4-BE49-F238E27FC236}">
                <a16:creationId xmlns:a16="http://schemas.microsoft.com/office/drawing/2014/main" id="{58D133A0-86FA-D43F-A581-54AA77282E0B}"/>
              </a:ext>
            </a:extLst>
          </p:cNvPr>
          <p:cNvSpPr>
            <a:spLocks/>
          </p:cNvSpPr>
          <p:nvPr/>
        </p:nvSpPr>
        <p:spPr bwMode="auto">
          <a:xfrm>
            <a:off x="17716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0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0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4" name="Freeform 660">
            <a:extLst>
              <a:ext uri="{FF2B5EF4-FFF2-40B4-BE49-F238E27FC236}">
                <a16:creationId xmlns:a16="http://schemas.microsoft.com/office/drawing/2014/main" id="{6A351BA2-405F-000E-03D0-ACFA7F4193E6}"/>
              </a:ext>
            </a:extLst>
          </p:cNvPr>
          <p:cNvSpPr>
            <a:spLocks/>
          </p:cNvSpPr>
          <p:nvPr/>
        </p:nvSpPr>
        <p:spPr bwMode="auto">
          <a:xfrm>
            <a:off x="17716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0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0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5" name="Freeform 661">
            <a:extLst>
              <a:ext uri="{FF2B5EF4-FFF2-40B4-BE49-F238E27FC236}">
                <a16:creationId xmlns:a16="http://schemas.microsoft.com/office/drawing/2014/main" id="{F5067D1A-3F4C-9461-9322-435C563557CE}"/>
              </a:ext>
            </a:extLst>
          </p:cNvPr>
          <p:cNvSpPr>
            <a:spLocks/>
          </p:cNvSpPr>
          <p:nvPr/>
        </p:nvSpPr>
        <p:spPr bwMode="auto">
          <a:xfrm>
            <a:off x="1970618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1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1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6" name="Freeform 662">
            <a:extLst>
              <a:ext uri="{FF2B5EF4-FFF2-40B4-BE49-F238E27FC236}">
                <a16:creationId xmlns:a16="http://schemas.microsoft.com/office/drawing/2014/main" id="{3C9CE7A8-6CFA-6EF9-26DD-1D34EC01C6C3}"/>
              </a:ext>
            </a:extLst>
          </p:cNvPr>
          <p:cNvSpPr>
            <a:spLocks/>
          </p:cNvSpPr>
          <p:nvPr/>
        </p:nvSpPr>
        <p:spPr bwMode="auto">
          <a:xfrm>
            <a:off x="1970618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1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1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7" name="Freeform 663">
            <a:extLst>
              <a:ext uri="{FF2B5EF4-FFF2-40B4-BE49-F238E27FC236}">
                <a16:creationId xmlns:a16="http://schemas.microsoft.com/office/drawing/2014/main" id="{E4B8C7D4-B399-F0A3-E1DA-EC4F4626EC6E}"/>
              </a:ext>
            </a:extLst>
          </p:cNvPr>
          <p:cNvSpPr>
            <a:spLocks/>
          </p:cNvSpPr>
          <p:nvPr/>
        </p:nvSpPr>
        <p:spPr bwMode="auto">
          <a:xfrm>
            <a:off x="2171702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8" name="Freeform 664">
            <a:extLst>
              <a:ext uri="{FF2B5EF4-FFF2-40B4-BE49-F238E27FC236}">
                <a16:creationId xmlns:a16="http://schemas.microsoft.com/office/drawing/2014/main" id="{D5B2A531-D1F4-B0CA-0617-41C8839D1F38}"/>
              </a:ext>
            </a:extLst>
          </p:cNvPr>
          <p:cNvSpPr>
            <a:spLocks/>
          </p:cNvSpPr>
          <p:nvPr/>
        </p:nvSpPr>
        <p:spPr bwMode="auto">
          <a:xfrm>
            <a:off x="2171702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9" name="Freeform 665">
            <a:extLst>
              <a:ext uri="{FF2B5EF4-FFF2-40B4-BE49-F238E27FC236}">
                <a16:creationId xmlns:a16="http://schemas.microsoft.com/office/drawing/2014/main" id="{81D44DC7-714E-932D-9AE2-1B98326EE90B}"/>
              </a:ext>
            </a:extLst>
          </p:cNvPr>
          <p:cNvSpPr>
            <a:spLocks/>
          </p:cNvSpPr>
          <p:nvPr/>
        </p:nvSpPr>
        <p:spPr bwMode="auto">
          <a:xfrm>
            <a:off x="23833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3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10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10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2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3" y="22"/>
                </a:lnTo>
                <a:lnTo>
                  <a:pt x="19" y="24"/>
                </a:lnTo>
                <a:lnTo>
                  <a:pt x="13" y="26"/>
                </a:lnTo>
                <a:lnTo>
                  <a:pt x="10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10" y="0"/>
                </a:lnTo>
                <a:lnTo>
                  <a:pt x="13" y="0"/>
                </a:lnTo>
                <a:lnTo>
                  <a:pt x="19" y="0"/>
                </a:lnTo>
                <a:lnTo>
                  <a:pt x="23" y="2"/>
                </a:lnTo>
                <a:lnTo>
                  <a:pt x="26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0" name="Freeform 666">
            <a:extLst>
              <a:ext uri="{FF2B5EF4-FFF2-40B4-BE49-F238E27FC236}">
                <a16:creationId xmlns:a16="http://schemas.microsoft.com/office/drawing/2014/main" id="{430CAA86-C6B4-211E-0955-32B0911A4850}"/>
              </a:ext>
            </a:extLst>
          </p:cNvPr>
          <p:cNvSpPr>
            <a:spLocks/>
          </p:cNvSpPr>
          <p:nvPr/>
        </p:nvSpPr>
        <p:spPr bwMode="auto">
          <a:xfrm>
            <a:off x="23833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3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10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10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2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3" y="22"/>
                </a:lnTo>
                <a:lnTo>
                  <a:pt x="19" y="24"/>
                </a:lnTo>
                <a:lnTo>
                  <a:pt x="13" y="26"/>
                </a:lnTo>
                <a:lnTo>
                  <a:pt x="10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10" y="0"/>
                </a:lnTo>
                <a:lnTo>
                  <a:pt x="13" y="0"/>
                </a:lnTo>
                <a:lnTo>
                  <a:pt x="19" y="0"/>
                </a:lnTo>
                <a:lnTo>
                  <a:pt x="23" y="2"/>
                </a:lnTo>
                <a:lnTo>
                  <a:pt x="26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1" name="Freeform 667">
            <a:extLst>
              <a:ext uri="{FF2B5EF4-FFF2-40B4-BE49-F238E27FC236}">
                <a16:creationId xmlns:a16="http://schemas.microsoft.com/office/drawing/2014/main" id="{B4A319FF-9AF2-B6C4-D6AA-D860AAECEA1A}"/>
              </a:ext>
            </a:extLst>
          </p:cNvPr>
          <p:cNvSpPr>
            <a:spLocks/>
          </p:cNvSpPr>
          <p:nvPr/>
        </p:nvSpPr>
        <p:spPr bwMode="auto">
          <a:xfrm>
            <a:off x="2571752" y="5666317"/>
            <a:ext cx="52917" cy="55033"/>
          </a:xfrm>
          <a:custGeom>
            <a:avLst/>
            <a:gdLst>
              <a:gd name="T0" fmla="*/ 25 w 25"/>
              <a:gd name="T1" fmla="*/ 13 h 26"/>
              <a:gd name="T2" fmla="*/ 25 w 25"/>
              <a:gd name="T3" fmla="*/ 13 h 26"/>
              <a:gd name="T4" fmla="*/ 25 w 25"/>
              <a:gd name="T5" fmla="*/ 19 h 26"/>
              <a:gd name="T6" fmla="*/ 21 w 25"/>
              <a:gd name="T7" fmla="*/ 22 h 26"/>
              <a:gd name="T8" fmla="*/ 17 w 25"/>
              <a:gd name="T9" fmla="*/ 24 h 26"/>
              <a:gd name="T10" fmla="*/ 13 w 25"/>
              <a:gd name="T11" fmla="*/ 26 h 26"/>
              <a:gd name="T12" fmla="*/ 8 w 25"/>
              <a:gd name="T13" fmla="*/ 24 h 26"/>
              <a:gd name="T14" fmla="*/ 4 w 25"/>
              <a:gd name="T15" fmla="*/ 22 h 26"/>
              <a:gd name="T16" fmla="*/ 0 w 25"/>
              <a:gd name="T17" fmla="*/ 19 h 26"/>
              <a:gd name="T18" fmla="*/ 0 w 25"/>
              <a:gd name="T19" fmla="*/ 13 h 26"/>
              <a:gd name="T20" fmla="*/ 0 w 25"/>
              <a:gd name="T21" fmla="*/ 13 h 26"/>
              <a:gd name="T22" fmla="*/ 0 w 25"/>
              <a:gd name="T23" fmla="*/ 7 h 26"/>
              <a:gd name="T24" fmla="*/ 4 w 25"/>
              <a:gd name="T25" fmla="*/ 2 h 26"/>
              <a:gd name="T26" fmla="*/ 8 w 25"/>
              <a:gd name="T27" fmla="*/ 0 h 26"/>
              <a:gd name="T28" fmla="*/ 13 w 25"/>
              <a:gd name="T29" fmla="*/ 0 h 26"/>
              <a:gd name="T30" fmla="*/ 17 w 25"/>
              <a:gd name="T31" fmla="*/ 0 h 26"/>
              <a:gd name="T32" fmla="*/ 21 w 25"/>
              <a:gd name="T33" fmla="*/ 2 h 26"/>
              <a:gd name="T34" fmla="*/ 25 w 25"/>
              <a:gd name="T35" fmla="*/ 7 h 26"/>
              <a:gd name="T36" fmla="*/ 25 w 25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26">
                <a:moveTo>
                  <a:pt x="25" y="13"/>
                </a:moveTo>
                <a:lnTo>
                  <a:pt x="25" y="13"/>
                </a:lnTo>
                <a:lnTo>
                  <a:pt x="25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5" y="7"/>
                </a:lnTo>
                <a:lnTo>
                  <a:pt x="25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2" name="Freeform 668">
            <a:extLst>
              <a:ext uri="{FF2B5EF4-FFF2-40B4-BE49-F238E27FC236}">
                <a16:creationId xmlns:a16="http://schemas.microsoft.com/office/drawing/2014/main" id="{C75E33EA-3222-B65C-900B-540251EC489B}"/>
              </a:ext>
            </a:extLst>
          </p:cNvPr>
          <p:cNvSpPr>
            <a:spLocks/>
          </p:cNvSpPr>
          <p:nvPr/>
        </p:nvSpPr>
        <p:spPr bwMode="auto">
          <a:xfrm>
            <a:off x="2571752" y="5666317"/>
            <a:ext cx="52917" cy="55033"/>
          </a:xfrm>
          <a:custGeom>
            <a:avLst/>
            <a:gdLst>
              <a:gd name="T0" fmla="*/ 25 w 25"/>
              <a:gd name="T1" fmla="*/ 13 h 26"/>
              <a:gd name="T2" fmla="*/ 25 w 25"/>
              <a:gd name="T3" fmla="*/ 13 h 26"/>
              <a:gd name="T4" fmla="*/ 25 w 25"/>
              <a:gd name="T5" fmla="*/ 19 h 26"/>
              <a:gd name="T6" fmla="*/ 21 w 25"/>
              <a:gd name="T7" fmla="*/ 22 h 26"/>
              <a:gd name="T8" fmla="*/ 17 w 25"/>
              <a:gd name="T9" fmla="*/ 24 h 26"/>
              <a:gd name="T10" fmla="*/ 13 w 25"/>
              <a:gd name="T11" fmla="*/ 26 h 26"/>
              <a:gd name="T12" fmla="*/ 8 w 25"/>
              <a:gd name="T13" fmla="*/ 24 h 26"/>
              <a:gd name="T14" fmla="*/ 4 w 25"/>
              <a:gd name="T15" fmla="*/ 22 h 26"/>
              <a:gd name="T16" fmla="*/ 0 w 25"/>
              <a:gd name="T17" fmla="*/ 19 h 26"/>
              <a:gd name="T18" fmla="*/ 0 w 25"/>
              <a:gd name="T19" fmla="*/ 13 h 26"/>
              <a:gd name="T20" fmla="*/ 0 w 25"/>
              <a:gd name="T21" fmla="*/ 13 h 26"/>
              <a:gd name="T22" fmla="*/ 0 w 25"/>
              <a:gd name="T23" fmla="*/ 7 h 26"/>
              <a:gd name="T24" fmla="*/ 4 w 25"/>
              <a:gd name="T25" fmla="*/ 2 h 26"/>
              <a:gd name="T26" fmla="*/ 8 w 25"/>
              <a:gd name="T27" fmla="*/ 0 h 26"/>
              <a:gd name="T28" fmla="*/ 13 w 25"/>
              <a:gd name="T29" fmla="*/ 0 h 26"/>
              <a:gd name="T30" fmla="*/ 17 w 25"/>
              <a:gd name="T31" fmla="*/ 0 h 26"/>
              <a:gd name="T32" fmla="*/ 21 w 25"/>
              <a:gd name="T33" fmla="*/ 2 h 26"/>
              <a:gd name="T34" fmla="*/ 25 w 25"/>
              <a:gd name="T35" fmla="*/ 7 h 26"/>
              <a:gd name="T36" fmla="*/ 25 w 25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26">
                <a:moveTo>
                  <a:pt x="25" y="13"/>
                </a:moveTo>
                <a:lnTo>
                  <a:pt x="25" y="13"/>
                </a:lnTo>
                <a:lnTo>
                  <a:pt x="25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5" y="7"/>
                </a:lnTo>
                <a:lnTo>
                  <a:pt x="25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3" name="Freeform 669">
            <a:extLst>
              <a:ext uri="{FF2B5EF4-FFF2-40B4-BE49-F238E27FC236}">
                <a16:creationId xmlns:a16="http://schemas.microsoft.com/office/drawing/2014/main" id="{10780918-62BC-AED8-D66C-B7729397D50A}"/>
              </a:ext>
            </a:extLst>
          </p:cNvPr>
          <p:cNvSpPr>
            <a:spLocks/>
          </p:cNvSpPr>
          <p:nvPr/>
        </p:nvSpPr>
        <p:spPr bwMode="auto">
          <a:xfrm>
            <a:off x="2772835" y="5359401"/>
            <a:ext cx="50800" cy="59267"/>
          </a:xfrm>
          <a:custGeom>
            <a:avLst/>
            <a:gdLst>
              <a:gd name="T0" fmla="*/ 24 w 24"/>
              <a:gd name="T1" fmla="*/ 13 h 28"/>
              <a:gd name="T2" fmla="*/ 24 w 24"/>
              <a:gd name="T3" fmla="*/ 13 h 28"/>
              <a:gd name="T4" fmla="*/ 24 w 24"/>
              <a:gd name="T5" fmla="*/ 21 h 28"/>
              <a:gd name="T6" fmla="*/ 21 w 24"/>
              <a:gd name="T7" fmla="*/ 24 h 28"/>
              <a:gd name="T8" fmla="*/ 17 w 24"/>
              <a:gd name="T9" fmla="*/ 26 h 28"/>
              <a:gd name="T10" fmla="*/ 11 w 24"/>
              <a:gd name="T11" fmla="*/ 28 h 28"/>
              <a:gd name="T12" fmla="*/ 8 w 24"/>
              <a:gd name="T13" fmla="*/ 26 h 28"/>
              <a:gd name="T14" fmla="*/ 4 w 24"/>
              <a:gd name="T15" fmla="*/ 24 h 28"/>
              <a:gd name="T16" fmla="*/ 0 w 24"/>
              <a:gd name="T17" fmla="*/ 21 h 28"/>
              <a:gd name="T18" fmla="*/ 0 w 24"/>
              <a:gd name="T19" fmla="*/ 13 h 28"/>
              <a:gd name="T20" fmla="*/ 0 w 24"/>
              <a:gd name="T21" fmla="*/ 13 h 28"/>
              <a:gd name="T22" fmla="*/ 0 w 24"/>
              <a:gd name="T23" fmla="*/ 8 h 28"/>
              <a:gd name="T24" fmla="*/ 4 w 24"/>
              <a:gd name="T25" fmla="*/ 4 h 28"/>
              <a:gd name="T26" fmla="*/ 8 w 24"/>
              <a:gd name="T27" fmla="*/ 2 h 28"/>
              <a:gd name="T28" fmla="*/ 11 w 24"/>
              <a:gd name="T29" fmla="*/ 0 h 28"/>
              <a:gd name="T30" fmla="*/ 17 w 24"/>
              <a:gd name="T31" fmla="*/ 2 h 28"/>
              <a:gd name="T32" fmla="*/ 21 w 24"/>
              <a:gd name="T33" fmla="*/ 4 h 28"/>
              <a:gd name="T34" fmla="*/ 24 w 24"/>
              <a:gd name="T35" fmla="*/ 8 h 28"/>
              <a:gd name="T36" fmla="*/ 24 w 24"/>
              <a:gd name="T37" fmla="*/ 1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8">
                <a:moveTo>
                  <a:pt x="24" y="13"/>
                </a:moveTo>
                <a:lnTo>
                  <a:pt x="24" y="13"/>
                </a:lnTo>
                <a:lnTo>
                  <a:pt x="24" y="21"/>
                </a:lnTo>
                <a:lnTo>
                  <a:pt x="21" y="24"/>
                </a:lnTo>
                <a:lnTo>
                  <a:pt x="17" y="26"/>
                </a:lnTo>
                <a:lnTo>
                  <a:pt x="11" y="28"/>
                </a:lnTo>
                <a:lnTo>
                  <a:pt x="8" y="26"/>
                </a:lnTo>
                <a:lnTo>
                  <a:pt x="4" y="24"/>
                </a:lnTo>
                <a:lnTo>
                  <a:pt x="0" y="21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8" y="2"/>
                </a:lnTo>
                <a:lnTo>
                  <a:pt x="11" y="0"/>
                </a:lnTo>
                <a:lnTo>
                  <a:pt x="17" y="2"/>
                </a:lnTo>
                <a:lnTo>
                  <a:pt x="21" y="4"/>
                </a:lnTo>
                <a:lnTo>
                  <a:pt x="24" y="8"/>
                </a:lnTo>
                <a:lnTo>
                  <a:pt x="24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4" name="Freeform 670">
            <a:extLst>
              <a:ext uri="{FF2B5EF4-FFF2-40B4-BE49-F238E27FC236}">
                <a16:creationId xmlns:a16="http://schemas.microsoft.com/office/drawing/2014/main" id="{69E1AE89-469B-1E78-E8D5-10C85C9FFBD0}"/>
              </a:ext>
            </a:extLst>
          </p:cNvPr>
          <p:cNvSpPr>
            <a:spLocks/>
          </p:cNvSpPr>
          <p:nvPr/>
        </p:nvSpPr>
        <p:spPr bwMode="auto">
          <a:xfrm>
            <a:off x="2772835" y="5359401"/>
            <a:ext cx="50800" cy="59267"/>
          </a:xfrm>
          <a:custGeom>
            <a:avLst/>
            <a:gdLst>
              <a:gd name="T0" fmla="*/ 24 w 24"/>
              <a:gd name="T1" fmla="*/ 13 h 28"/>
              <a:gd name="T2" fmla="*/ 24 w 24"/>
              <a:gd name="T3" fmla="*/ 13 h 28"/>
              <a:gd name="T4" fmla="*/ 24 w 24"/>
              <a:gd name="T5" fmla="*/ 21 h 28"/>
              <a:gd name="T6" fmla="*/ 21 w 24"/>
              <a:gd name="T7" fmla="*/ 24 h 28"/>
              <a:gd name="T8" fmla="*/ 17 w 24"/>
              <a:gd name="T9" fmla="*/ 26 h 28"/>
              <a:gd name="T10" fmla="*/ 11 w 24"/>
              <a:gd name="T11" fmla="*/ 28 h 28"/>
              <a:gd name="T12" fmla="*/ 8 w 24"/>
              <a:gd name="T13" fmla="*/ 26 h 28"/>
              <a:gd name="T14" fmla="*/ 4 w 24"/>
              <a:gd name="T15" fmla="*/ 24 h 28"/>
              <a:gd name="T16" fmla="*/ 0 w 24"/>
              <a:gd name="T17" fmla="*/ 21 h 28"/>
              <a:gd name="T18" fmla="*/ 0 w 24"/>
              <a:gd name="T19" fmla="*/ 13 h 28"/>
              <a:gd name="T20" fmla="*/ 0 w 24"/>
              <a:gd name="T21" fmla="*/ 13 h 28"/>
              <a:gd name="T22" fmla="*/ 0 w 24"/>
              <a:gd name="T23" fmla="*/ 8 h 28"/>
              <a:gd name="T24" fmla="*/ 4 w 24"/>
              <a:gd name="T25" fmla="*/ 4 h 28"/>
              <a:gd name="T26" fmla="*/ 8 w 24"/>
              <a:gd name="T27" fmla="*/ 2 h 28"/>
              <a:gd name="T28" fmla="*/ 11 w 24"/>
              <a:gd name="T29" fmla="*/ 0 h 28"/>
              <a:gd name="T30" fmla="*/ 17 w 24"/>
              <a:gd name="T31" fmla="*/ 2 h 28"/>
              <a:gd name="T32" fmla="*/ 21 w 24"/>
              <a:gd name="T33" fmla="*/ 4 h 28"/>
              <a:gd name="T34" fmla="*/ 24 w 24"/>
              <a:gd name="T35" fmla="*/ 8 h 28"/>
              <a:gd name="T36" fmla="*/ 24 w 24"/>
              <a:gd name="T37" fmla="*/ 1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8">
                <a:moveTo>
                  <a:pt x="24" y="13"/>
                </a:moveTo>
                <a:lnTo>
                  <a:pt x="24" y="13"/>
                </a:lnTo>
                <a:lnTo>
                  <a:pt x="24" y="21"/>
                </a:lnTo>
                <a:lnTo>
                  <a:pt x="21" y="24"/>
                </a:lnTo>
                <a:lnTo>
                  <a:pt x="17" y="26"/>
                </a:lnTo>
                <a:lnTo>
                  <a:pt x="11" y="28"/>
                </a:lnTo>
                <a:lnTo>
                  <a:pt x="8" y="26"/>
                </a:lnTo>
                <a:lnTo>
                  <a:pt x="4" y="24"/>
                </a:lnTo>
                <a:lnTo>
                  <a:pt x="0" y="21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8" y="2"/>
                </a:lnTo>
                <a:lnTo>
                  <a:pt x="11" y="0"/>
                </a:lnTo>
                <a:lnTo>
                  <a:pt x="17" y="2"/>
                </a:lnTo>
                <a:lnTo>
                  <a:pt x="21" y="4"/>
                </a:lnTo>
                <a:lnTo>
                  <a:pt x="24" y="8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5" name="Freeform 671">
            <a:extLst>
              <a:ext uri="{FF2B5EF4-FFF2-40B4-BE49-F238E27FC236}">
                <a16:creationId xmlns:a16="http://schemas.microsoft.com/office/drawing/2014/main" id="{A0B38236-4FA4-4017-7FAF-6DC379CA818A}"/>
              </a:ext>
            </a:extLst>
          </p:cNvPr>
          <p:cNvSpPr>
            <a:spLocks/>
          </p:cNvSpPr>
          <p:nvPr/>
        </p:nvSpPr>
        <p:spPr bwMode="auto">
          <a:xfrm>
            <a:off x="2872319" y="5312834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0 h 28"/>
              <a:gd name="T6" fmla="*/ 22 w 26"/>
              <a:gd name="T7" fmla="*/ 24 h 28"/>
              <a:gd name="T8" fmla="*/ 18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3 w 26"/>
              <a:gd name="T15" fmla="*/ 24 h 28"/>
              <a:gd name="T16" fmla="*/ 1 w 26"/>
              <a:gd name="T17" fmla="*/ 20 h 28"/>
              <a:gd name="T18" fmla="*/ 0 w 26"/>
              <a:gd name="T19" fmla="*/ 15 h 28"/>
              <a:gd name="T20" fmla="*/ 0 w 26"/>
              <a:gd name="T21" fmla="*/ 15 h 28"/>
              <a:gd name="T22" fmla="*/ 1 w 26"/>
              <a:gd name="T23" fmla="*/ 7 h 28"/>
              <a:gd name="T24" fmla="*/ 3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8 w 26"/>
              <a:gd name="T31" fmla="*/ 2 h 28"/>
              <a:gd name="T32" fmla="*/ 22 w 26"/>
              <a:gd name="T33" fmla="*/ 4 h 28"/>
              <a:gd name="T34" fmla="*/ 24 w 26"/>
              <a:gd name="T35" fmla="*/ 7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0"/>
                </a:lnTo>
                <a:lnTo>
                  <a:pt x="22" y="24"/>
                </a:lnTo>
                <a:lnTo>
                  <a:pt x="18" y="26"/>
                </a:lnTo>
                <a:lnTo>
                  <a:pt x="13" y="28"/>
                </a:lnTo>
                <a:lnTo>
                  <a:pt x="7" y="26"/>
                </a:lnTo>
                <a:lnTo>
                  <a:pt x="3" y="24"/>
                </a:lnTo>
                <a:lnTo>
                  <a:pt x="1" y="20"/>
                </a:lnTo>
                <a:lnTo>
                  <a:pt x="0" y="15"/>
                </a:lnTo>
                <a:lnTo>
                  <a:pt x="0" y="15"/>
                </a:lnTo>
                <a:lnTo>
                  <a:pt x="1" y="7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8" y="2"/>
                </a:lnTo>
                <a:lnTo>
                  <a:pt x="22" y="4"/>
                </a:lnTo>
                <a:lnTo>
                  <a:pt x="24" y="7"/>
                </a:lnTo>
                <a:lnTo>
                  <a:pt x="26" y="15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6" name="Freeform 672">
            <a:extLst>
              <a:ext uri="{FF2B5EF4-FFF2-40B4-BE49-F238E27FC236}">
                <a16:creationId xmlns:a16="http://schemas.microsoft.com/office/drawing/2014/main" id="{522DAAE6-DD27-A7C9-A67C-C557AD1E6BC0}"/>
              </a:ext>
            </a:extLst>
          </p:cNvPr>
          <p:cNvSpPr>
            <a:spLocks/>
          </p:cNvSpPr>
          <p:nvPr/>
        </p:nvSpPr>
        <p:spPr bwMode="auto">
          <a:xfrm>
            <a:off x="2872319" y="5312834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0 h 28"/>
              <a:gd name="T6" fmla="*/ 22 w 26"/>
              <a:gd name="T7" fmla="*/ 24 h 28"/>
              <a:gd name="T8" fmla="*/ 18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3 w 26"/>
              <a:gd name="T15" fmla="*/ 24 h 28"/>
              <a:gd name="T16" fmla="*/ 1 w 26"/>
              <a:gd name="T17" fmla="*/ 20 h 28"/>
              <a:gd name="T18" fmla="*/ 0 w 26"/>
              <a:gd name="T19" fmla="*/ 15 h 28"/>
              <a:gd name="T20" fmla="*/ 0 w 26"/>
              <a:gd name="T21" fmla="*/ 15 h 28"/>
              <a:gd name="T22" fmla="*/ 1 w 26"/>
              <a:gd name="T23" fmla="*/ 7 h 28"/>
              <a:gd name="T24" fmla="*/ 3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8 w 26"/>
              <a:gd name="T31" fmla="*/ 2 h 28"/>
              <a:gd name="T32" fmla="*/ 22 w 26"/>
              <a:gd name="T33" fmla="*/ 4 h 28"/>
              <a:gd name="T34" fmla="*/ 24 w 26"/>
              <a:gd name="T35" fmla="*/ 7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0"/>
                </a:lnTo>
                <a:lnTo>
                  <a:pt x="22" y="24"/>
                </a:lnTo>
                <a:lnTo>
                  <a:pt x="18" y="26"/>
                </a:lnTo>
                <a:lnTo>
                  <a:pt x="13" y="28"/>
                </a:lnTo>
                <a:lnTo>
                  <a:pt x="7" y="26"/>
                </a:lnTo>
                <a:lnTo>
                  <a:pt x="3" y="24"/>
                </a:lnTo>
                <a:lnTo>
                  <a:pt x="1" y="20"/>
                </a:lnTo>
                <a:lnTo>
                  <a:pt x="0" y="15"/>
                </a:lnTo>
                <a:lnTo>
                  <a:pt x="0" y="15"/>
                </a:lnTo>
                <a:lnTo>
                  <a:pt x="1" y="7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8" y="2"/>
                </a:lnTo>
                <a:lnTo>
                  <a:pt x="22" y="4"/>
                </a:lnTo>
                <a:lnTo>
                  <a:pt x="24" y="7"/>
                </a:lnTo>
                <a:lnTo>
                  <a:pt x="26" y="15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7" name="Freeform 673">
            <a:extLst>
              <a:ext uri="{FF2B5EF4-FFF2-40B4-BE49-F238E27FC236}">
                <a16:creationId xmlns:a16="http://schemas.microsoft.com/office/drawing/2014/main" id="{C8DA4450-9F24-2FB6-A145-8EC2FE99DD0A}"/>
              </a:ext>
            </a:extLst>
          </p:cNvPr>
          <p:cNvSpPr>
            <a:spLocks/>
          </p:cNvSpPr>
          <p:nvPr/>
        </p:nvSpPr>
        <p:spPr bwMode="auto">
          <a:xfrm>
            <a:off x="2973919" y="5185834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3 h 26"/>
              <a:gd name="T8" fmla="*/ 17 w 24"/>
              <a:gd name="T9" fmla="*/ 26 h 26"/>
              <a:gd name="T10" fmla="*/ 11 w 24"/>
              <a:gd name="T11" fmla="*/ 26 h 26"/>
              <a:gd name="T12" fmla="*/ 7 w 24"/>
              <a:gd name="T13" fmla="*/ 26 h 26"/>
              <a:gd name="T14" fmla="*/ 4 w 24"/>
              <a:gd name="T15" fmla="*/ 23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8 h 26"/>
              <a:gd name="T24" fmla="*/ 4 w 24"/>
              <a:gd name="T25" fmla="*/ 4 h 26"/>
              <a:gd name="T26" fmla="*/ 7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0 w 24"/>
              <a:gd name="T33" fmla="*/ 4 h 26"/>
              <a:gd name="T34" fmla="*/ 24 w 24"/>
              <a:gd name="T35" fmla="*/ 8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3"/>
                </a:lnTo>
                <a:lnTo>
                  <a:pt x="17" y="26"/>
                </a:lnTo>
                <a:lnTo>
                  <a:pt x="11" y="26"/>
                </a:lnTo>
                <a:lnTo>
                  <a:pt x="7" y="26"/>
                </a:lnTo>
                <a:lnTo>
                  <a:pt x="4" y="23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0"/>
                </a:lnTo>
                <a:lnTo>
                  <a:pt x="11" y="0"/>
                </a:lnTo>
                <a:lnTo>
                  <a:pt x="17" y="0"/>
                </a:lnTo>
                <a:lnTo>
                  <a:pt x="20" y="4"/>
                </a:lnTo>
                <a:lnTo>
                  <a:pt x="24" y="8"/>
                </a:lnTo>
                <a:lnTo>
                  <a:pt x="24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8" name="Freeform 674">
            <a:extLst>
              <a:ext uri="{FF2B5EF4-FFF2-40B4-BE49-F238E27FC236}">
                <a16:creationId xmlns:a16="http://schemas.microsoft.com/office/drawing/2014/main" id="{80441754-482F-6ED8-57EC-4BD7E4DB5B06}"/>
              </a:ext>
            </a:extLst>
          </p:cNvPr>
          <p:cNvSpPr>
            <a:spLocks/>
          </p:cNvSpPr>
          <p:nvPr/>
        </p:nvSpPr>
        <p:spPr bwMode="auto">
          <a:xfrm>
            <a:off x="2973919" y="5185834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3 h 26"/>
              <a:gd name="T8" fmla="*/ 17 w 24"/>
              <a:gd name="T9" fmla="*/ 26 h 26"/>
              <a:gd name="T10" fmla="*/ 11 w 24"/>
              <a:gd name="T11" fmla="*/ 26 h 26"/>
              <a:gd name="T12" fmla="*/ 7 w 24"/>
              <a:gd name="T13" fmla="*/ 26 h 26"/>
              <a:gd name="T14" fmla="*/ 4 w 24"/>
              <a:gd name="T15" fmla="*/ 23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8 h 26"/>
              <a:gd name="T24" fmla="*/ 4 w 24"/>
              <a:gd name="T25" fmla="*/ 4 h 26"/>
              <a:gd name="T26" fmla="*/ 7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0 w 24"/>
              <a:gd name="T33" fmla="*/ 4 h 26"/>
              <a:gd name="T34" fmla="*/ 24 w 24"/>
              <a:gd name="T35" fmla="*/ 8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3"/>
                </a:lnTo>
                <a:lnTo>
                  <a:pt x="17" y="26"/>
                </a:lnTo>
                <a:lnTo>
                  <a:pt x="11" y="26"/>
                </a:lnTo>
                <a:lnTo>
                  <a:pt x="7" y="26"/>
                </a:lnTo>
                <a:lnTo>
                  <a:pt x="4" y="23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0"/>
                </a:lnTo>
                <a:lnTo>
                  <a:pt x="11" y="0"/>
                </a:lnTo>
                <a:lnTo>
                  <a:pt x="17" y="0"/>
                </a:lnTo>
                <a:lnTo>
                  <a:pt x="20" y="4"/>
                </a:lnTo>
                <a:lnTo>
                  <a:pt x="24" y="8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9" name="Freeform 675">
            <a:extLst>
              <a:ext uri="{FF2B5EF4-FFF2-40B4-BE49-F238E27FC236}">
                <a16:creationId xmlns:a16="http://schemas.microsoft.com/office/drawing/2014/main" id="{5E0C56DD-7887-DD62-756F-5B38704275E2}"/>
              </a:ext>
            </a:extLst>
          </p:cNvPr>
          <p:cNvSpPr>
            <a:spLocks/>
          </p:cNvSpPr>
          <p:nvPr/>
        </p:nvSpPr>
        <p:spPr bwMode="auto">
          <a:xfrm>
            <a:off x="30712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2"/>
                </a:lnTo>
                <a:lnTo>
                  <a:pt x="19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3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0" name="Freeform 676">
            <a:extLst>
              <a:ext uri="{FF2B5EF4-FFF2-40B4-BE49-F238E27FC236}">
                <a16:creationId xmlns:a16="http://schemas.microsoft.com/office/drawing/2014/main" id="{3B4BECEE-2EC4-B968-D39C-ECC948B02CAC}"/>
              </a:ext>
            </a:extLst>
          </p:cNvPr>
          <p:cNvSpPr>
            <a:spLocks/>
          </p:cNvSpPr>
          <p:nvPr/>
        </p:nvSpPr>
        <p:spPr bwMode="auto">
          <a:xfrm>
            <a:off x="30712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2"/>
                </a:lnTo>
                <a:lnTo>
                  <a:pt x="19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3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1" name="Freeform 677">
            <a:extLst>
              <a:ext uri="{FF2B5EF4-FFF2-40B4-BE49-F238E27FC236}">
                <a16:creationId xmlns:a16="http://schemas.microsoft.com/office/drawing/2014/main" id="{0683E817-10E1-13B3-0E5C-E3180CD9800D}"/>
              </a:ext>
            </a:extLst>
          </p:cNvPr>
          <p:cNvSpPr>
            <a:spLocks/>
          </p:cNvSpPr>
          <p:nvPr/>
        </p:nvSpPr>
        <p:spPr bwMode="auto">
          <a:xfrm>
            <a:off x="32723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9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9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2" name="Freeform 678">
            <a:extLst>
              <a:ext uri="{FF2B5EF4-FFF2-40B4-BE49-F238E27FC236}">
                <a16:creationId xmlns:a16="http://schemas.microsoft.com/office/drawing/2014/main" id="{6F636C49-977F-FD3E-DBE2-AD7677863643}"/>
              </a:ext>
            </a:extLst>
          </p:cNvPr>
          <p:cNvSpPr>
            <a:spLocks/>
          </p:cNvSpPr>
          <p:nvPr/>
        </p:nvSpPr>
        <p:spPr bwMode="auto">
          <a:xfrm>
            <a:off x="32723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9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9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3" name="Freeform 679">
            <a:extLst>
              <a:ext uri="{FF2B5EF4-FFF2-40B4-BE49-F238E27FC236}">
                <a16:creationId xmlns:a16="http://schemas.microsoft.com/office/drawing/2014/main" id="{F7386865-77D4-932D-55F4-439E00C7690E}"/>
              </a:ext>
            </a:extLst>
          </p:cNvPr>
          <p:cNvSpPr>
            <a:spLocks/>
          </p:cNvSpPr>
          <p:nvPr/>
        </p:nvSpPr>
        <p:spPr bwMode="auto">
          <a:xfrm>
            <a:off x="3473452" y="5179484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0 h 28"/>
              <a:gd name="T6" fmla="*/ 22 w 26"/>
              <a:gd name="T7" fmla="*/ 24 h 28"/>
              <a:gd name="T8" fmla="*/ 18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3 w 26"/>
              <a:gd name="T15" fmla="*/ 24 h 28"/>
              <a:gd name="T16" fmla="*/ 2 w 26"/>
              <a:gd name="T17" fmla="*/ 20 h 28"/>
              <a:gd name="T18" fmla="*/ 0 w 26"/>
              <a:gd name="T19" fmla="*/ 15 h 28"/>
              <a:gd name="T20" fmla="*/ 0 w 26"/>
              <a:gd name="T21" fmla="*/ 15 h 28"/>
              <a:gd name="T22" fmla="*/ 2 w 26"/>
              <a:gd name="T23" fmla="*/ 7 h 28"/>
              <a:gd name="T24" fmla="*/ 3 w 26"/>
              <a:gd name="T25" fmla="*/ 3 h 28"/>
              <a:gd name="T26" fmla="*/ 7 w 26"/>
              <a:gd name="T27" fmla="*/ 2 h 28"/>
              <a:gd name="T28" fmla="*/ 13 w 26"/>
              <a:gd name="T29" fmla="*/ 0 h 28"/>
              <a:gd name="T30" fmla="*/ 18 w 26"/>
              <a:gd name="T31" fmla="*/ 2 h 28"/>
              <a:gd name="T32" fmla="*/ 22 w 26"/>
              <a:gd name="T33" fmla="*/ 3 h 28"/>
              <a:gd name="T34" fmla="*/ 24 w 26"/>
              <a:gd name="T35" fmla="*/ 7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0"/>
                </a:lnTo>
                <a:lnTo>
                  <a:pt x="22" y="24"/>
                </a:lnTo>
                <a:lnTo>
                  <a:pt x="18" y="26"/>
                </a:lnTo>
                <a:lnTo>
                  <a:pt x="13" y="28"/>
                </a:lnTo>
                <a:lnTo>
                  <a:pt x="7" y="26"/>
                </a:lnTo>
                <a:lnTo>
                  <a:pt x="3" y="24"/>
                </a:lnTo>
                <a:lnTo>
                  <a:pt x="2" y="20"/>
                </a:lnTo>
                <a:lnTo>
                  <a:pt x="0" y="15"/>
                </a:lnTo>
                <a:lnTo>
                  <a:pt x="0" y="15"/>
                </a:lnTo>
                <a:lnTo>
                  <a:pt x="2" y="7"/>
                </a:lnTo>
                <a:lnTo>
                  <a:pt x="3" y="3"/>
                </a:lnTo>
                <a:lnTo>
                  <a:pt x="7" y="2"/>
                </a:lnTo>
                <a:lnTo>
                  <a:pt x="13" y="0"/>
                </a:lnTo>
                <a:lnTo>
                  <a:pt x="18" y="2"/>
                </a:lnTo>
                <a:lnTo>
                  <a:pt x="22" y="3"/>
                </a:lnTo>
                <a:lnTo>
                  <a:pt x="24" y="7"/>
                </a:lnTo>
                <a:lnTo>
                  <a:pt x="26" y="15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4" name="Freeform 680">
            <a:extLst>
              <a:ext uri="{FF2B5EF4-FFF2-40B4-BE49-F238E27FC236}">
                <a16:creationId xmlns:a16="http://schemas.microsoft.com/office/drawing/2014/main" id="{9D6D0F29-8C47-3E8C-2E0E-37A48ED3EBB8}"/>
              </a:ext>
            </a:extLst>
          </p:cNvPr>
          <p:cNvSpPr>
            <a:spLocks/>
          </p:cNvSpPr>
          <p:nvPr/>
        </p:nvSpPr>
        <p:spPr bwMode="auto">
          <a:xfrm>
            <a:off x="3473452" y="5179484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0 h 28"/>
              <a:gd name="T6" fmla="*/ 22 w 26"/>
              <a:gd name="T7" fmla="*/ 24 h 28"/>
              <a:gd name="T8" fmla="*/ 18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3 w 26"/>
              <a:gd name="T15" fmla="*/ 24 h 28"/>
              <a:gd name="T16" fmla="*/ 2 w 26"/>
              <a:gd name="T17" fmla="*/ 20 h 28"/>
              <a:gd name="T18" fmla="*/ 0 w 26"/>
              <a:gd name="T19" fmla="*/ 15 h 28"/>
              <a:gd name="T20" fmla="*/ 0 w 26"/>
              <a:gd name="T21" fmla="*/ 15 h 28"/>
              <a:gd name="T22" fmla="*/ 2 w 26"/>
              <a:gd name="T23" fmla="*/ 7 h 28"/>
              <a:gd name="T24" fmla="*/ 3 w 26"/>
              <a:gd name="T25" fmla="*/ 3 h 28"/>
              <a:gd name="T26" fmla="*/ 7 w 26"/>
              <a:gd name="T27" fmla="*/ 2 h 28"/>
              <a:gd name="T28" fmla="*/ 13 w 26"/>
              <a:gd name="T29" fmla="*/ 0 h 28"/>
              <a:gd name="T30" fmla="*/ 18 w 26"/>
              <a:gd name="T31" fmla="*/ 2 h 28"/>
              <a:gd name="T32" fmla="*/ 22 w 26"/>
              <a:gd name="T33" fmla="*/ 3 h 28"/>
              <a:gd name="T34" fmla="*/ 24 w 26"/>
              <a:gd name="T35" fmla="*/ 7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0"/>
                </a:lnTo>
                <a:lnTo>
                  <a:pt x="22" y="24"/>
                </a:lnTo>
                <a:lnTo>
                  <a:pt x="18" y="26"/>
                </a:lnTo>
                <a:lnTo>
                  <a:pt x="13" y="28"/>
                </a:lnTo>
                <a:lnTo>
                  <a:pt x="7" y="26"/>
                </a:lnTo>
                <a:lnTo>
                  <a:pt x="3" y="24"/>
                </a:lnTo>
                <a:lnTo>
                  <a:pt x="2" y="20"/>
                </a:lnTo>
                <a:lnTo>
                  <a:pt x="0" y="15"/>
                </a:lnTo>
                <a:lnTo>
                  <a:pt x="0" y="15"/>
                </a:lnTo>
                <a:lnTo>
                  <a:pt x="2" y="7"/>
                </a:lnTo>
                <a:lnTo>
                  <a:pt x="3" y="3"/>
                </a:lnTo>
                <a:lnTo>
                  <a:pt x="7" y="2"/>
                </a:lnTo>
                <a:lnTo>
                  <a:pt x="13" y="0"/>
                </a:lnTo>
                <a:lnTo>
                  <a:pt x="18" y="2"/>
                </a:lnTo>
                <a:lnTo>
                  <a:pt x="22" y="3"/>
                </a:lnTo>
                <a:lnTo>
                  <a:pt x="24" y="7"/>
                </a:lnTo>
                <a:lnTo>
                  <a:pt x="26" y="15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5" name="Freeform 681">
            <a:extLst>
              <a:ext uri="{FF2B5EF4-FFF2-40B4-BE49-F238E27FC236}">
                <a16:creationId xmlns:a16="http://schemas.microsoft.com/office/drawing/2014/main" id="{12EDD39B-20D0-4B65-9384-BA986226E2D6}"/>
              </a:ext>
            </a:extLst>
          </p:cNvPr>
          <p:cNvSpPr>
            <a:spLocks/>
          </p:cNvSpPr>
          <p:nvPr/>
        </p:nvSpPr>
        <p:spPr bwMode="auto">
          <a:xfrm>
            <a:off x="3672419" y="50736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8 h 26"/>
              <a:gd name="T6" fmla="*/ 23 w 26"/>
              <a:gd name="T7" fmla="*/ 22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1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1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8"/>
                </a:lnTo>
                <a:lnTo>
                  <a:pt x="23" y="22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1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3" y="1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6" name="Freeform 682">
            <a:extLst>
              <a:ext uri="{FF2B5EF4-FFF2-40B4-BE49-F238E27FC236}">
                <a16:creationId xmlns:a16="http://schemas.microsoft.com/office/drawing/2014/main" id="{DD04D8F8-92D5-72B5-9CE8-F1B22B845A4B}"/>
              </a:ext>
            </a:extLst>
          </p:cNvPr>
          <p:cNvSpPr>
            <a:spLocks/>
          </p:cNvSpPr>
          <p:nvPr/>
        </p:nvSpPr>
        <p:spPr bwMode="auto">
          <a:xfrm>
            <a:off x="3672419" y="50736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8 h 26"/>
              <a:gd name="T6" fmla="*/ 23 w 26"/>
              <a:gd name="T7" fmla="*/ 22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1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1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8"/>
                </a:lnTo>
                <a:lnTo>
                  <a:pt x="23" y="22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1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3" y="1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7" name="Freeform 683">
            <a:extLst>
              <a:ext uri="{FF2B5EF4-FFF2-40B4-BE49-F238E27FC236}">
                <a16:creationId xmlns:a16="http://schemas.microsoft.com/office/drawing/2014/main" id="{DF640497-9E95-1659-89B9-9270C9C25229}"/>
              </a:ext>
            </a:extLst>
          </p:cNvPr>
          <p:cNvSpPr>
            <a:spLocks/>
          </p:cNvSpPr>
          <p:nvPr/>
        </p:nvSpPr>
        <p:spPr bwMode="auto">
          <a:xfrm>
            <a:off x="3873502" y="52620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3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3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8" name="Freeform 684">
            <a:extLst>
              <a:ext uri="{FF2B5EF4-FFF2-40B4-BE49-F238E27FC236}">
                <a16:creationId xmlns:a16="http://schemas.microsoft.com/office/drawing/2014/main" id="{1278C758-F17E-AD6C-164C-912BF254CFCE}"/>
              </a:ext>
            </a:extLst>
          </p:cNvPr>
          <p:cNvSpPr>
            <a:spLocks/>
          </p:cNvSpPr>
          <p:nvPr/>
        </p:nvSpPr>
        <p:spPr bwMode="auto">
          <a:xfrm>
            <a:off x="3873502" y="52620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3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3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9" name="Freeform 685">
            <a:extLst>
              <a:ext uri="{FF2B5EF4-FFF2-40B4-BE49-F238E27FC236}">
                <a16:creationId xmlns:a16="http://schemas.microsoft.com/office/drawing/2014/main" id="{F6AF2400-BE80-02C0-7E46-5D00584AAE85}"/>
              </a:ext>
            </a:extLst>
          </p:cNvPr>
          <p:cNvSpPr>
            <a:spLocks/>
          </p:cNvSpPr>
          <p:nvPr/>
        </p:nvSpPr>
        <p:spPr bwMode="auto">
          <a:xfrm>
            <a:off x="4074585" y="52895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3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3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0" name="Freeform 686">
            <a:extLst>
              <a:ext uri="{FF2B5EF4-FFF2-40B4-BE49-F238E27FC236}">
                <a16:creationId xmlns:a16="http://schemas.microsoft.com/office/drawing/2014/main" id="{0C31C8AA-48E0-B807-EF78-432DC493E2EB}"/>
              </a:ext>
            </a:extLst>
          </p:cNvPr>
          <p:cNvSpPr>
            <a:spLocks/>
          </p:cNvSpPr>
          <p:nvPr/>
        </p:nvSpPr>
        <p:spPr bwMode="auto">
          <a:xfrm>
            <a:off x="4074585" y="52895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3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3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1" name="Freeform 687">
            <a:extLst>
              <a:ext uri="{FF2B5EF4-FFF2-40B4-BE49-F238E27FC236}">
                <a16:creationId xmlns:a16="http://schemas.microsoft.com/office/drawing/2014/main" id="{04C6A418-E385-C675-7F10-9B95F4D9919E}"/>
              </a:ext>
            </a:extLst>
          </p:cNvPr>
          <p:cNvSpPr>
            <a:spLocks/>
          </p:cNvSpPr>
          <p:nvPr/>
        </p:nvSpPr>
        <p:spPr bwMode="auto">
          <a:xfrm>
            <a:off x="42756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2" name="Freeform 688">
            <a:extLst>
              <a:ext uri="{FF2B5EF4-FFF2-40B4-BE49-F238E27FC236}">
                <a16:creationId xmlns:a16="http://schemas.microsoft.com/office/drawing/2014/main" id="{F1F22974-3BA9-BC64-2216-BC1B0200FF52}"/>
              </a:ext>
            </a:extLst>
          </p:cNvPr>
          <p:cNvSpPr>
            <a:spLocks/>
          </p:cNvSpPr>
          <p:nvPr/>
        </p:nvSpPr>
        <p:spPr bwMode="auto">
          <a:xfrm>
            <a:off x="42756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3" name="Freeform 689">
            <a:extLst>
              <a:ext uri="{FF2B5EF4-FFF2-40B4-BE49-F238E27FC236}">
                <a16:creationId xmlns:a16="http://schemas.microsoft.com/office/drawing/2014/main" id="{15F2211C-AB36-81BE-3951-50F71C5CB746}"/>
              </a:ext>
            </a:extLst>
          </p:cNvPr>
          <p:cNvSpPr>
            <a:spLocks/>
          </p:cNvSpPr>
          <p:nvPr/>
        </p:nvSpPr>
        <p:spPr bwMode="auto">
          <a:xfrm>
            <a:off x="4474635" y="52302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8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8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4" name="Freeform 690">
            <a:extLst>
              <a:ext uri="{FF2B5EF4-FFF2-40B4-BE49-F238E27FC236}">
                <a16:creationId xmlns:a16="http://schemas.microsoft.com/office/drawing/2014/main" id="{C04B1ECF-CCC1-2431-407F-C6AC2D5C9762}"/>
              </a:ext>
            </a:extLst>
          </p:cNvPr>
          <p:cNvSpPr>
            <a:spLocks/>
          </p:cNvSpPr>
          <p:nvPr/>
        </p:nvSpPr>
        <p:spPr bwMode="auto">
          <a:xfrm>
            <a:off x="4474635" y="52302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8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8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5" name="Freeform 691">
            <a:extLst>
              <a:ext uri="{FF2B5EF4-FFF2-40B4-BE49-F238E27FC236}">
                <a16:creationId xmlns:a16="http://schemas.microsoft.com/office/drawing/2014/main" id="{F4AE9B7D-523F-ECD7-CC2E-2C812EB8FA90}"/>
              </a:ext>
            </a:extLst>
          </p:cNvPr>
          <p:cNvSpPr>
            <a:spLocks/>
          </p:cNvSpPr>
          <p:nvPr/>
        </p:nvSpPr>
        <p:spPr bwMode="auto">
          <a:xfrm>
            <a:off x="4675719" y="51710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4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4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6" name="Freeform 692">
            <a:extLst>
              <a:ext uri="{FF2B5EF4-FFF2-40B4-BE49-F238E27FC236}">
                <a16:creationId xmlns:a16="http://schemas.microsoft.com/office/drawing/2014/main" id="{8C3CA88A-FDE2-05DD-DBCF-08DE675A675A}"/>
              </a:ext>
            </a:extLst>
          </p:cNvPr>
          <p:cNvSpPr>
            <a:spLocks/>
          </p:cNvSpPr>
          <p:nvPr/>
        </p:nvSpPr>
        <p:spPr bwMode="auto">
          <a:xfrm>
            <a:off x="4675719" y="51710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4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4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7" name="Freeform 693">
            <a:extLst>
              <a:ext uri="{FF2B5EF4-FFF2-40B4-BE49-F238E27FC236}">
                <a16:creationId xmlns:a16="http://schemas.microsoft.com/office/drawing/2014/main" id="{0F3AA76A-32DB-F3E6-93E2-CD483A80DD2A}"/>
              </a:ext>
            </a:extLst>
          </p:cNvPr>
          <p:cNvSpPr>
            <a:spLocks/>
          </p:cNvSpPr>
          <p:nvPr/>
        </p:nvSpPr>
        <p:spPr bwMode="auto">
          <a:xfrm>
            <a:off x="4876802" y="51477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8" name="Freeform 694">
            <a:extLst>
              <a:ext uri="{FF2B5EF4-FFF2-40B4-BE49-F238E27FC236}">
                <a16:creationId xmlns:a16="http://schemas.microsoft.com/office/drawing/2014/main" id="{00D8F3F1-C578-CAA8-79B0-32B3D5FC14D5}"/>
              </a:ext>
            </a:extLst>
          </p:cNvPr>
          <p:cNvSpPr>
            <a:spLocks/>
          </p:cNvSpPr>
          <p:nvPr/>
        </p:nvSpPr>
        <p:spPr bwMode="auto">
          <a:xfrm>
            <a:off x="4876802" y="51477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9" name="Freeform 695">
            <a:extLst>
              <a:ext uri="{FF2B5EF4-FFF2-40B4-BE49-F238E27FC236}">
                <a16:creationId xmlns:a16="http://schemas.microsoft.com/office/drawing/2014/main" id="{28AF8A33-F80E-C905-4E0E-4454748FA161}"/>
              </a:ext>
            </a:extLst>
          </p:cNvPr>
          <p:cNvSpPr>
            <a:spLocks/>
          </p:cNvSpPr>
          <p:nvPr/>
        </p:nvSpPr>
        <p:spPr bwMode="auto">
          <a:xfrm>
            <a:off x="5077885" y="51477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1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1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1" y="18"/>
                </a:lnTo>
                <a:lnTo>
                  <a:pt x="0" y="13"/>
                </a:lnTo>
                <a:lnTo>
                  <a:pt x="0" y="13"/>
                </a:lnTo>
                <a:lnTo>
                  <a:pt x="1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0" name="Freeform 696">
            <a:extLst>
              <a:ext uri="{FF2B5EF4-FFF2-40B4-BE49-F238E27FC236}">
                <a16:creationId xmlns:a16="http://schemas.microsoft.com/office/drawing/2014/main" id="{9D25BC17-E76F-A6C9-C992-D9C9E0D20497}"/>
              </a:ext>
            </a:extLst>
          </p:cNvPr>
          <p:cNvSpPr>
            <a:spLocks/>
          </p:cNvSpPr>
          <p:nvPr/>
        </p:nvSpPr>
        <p:spPr bwMode="auto">
          <a:xfrm>
            <a:off x="5077885" y="51477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1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1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1" y="18"/>
                </a:lnTo>
                <a:lnTo>
                  <a:pt x="0" y="13"/>
                </a:lnTo>
                <a:lnTo>
                  <a:pt x="0" y="13"/>
                </a:lnTo>
                <a:lnTo>
                  <a:pt x="1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1" name="Freeform 697">
            <a:extLst>
              <a:ext uri="{FF2B5EF4-FFF2-40B4-BE49-F238E27FC236}">
                <a16:creationId xmlns:a16="http://schemas.microsoft.com/office/drawing/2014/main" id="{130D4FC0-6D4F-43B2-38A5-A3FA7F55D812}"/>
              </a:ext>
            </a:extLst>
          </p:cNvPr>
          <p:cNvSpPr>
            <a:spLocks/>
          </p:cNvSpPr>
          <p:nvPr/>
        </p:nvSpPr>
        <p:spPr bwMode="auto">
          <a:xfrm>
            <a:off x="5276852" y="5262034"/>
            <a:ext cx="55033" cy="59267"/>
          </a:xfrm>
          <a:custGeom>
            <a:avLst/>
            <a:gdLst>
              <a:gd name="T0" fmla="*/ 26 w 26"/>
              <a:gd name="T1" fmla="*/ 13 h 28"/>
              <a:gd name="T2" fmla="*/ 26 w 26"/>
              <a:gd name="T3" fmla="*/ 13 h 28"/>
              <a:gd name="T4" fmla="*/ 24 w 26"/>
              <a:gd name="T5" fmla="*/ 18 h 28"/>
              <a:gd name="T6" fmla="*/ 23 w 26"/>
              <a:gd name="T7" fmla="*/ 24 h 28"/>
              <a:gd name="T8" fmla="*/ 17 w 26"/>
              <a:gd name="T9" fmla="*/ 26 h 28"/>
              <a:gd name="T10" fmla="*/ 13 w 26"/>
              <a:gd name="T11" fmla="*/ 28 h 28"/>
              <a:gd name="T12" fmla="*/ 8 w 26"/>
              <a:gd name="T13" fmla="*/ 26 h 28"/>
              <a:gd name="T14" fmla="*/ 4 w 26"/>
              <a:gd name="T15" fmla="*/ 24 h 28"/>
              <a:gd name="T16" fmla="*/ 2 w 26"/>
              <a:gd name="T17" fmla="*/ 18 h 28"/>
              <a:gd name="T18" fmla="*/ 0 w 26"/>
              <a:gd name="T19" fmla="*/ 13 h 28"/>
              <a:gd name="T20" fmla="*/ 0 w 26"/>
              <a:gd name="T21" fmla="*/ 13 h 28"/>
              <a:gd name="T22" fmla="*/ 2 w 26"/>
              <a:gd name="T23" fmla="*/ 7 h 28"/>
              <a:gd name="T24" fmla="*/ 4 w 26"/>
              <a:gd name="T25" fmla="*/ 3 h 28"/>
              <a:gd name="T26" fmla="*/ 8 w 26"/>
              <a:gd name="T27" fmla="*/ 2 h 28"/>
              <a:gd name="T28" fmla="*/ 13 w 26"/>
              <a:gd name="T29" fmla="*/ 0 h 28"/>
              <a:gd name="T30" fmla="*/ 17 w 26"/>
              <a:gd name="T31" fmla="*/ 2 h 28"/>
              <a:gd name="T32" fmla="*/ 23 w 26"/>
              <a:gd name="T33" fmla="*/ 3 h 28"/>
              <a:gd name="T34" fmla="*/ 24 w 26"/>
              <a:gd name="T35" fmla="*/ 7 h 28"/>
              <a:gd name="T36" fmla="*/ 26 w 26"/>
              <a:gd name="T37" fmla="*/ 1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3" y="24"/>
                </a:lnTo>
                <a:lnTo>
                  <a:pt x="17" y="26"/>
                </a:lnTo>
                <a:lnTo>
                  <a:pt x="13" y="28"/>
                </a:lnTo>
                <a:lnTo>
                  <a:pt x="8" y="26"/>
                </a:lnTo>
                <a:lnTo>
                  <a:pt x="4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3"/>
                </a:lnTo>
                <a:lnTo>
                  <a:pt x="8" y="2"/>
                </a:lnTo>
                <a:lnTo>
                  <a:pt x="13" y="0"/>
                </a:lnTo>
                <a:lnTo>
                  <a:pt x="17" y="2"/>
                </a:lnTo>
                <a:lnTo>
                  <a:pt x="23" y="3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2" name="Freeform 698">
            <a:extLst>
              <a:ext uri="{FF2B5EF4-FFF2-40B4-BE49-F238E27FC236}">
                <a16:creationId xmlns:a16="http://schemas.microsoft.com/office/drawing/2014/main" id="{CD7A72D1-B14E-5744-D997-498918D384C1}"/>
              </a:ext>
            </a:extLst>
          </p:cNvPr>
          <p:cNvSpPr>
            <a:spLocks/>
          </p:cNvSpPr>
          <p:nvPr/>
        </p:nvSpPr>
        <p:spPr bwMode="auto">
          <a:xfrm>
            <a:off x="5276852" y="5262034"/>
            <a:ext cx="55033" cy="59267"/>
          </a:xfrm>
          <a:custGeom>
            <a:avLst/>
            <a:gdLst>
              <a:gd name="T0" fmla="*/ 26 w 26"/>
              <a:gd name="T1" fmla="*/ 13 h 28"/>
              <a:gd name="T2" fmla="*/ 26 w 26"/>
              <a:gd name="T3" fmla="*/ 13 h 28"/>
              <a:gd name="T4" fmla="*/ 24 w 26"/>
              <a:gd name="T5" fmla="*/ 18 h 28"/>
              <a:gd name="T6" fmla="*/ 23 w 26"/>
              <a:gd name="T7" fmla="*/ 24 h 28"/>
              <a:gd name="T8" fmla="*/ 17 w 26"/>
              <a:gd name="T9" fmla="*/ 26 h 28"/>
              <a:gd name="T10" fmla="*/ 13 w 26"/>
              <a:gd name="T11" fmla="*/ 28 h 28"/>
              <a:gd name="T12" fmla="*/ 8 w 26"/>
              <a:gd name="T13" fmla="*/ 26 h 28"/>
              <a:gd name="T14" fmla="*/ 4 w 26"/>
              <a:gd name="T15" fmla="*/ 24 h 28"/>
              <a:gd name="T16" fmla="*/ 2 w 26"/>
              <a:gd name="T17" fmla="*/ 18 h 28"/>
              <a:gd name="T18" fmla="*/ 0 w 26"/>
              <a:gd name="T19" fmla="*/ 13 h 28"/>
              <a:gd name="T20" fmla="*/ 0 w 26"/>
              <a:gd name="T21" fmla="*/ 13 h 28"/>
              <a:gd name="T22" fmla="*/ 2 w 26"/>
              <a:gd name="T23" fmla="*/ 7 h 28"/>
              <a:gd name="T24" fmla="*/ 4 w 26"/>
              <a:gd name="T25" fmla="*/ 3 h 28"/>
              <a:gd name="T26" fmla="*/ 8 w 26"/>
              <a:gd name="T27" fmla="*/ 2 h 28"/>
              <a:gd name="T28" fmla="*/ 13 w 26"/>
              <a:gd name="T29" fmla="*/ 0 h 28"/>
              <a:gd name="T30" fmla="*/ 17 w 26"/>
              <a:gd name="T31" fmla="*/ 2 h 28"/>
              <a:gd name="T32" fmla="*/ 23 w 26"/>
              <a:gd name="T33" fmla="*/ 3 h 28"/>
              <a:gd name="T34" fmla="*/ 24 w 26"/>
              <a:gd name="T35" fmla="*/ 7 h 28"/>
              <a:gd name="T36" fmla="*/ 26 w 26"/>
              <a:gd name="T37" fmla="*/ 1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3" y="24"/>
                </a:lnTo>
                <a:lnTo>
                  <a:pt x="17" y="26"/>
                </a:lnTo>
                <a:lnTo>
                  <a:pt x="13" y="28"/>
                </a:lnTo>
                <a:lnTo>
                  <a:pt x="8" y="26"/>
                </a:lnTo>
                <a:lnTo>
                  <a:pt x="4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3"/>
                </a:lnTo>
                <a:lnTo>
                  <a:pt x="8" y="2"/>
                </a:lnTo>
                <a:lnTo>
                  <a:pt x="13" y="0"/>
                </a:lnTo>
                <a:lnTo>
                  <a:pt x="17" y="2"/>
                </a:lnTo>
                <a:lnTo>
                  <a:pt x="23" y="3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3" name="Freeform 699">
            <a:extLst>
              <a:ext uri="{FF2B5EF4-FFF2-40B4-BE49-F238E27FC236}">
                <a16:creationId xmlns:a16="http://schemas.microsoft.com/office/drawing/2014/main" id="{EEADD438-64D8-91BE-DC01-3DF0A722A6AD}"/>
              </a:ext>
            </a:extLst>
          </p:cNvPr>
          <p:cNvSpPr>
            <a:spLocks/>
          </p:cNvSpPr>
          <p:nvPr/>
        </p:nvSpPr>
        <p:spPr bwMode="auto">
          <a:xfrm>
            <a:off x="5477935" y="53594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4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4" name="Freeform 700">
            <a:extLst>
              <a:ext uri="{FF2B5EF4-FFF2-40B4-BE49-F238E27FC236}">
                <a16:creationId xmlns:a16="http://schemas.microsoft.com/office/drawing/2014/main" id="{63AE418C-5C0B-B41E-46E0-57D9253216D5}"/>
              </a:ext>
            </a:extLst>
          </p:cNvPr>
          <p:cNvSpPr>
            <a:spLocks/>
          </p:cNvSpPr>
          <p:nvPr/>
        </p:nvSpPr>
        <p:spPr bwMode="auto">
          <a:xfrm>
            <a:off x="5477935" y="53594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4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5" name="Freeform 701">
            <a:extLst>
              <a:ext uri="{FF2B5EF4-FFF2-40B4-BE49-F238E27FC236}">
                <a16:creationId xmlns:a16="http://schemas.microsoft.com/office/drawing/2014/main" id="{FF38D32B-F5A4-3288-40C8-D259648A28A1}"/>
              </a:ext>
            </a:extLst>
          </p:cNvPr>
          <p:cNvSpPr>
            <a:spLocks/>
          </p:cNvSpPr>
          <p:nvPr/>
        </p:nvSpPr>
        <p:spPr bwMode="auto">
          <a:xfrm>
            <a:off x="5679019" y="5281084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0 h 28"/>
              <a:gd name="T6" fmla="*/ 22 w 26"/>
              <a:gd name="T7" fmla="*/ 24 h 28"/>
              <a:gd name="T8" fmla="*/ 16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3 w 26"/>
              <a:gd name="T15" fmla="*/ 24 h 28"/>
              <a:gd name="T16" fmla="*/ 0 w 26"/>
              <a:gd name="T17" fmla="*/ 20 h 28"/>
              <a:gd name="T18" fmla="*/ 0 w 26"/>
              <a:gd name="T19" fmla="*/ 15 h 28"/>
              <a:gd name="T20" fmla="*/ 0 w 26"/>
              <a:gd name="T21" fmla="*/ 15 h 28"/>
              <a:gd name="T22" fmla="*/ 0 w 26"/>
              <a:gd name="T23" fmla="*/ 7 h 28"/>
              <a:gd name="T24" fmla="*/ 3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6 w 26"/>
              <a:gd name="T31" fmla="*/ 2 h 28"/>
              <a:gd name="T32" fmla="*/ 22 w 26"/>
              <a:gd name="T33" fmla="*/ 4 h 28"/>
              <a:gd name="T34" fmla="*/ 24 w 26"/>
              <a:gd name="T35" fmla="*/ 7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0"/>
                </a:lnTo>
                <a:lnTo>
                  <a:pt x="22" y="24"/>
                </a:lnTo>
                <a:lnTo>
                  <a:pt x="16" y="26"/>
                </a:lnTo>
                <a:lnTo>
                  <a:pt x="13" y="28"/>
                </a:lnTo>
                <a:lnTo>
                  <a:pt x="7" y="26"/>
                </a:lnTo>
                <a:lnTo>
                  <a:pt x="3" y="24"/>
                </a:lnTo>
                <a:lnTo>
                  <a:pt x="0" y="20"/>
                </a:lnTo>
                <a:lnTo>
                  <a:pt x="0" y="15"/>
                </a:lnTo>
                <a:lnTo>
                  <a:pt x="0" y="15"/>
                </a:lnTo>
                <a:lnTo>
                  <a:pt x="0" y="7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6" y="2"/>
                </a:lnTo>
                <a:lnTo>
                  <a:pt x="22" y="4"/>
                </a:lnTo>
                <a:lnTo>
                  <a:pt x="24" y="7"/>
                </a:lnTo>
                <a:lnTo>
                  <a:pt x="26" y="15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6" name="Freeform 702">
            <a:extLst>
              <a:ext uri="{FF2B5EF4-FFF2-40B4-BE49-F238E27FC236}">
                <a16:creationId xmlns:a16="http://schemas.microsoft.com/office/drawing/2014/main" id="{ADD113D9-0037-A4B1-8AAE-8A1155EBC7D2}"/>
              </a:ext>
            </a:extLst>
          </p:cNvPr>
          <p:cNvSpPr>
            <a:spLocks/>
          </p:cNvSpPr>
          <p:nvPr/>
        </p:nvSpPr>
        <p:spPr bwMode="auto">
          <a:xfrm>
            <a:off x="5679019" y="5281084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0 h 28"/>
              <a:gd name="T6" fmla="*/ 22 w 26"/>
              <a:gd name="T7" fmla="*/ 24 h 28"/>
              <a:gd name="T8" fmla="*/ 16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3 w 26"/>
              <a:gd name="T15" fmla="*/ 24 h 28"/>
              <a:gd name="T16" fmla="*/ 0 w 26"/>
              <a:gd name="T17" fmla="*/ 20 h 28"/>
              <a:gd name="T18" fmla="*/ 0 w 26"/>
              <a:gd name="T19" fmla="*/ 15 h 28"/>
              <a:gd name="T20" fmla="*/ 0 w 26"/>
              <a:gd name="T21" fmla="*/ 15 h 28"/>
              <a:gd name="T22" fmla="*/ 0 w 26"/>
              <a:gd name="T23" fmla="*/ 7 h 28"/>
              <a:gd name="T24" fmla="*/ 3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6 w 26"/>
              <a:gd name="T31" fmla="*/ 2 h 28"/>
              <a:gd name="T32" fmla="*/ 22 w 26"/>
              <a:gd name="T33" fmla="*/ 4 h 28"/>
              <a:gd name="T34" fmla="*/ 24 w 26"/>
              <a:gd name="T35" fmla="*/ 7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0"/>
                </a:lnTo>
                <a:lnTo>
                  <a:pt x="22" y="24"/>
                </a:lnTo>
                <a:lnTo>
                  <a:pt x="16" y="26"/>
                </a:lnTo>
                <a:lnTo>
                  <a:pt x="13" y="28"/>
                </a:lnTo>
                <a:lnTo>
                  <a:pt x="7" y="26"/>
                </a:lnTo>
                <a:lnTo>
                  <a:pt x="3" y="24"/>
                </a:lnTo>
                <a:lnTo>
                  <a:pt x="0" y="20"/>
                </a:lnTo>
                <a:lnTo>
                  <a:pt x="0" y="15"/>
                </a:lnTo>
                <a:lnTo>
                  <a:pt x="0" y="15"/>
                </a:lnTo>
                <a:lnTo>
                  <a:pt x="0" y="7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6" y="2"/>
                </a:lnTo>
                <a:lnTo>
                  <a:pt x="22" y="4"/>
                </a:lnTo>
                <a:lnTo>
                  <a:pt x="24" y="7"/>
                </a:lnTo>
                <a:lnTo>
                  <a:pt x="26" y="15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7" name="Freeform 703">
            <a:extLst>
              <a:ext uri="{FF2B5EF4-FFF2-40B4-BE49-F238E27FC236}">
                <a16:creationId xmlns:a16="http://schemas.microsoft.com/office/drawing/2014/main" id="{2D5D4D0E-E039-AFBB-A9AF-16245C7A41FA}"/>
              </a:ext>
            </a:extLst>
          </p:cNvPr>
          <p:cNvSpPr>
            <a:spLocks/>
          </p:cNvSpPr>
          <p:nvPr/>
        </p:nvSpPr>
        <p:spPr bwMode="auto">
          <a:xfrm>
            <a:off x="5877986" y="53001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3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3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3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3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8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8" name="Freeform 704">
            <a:extLst>
              <a:ext uri="{FF2B5EF4-FFF2-40B4-BE49-F238E27FC236}">
                <a16:creationId xmlns:a16="http://schemas.microsoft.com/office/drawing/2014/main" id="{D5177507-6B43-FB9F-1C68-69F8BB4AAD7F}"/>
              </a:ext>
            </a:extLst>
          </p:cNvPr>
          <p:cNvSpPr>
            <a:spLocks/>
          </p:cNvSpPr>
          <p:nvPr/>
        </p:nvSpPr>
        <p:spPr bwMode="auto">
          <a:xfrm>
            <a:off x="5877986" y="53001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3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3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3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3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9" name="Freeform 705">
            <a:extLst>
              <a:ext uri="{FF2B5EF4-FFF2-40B4-BE49-F238E27FC236}">
                <a16:creationId xmlns:a16="http://schemas.microsoft.com/office/drawing/2014/main" id="{2F6691A1-BADF-B9B3-4076-88305D3B67D7}"/>
              </a:ext>
            </a:extLst>
          </p:cNvPr>
          <p:cNvSpPr>
            <a:spLocks/>
          </p:cNvSpPr>
          <p:nvPr/>
        </p:nvSpPr>
        <p:spPr bwMode="auto">
          <a:xfrm>
            <a:off x="5977469" y="530436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2 w 26"/>
              <a:gd name="T7" fmla="*/ 24 h 26"/>
              <a:gd name="T8" fmla="*/ 18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5 w 26"/>
              <a:gd name="T15" fmla="*/ 24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5 w 26"/>
              <a:gd name="T25" fmla="*/ 4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4 h 26"/>
              <a:gd name="T34" fmla="*/ 26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2" y="24"/>
                </a:lnTo>
                <a:lnTo>
                  <a:pt x="18" y="26"/>
                </a:lnTo>
                <a:lnTo>
                  <a:pt x="13" y="26"/>
                </a:lnTo>
                <a:lnTo>
                  <a:pt x="9" y="26"/>
                </a:lnTo>
                <a:lnTo>
                  <a:pt x="5" y="24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5" y="4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4"/>
                </a:lnTo>
                <a:lnTo>
                  <a:pt x="26" y="8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0" name="Freeform 706">
            <a:extLst>
              <a:ext uri="{FF2B5EF4-FFF2-40B4-BE49-F238E27FC236}">
                <a16:creationId xmlns:a16="http://schemas.microsoft.com/office/drawing/2014/main" id="{3AA9896F-8C00-9999-5FB2-1664EAE24DB1}"/>
              </a:ext>
            </a:extLst>
          </p:cNvPr>
          <p:cNvSpPr>
            <a:spLocks/>
          </p:cNvSpPr>
          <p:nvPr/>
        </p:nvSpPr>
        <p:spPr bwMode="auto">
          <a:xfrm>
            <a:off x="5977469" y="530436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2 w 26"/>
              <a:gd name="T7" fmla="*/ 24 h 26"/>
              <a:gd name="T8" fmla="*/ 18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5 w 26"/>
              <a:gd name="T15" fmla="*/ 24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5 w 26"/>
              <a:gd name="T25" fmla="*/ 4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4 h 26"/>
              <a:gd name="T34" fmla="*/ 26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2" y="24"/>
                </a:lnTo>
                <a:lnTo>
                  <a:pt x="18" y="26"/>
                </a:lnTo>
                <a:lnTo>
                  <a:pt x="13" y="26"/>
                </a:lnTo>
                <a:lnTo>
                  <a:pt x="9" y="26"/>
                </a:lnTo>
                <a:lnTo>
                  <a:pt x="5" y="24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5" y="4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4"/>
                </a:lnTo>
                <a:lnTo>
                  <a:pt x="26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1" name="Freeform 707">
            <a:extLst>
              <a:ext uri="{FF2B5EF4-FFF2-40B4-BE49-F238E27FC236}">
                <a16:creationId xmlns:a16="http://schemas.microsoft.com/office/drawing/2014/main" id="{D66C4AFF-1999-3297-926E-60B2283D7CAB}"/>
              </a:ext>
            </a:extLst>
          </p:cNvPr>
          <p:cNvSpPr>
            <a:spLocks/>
          </p:cNvSpPr>
          <p:nvPr/>
        </p:nvSpPr>
        <p:spPr bwMode="auto">
          <a:xfrm>
            <a:off x="6079069" y="525356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2" name="Freeform 708">
            <a:extLst>
              <a:ext uri="{FF2B5EF4-FFF2-40B4-BE49-F238E27FC236}">
                <a16:creationId xmlns:a16="http://schemas.microsoft.com/office/drawing/2014/main" id="{B513E8F8-5253-3BA1-4D24-08E03D7C4CB6}"/>
              </a:ext>
            </a:extLst>
          </p:cNvPr>
          <p:cNvSpPr>
            <a:spLocks/>
          </p:cNvSpPr>
          <p:nvPr/>
        </p:nvSpPr>
        <p:spPr bwMode="auto">
          <a:xfrm>
            <a:off x="6079069" y="525356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3" name="Freeform 709">
            <a:extLst>
              <a:ext uri="{FF2B5EF4-FFF2-40B4-BE49-F238E27FC236}">
                <a16:creationId xmlns:a16="http://schemas.microsoft.com/office/drawing/2014/main" id="{64CB1EF0-8711-74AB-C085-0439F122A1BF}"/>
              </a:ext>
            </a:extLst>
          </p:cNvPr>
          <p:cNvSpPr>
            <a:spLocks/>
          </p:cNvSpPr>
          <p:nvPr/>
        </p:nvSpPr>
        <p:spPr bwMode="auto">
          <a:xfrm>
            <a:off x="6290736" y="52451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3 w 26"/>
              <a:gd name="T7" fmla="*/ 23 h 26"/>
              <a:gd name="T8" fmla="*/ 19 w 26"/>
              <a:gd name="T9" fmla="*/ 26 h 26"/>
              <a:gd name="T10" fmla="*/ 13 w 26"/>
              <a:gd name="T11" fmla="*/ 26 h 26"/>
              <a:gd name="T12" fmla="*/ 10 w 26"/>
              <a:gd name="T13" fmla="*/ 26 h 26"/>
              <a:gd name="T14" fmla="*/ 6 w 26"/>
              <a:gd name="T15" fmla="*/ 23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6 w 26"/>
              <a:gd name="T25" fmla="*/ 4 h 26"/>
              <a:gd name="T26" fmla="*/ 10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4 h 26"/>
              <a:gd name="T34" fmla="*/ 26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3" y="23"/>
                </a:lnTo>
                <a:lnTo>
                  <a:pt x="19" y="26"/>
                </a:lnTo>
                <a:lnTo>
                  <a:pt x="13" y="26"/>
                </a:lnTo>
                <a:lnTo>
                  <a:pt x="10" y="26"/>
                </a:lnTo>
                <a:lnTo>
                  <a:pt x="6" y="23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6" y="4"/>
                </a:lnTo>
                <a:lnTo>
                  <a:pt x="10" y="0"/>
                </a:lnTo>
                <a:lnTo>
                  <a:pt x="13" y="0"/>
                </a:lnTo>
                <a:lnTo>
                  <a:pt x="19" y="0"/>
                </a:lnTo>
                <a:lnTo>
                  <a:pt x="23" y="4"/>
                </a:lnTo>
                <a:lnTo>
                  <a:pt x="26" y="8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4" name="Freeform 710">
            <a:extLst>
              <a:ext uri="{FF2B5EF4-FFF2-40B4-BE49-F238E27FC236}">
                <a16:creationId xmlns:a16="http://schemas.microsoft.com/office/drawing/2014/main" id="{1A11F097-1843-828F-660D-44EC1BE43B10}"/>
              </a:ext>
            </a:extLst>
          </p:cNvPr>
          <p:cNvSpPr>
            <a:spLocks/>
          </p:cNvSpPr>
          <p:nvPr/>
        </p:nvSpPr>
        <p:spPr bwMode="auto">
          <a:xfrm>
            <a:off x="6290736" y="52451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3 w 26"/>
              <a:gd name="T7" fmla="*/ 23 h 26"/>
              <a:gd name="T8" fmla="*/ 19 w 26"/>
              <a:gd name="T9" fmla="*/ 26 h 26"/>
              <a:gd name="T10" fmla="*/ 13 w 26"/>
              <a:gd name="T11" fmla="*/ 26 h 26"/>
              <a:gd name="T12" fmla="*/ 10 w 26"/>
              <a:gd name="T13" fmla="*/ 26 h 26"/>
              <a:gd name="T14" fmla="*/ 6 w 26"/>
              <a:gd name="T15" fmla="*/ 23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6 w 26"/>
              <a:gd name="T25" fmla="*/ 4 h 26"/>
              <a:gd name="T26" fmla="*/ 10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4 h 26"/>
              <a:gd name="T34" fmla="*/ 26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3" y="23"/>
                </a:lnTo>
                <a:lnTo>
                  <a:pt x="19" y="26"/>
                </a:lnTo>
                <a:lnTo>
                  <a:pt x="13" y="26"/>
                </a:lnTo>
                <a:lnTo>
                  <a:pt x="10" y="26"/>
                </a:lnTo>
                <a:lnTo>
                  <a:pt x="6" y="23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6" y="4"/>
                </a:lnTo>
                <a:lnTo>
                  <a:pt x="10" y="0"/>
                </a:lnTo>
                <a:lnTo>
                  <a:pt x="13" y="0"/>
                </a:lnTo>
                <a:lnTo>
                  <a:pt x="19" y="0"/>
                </a:lnTo>
                <a:lnTo>
                  <a:pt x="23" y="4"/>
                </a:lnTo>
                <a:lnTo>
                  <a:pt x="26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5" name="Freeform 711">
            <a:extLst>
              <a:ext uri="{FF2B5EF4-FFF2-40B4-BE49-F238E27FC236}">
                <a16:creationId xmlns:a16="http://schemas.microsoft.com/office/drawing/2014/main" id="{13406614-9D53-3E18-F3A1-B0CBA2D67FA5}"/>
              </a:ext>
            </a:extLst>
          </p:cNvPr>
          <p:cNvSpPr>
            <a:spLocks/>
          </p:cNvSpPr>
          <p:nvPr/>
        </p:nvSpPr>
        <p:spPr bwMode="auto">
          <a:xfrm>
            <a:off x="6491819" y="52302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8 h 26"/>
              <a:gd name="T6" fmla="*/ 22 w 26"/>
              <a:gd name="T7" fmla="*/ 24 h 26"/>
              <a:gd name="T8" fmla="*/ 19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6 w 26"/>
              <a:gd name="T15" fmla="*/ 24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6 w 26"/>
              <a:gd name="T25" fmla="*/ 4 h 26"/>
              <a:gd name="T26" fmla="*/ 9 w 26"/>
              <a:gd name="T27" fmla="*/ 2 h 26"/>
              <a:gd name="T28" fmla="*/ 13 w 26"/>
              <a:gd name="T29" fmla="*/ 0 h 26"/>
              <a:gd name="T30" fmla="*/ 19 w 26"/>
              <a:gd name="T31" fmla="*/ 2 h 26"/>
              <a:gd name="T32" fmla="*/ 22 w 26"/>
              <a:gd name="T33" fmla="*/ 4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8"/>
                </a:lnTo>
                <a:lnTo>
                  <a:pt x="22" y="24"/>
                </a:lnTo>
                <a:lnTo>
                  <a:pt x="19" y="26"/>
                </a:lnTo>
                <a:lnTo>
                  <a:pt x="13" y="26"/>
                </a:lnTo>
                <a:lnTo>
                  <a:pt x="9" y="26"/>
                </a:lnTo>
                <a:lnTo>
                  <a:pt x="6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6" y="4"/>
                </a:lnTo>
                <a:lnTo>
                  <a:pt x="9" y="2"/>
                </a:lnTo>
                <a:lnTo>
                  <a:pt x="13" y="0"/>
                </a:lnTo>
                <a:lnTo>
                  <a:pt x="19" y="2"/>
                </a:lnTo>
                <a:lnTo>
                  <a:pt x="22" y="4"/>
                </a:lnTo>
                <a:lnTo>
                  <a:pt x="26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6" name="Freeform 712">
            <a:extLst>
              <a:ext uri="{FF2B5EF4-FFF2-40B4-BE49-F238E27FC236}">
                <a16:creationId xmlns:a16="http://schemas.microsoft.com/office/drawing/2014/main" id="{7145D99D-C43A-62F5-3714-0FB8003C0DB7}"/>
              </a:ext>
            </a:extLst>
          </p:cNvPr>
          <p:cNvSpPr>
            <a:spLocks/>
          </p:cNvSpPr>
          <p:nvPr/>
        </p:nvSpPr>
        <p:spPr bwMode="auto">
          <a:xfrm>
            <a:off x="6491819" y="52302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8 h 26"/>
              <a:gd name="T6" fmla="*/ 22 w 26"/>
              <a:gd name="T7" fmla="*/ 24 h 26"/>
              <a:gd name="T8" fmla="*/ 19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6 w 26"/>
              <a:gd name="T15" fmla="*/ 24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6 w 26"/>
              <a:gd name="T25" fmla="*/ 4 h 26"/>
              <a:gd name="T26" fmla="*/ 9 w 26"/>
              <a:gd name="T27" fmla="*/ 2 h 26"/>
              <a:gd name="T28" fmla="*/ 13 w 26"/>
              <a:gd name="T29" fmla="*/ 0 h 26"/>
              <a:gd name="T30" fmla="*/ 19 w 26"/>
              <a:gd name="T31" fmla="*/ 2 h 26"/>
              <a:gd name="T32" fmla="*/ 22 w 26"/>
              <a:gd name="T33" fmla="*/ 4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8"/>
                </a:lnTo>
                <a:lnTo>
                  <a:pt x="22" y="24"/>
                </a:lnTo>
                <a:lnTo>
                  <a:pt x="19" y="26"/>
                </a:lnTo>
                <a:lnTo>
                  <a:pt x="13" y="26"/>
                </a:lnTo>
                <a:lnTo>
                  <a:pt x="9" y="26"/>
                </a:lnTo>
                <a:lnTo>
                  <a:pt x="6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6" y="4"/>
                </a:lnTo>
                <a:lnTo>
                  <a:pt x="9" y="2"/>
                </a:lnTo>
                <a:lnTo>
                  <a:pt x="13" y="0"/>
                </a:lnTo>
                <a:lnTo>
                  <a:pt x="19" y="2"/>
                </a:lnTo>
                <a:lnTo>
                  <a:pt x="22" y="4"/>
                </a:lnTo>
                <a:lnTo>
                  <a:pt x="26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7" name="Freeform 713">
            <a:extLst>
              <a:ext uri="{FF2B5EF4-FFF2-40B4-BE49-F238E27FC236}">
                <a16:creationId xmlns:a16="http://schemas.microsoft.com/office/drawing/2014/main" id="{AEAD145E-6DE9-902A-1375-CB932ED42389}"/>
              </a:ext>
            </a:extLst>
          </p:cNvPr>
          <p:cNvSpPr>
            <a:spLocks/>
          </p:cNvSpPr>
          <p:nvPr/>
        </p:nvSpPr>
        <p:spPr bwMode="auto">
          <a:xfrm>
            <a:off x="17716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0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0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8" name="Freeform 714">
            <a:extLst>
              <a:ext uri="{FF2B5EF4-FFF2-40B4-BE49-F238E27FC236}">
                <a16:creationId xmlns:a16="http://schemas.microsoft.com/office/drawing/2014/main" id="{CE2C4220-E92E-83F3-DEF5-CFC883A2D949}"/>
              </a:ext>
            </a:extLst>
          </p:cNvPr>
          <p:cNvSpPr>
            <a:spLocks/>
          </p:cNvSpPr>
          <p:nvPr/>
        </p:nvSpPr>
        <p:spPr bwMode="auto">
          <a:xfrm>
            <a:off x="17716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0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0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9" name="Freeform 715">
            <a:extLst>
              <a:ext uri="{FF2B5EF4-FFF2-40B4-BE49-F238E27FC236}">
                <a16:creationId xmlns:a16="http://schemas.microsoft.com/office/drawing/2014/main" id="{29863738-DC07-5D10-DFFE-350C7C4DAB31}"/>
              </a:ext>
            </a:extLst>
          </p:cNvPr>
          <p:cNvSpPr>
            <a:spLocks/>
          </p:cNvSpPr>
          <p:nvPr/>
        </p:nvSpPr>
        <p:spPr bwMode="auto">
          <a:xfrm>
            <a:off x="195580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0" name="Freeform 716">
            <a:extLst>
              <a:ext uri="{FF2B5EF4-FFF2-40B4-BE49-F238E27FC236}">
                <a16:creationId xmlns:a16="http://schemas.microsoft.com/office/drawing/2014/main" id="{4E62D3D9-BF0B-97B9-D3C2-1DBCAC4B515D}"/>
              </a:ext>
            </a:extLst>
          </p:cNvPr>
          <p:cNvSpPr>
            <a:spLocks/>
          </p:cNvSpPr>
          <p:nvPr/>
        </p:nvSpPr>
        <p:spPr bwMode="auto">
          <a:xfrm>
            <a:off x="195580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1" name="Freeform 717">
            <a:extLst>
              <a:ext uri="{FF2B5EF4-FFF2-40B4-BE49-F238E27FC236}">
                <a16:creationId xmlns:a16="http://schemas.microsoft.com/office/drawing/2014/main" id="{8337DC2C-E69A-1EE0-16F5-CB8F8AC93CD5}"/>
              </a:ext>
            </a:extLst>
          </p:cNvPr>
          <p:cNvSpPr>
            <a:spLocks/>
          </p:cNvSpPr>
          <p:nvPr/>
        </p:nvSpPr>
        <p:spPr bwMode="auto">
          <a:xfrm>
            <a:off x="2171702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2" name="Freeform 718">
            <a:extLst>
              <a:ext uri="{FF2B5EF4-FFF2-40B4-BE49-F238E27FC236}">
                <a16:creationId xmlns:a16="http://schemas.microsoft.com/office/drawing/2014/main" id="{8FA83FB8-B014-90AD-47FA-C7D3A8883831}"/>
              </a:ext>
            </a:extLst>
          </p:cNvPr>
          <p:cNvSpPr>
            <a:spLocks/>
          </p:cNvSpPr>
          <p:nvPr/>
        </p:nvSpPr>
        <p:spPr bwMode="auto">
          <a:xfrm>
            <a:off x="2171702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3" name="Freeform 719">
            <a:extLst>
              <a:ext uri="{FF2B5EF4-FFF2-40B4-BE49-F238E27FC236}">
                <a16:creationId xmlns:a16="http://schemas.microsoft.com/office/drawing/2014/main" id="{5D9976F7-F0B3-6BA4-B92D-51047CC70308}"/>
              </a:ext>
            </a:extLst>
          </p:cNvPr>
          <p:cNvSpPr>
            <a:spLocks/>
          </p:cNvSpPr>
          <p:nvPr/>
        </p:nvSpPr>
        <p:spPr bwMode="auto">
          <a:xfrm>
            <a:off x="237278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6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3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3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6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4" name="Freeform 720">
            <a:extLst>
              <a:ext uri="{FF2B5EF4-FFF2-40B4-BE49-F238E27FC236}">
                <a16:creationId xmlns:a16="http://schemas.microsoft.com/office/drawing/2014/main" id="{21AEAC0B-8D41-BFA7-4C00-24950A66D3FF}"/>
              </a:ext>
            </a:extLst>
          </p:cNvPr>
          <p:cNvSpPr>
            <a:spLocks/>
          </p:cNvSpPr>
          <p:nvPr/>
        </p:nvSpPr>
        <p:spPr bwMode="auto">
          <a:xfrm>
            <a:off x="237278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6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3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3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6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5" name="Freeform 721">
            <a:extLst>
              <a:ext uri="{FF2B5EF4-FFF2-40B4-BE49-F238E27FC236}">
                <a16:creationId xmlns:a16="http://schemas.microsoft.com/office/drawing/2014/main" id="{4816828E-0DC1-0BA0-BFF6-F518C3030D39}"/>
              </a:ext>
            </a:extLst>
          </p:cNvPr>
          <p:cNvSpPr>
            <a:spLocks/>
          </p:cNvSpPr>
          <p:nvPr/>
        </p:nvSpPr>
        <p:spPr bwMode="auto">
          <a:xfrm>
            <a:off x="2571752" y="5666317"/>
            <a:ext cx="52917" cy="55033"/>
          </a:xfrm>
          <a:custGeom>
            <a:avLst/>
            <a:gdLst>
              <a:gd name="T0" fmla="*/ 25 w 25"/>
              <a:gd name="T1" fmla="*/ 13 h 26"/>
              <a:gd name="T2" fmla="*/ 25 w 25"/>
              <a:gd name="T3" fmla="*/ 13 h 26"/>
              <a:gd name="T4" fmla="*/ 25 w 25"/>
              <a:gd name="T5" fmla="*/ 19 h 26"/>
              <a:gd name="T6" fmla="*/ 21 w 25"/>
              <a:gd name="T7" fmla="*/ 22 h 26"/>
              <a:gd name="T8" fmla="*/ 17 w 25"/>
              <a:gd name="T9" fmla="*/ 24 h 26"/>
              <a:gd name="T10" fmla="*/ 13 w 25"/>
              <a:gd name="T11" fmla="*/ 26 h 26"/>
              <a:gd name="T12" fmla="*/ 8 w 25"/>
              <a:gd name="T13" fmla="*/ 24 h 26"/>
              <a:gd name="T14" fmla="*/ 4 w 25"/>
              <a:gd name="T15" fmla="*/ 22 h 26"/>
              <a:gd name="T16" fmla="*/ 0 w 25"/>
              <a:gd name="T17" fmla="*/ 19 h 26"/>
              <a:gd name="T18" fmla="*/ 0 w 25"/>
              <a:gd name="T19" fmla="*/ 13 h 26"/>
              <a:gd name="T20" fmla="*/ 0 w 25"/>
              <a:gd name="T21" fmla="*/ 13 h 26"/>
              <a:gd name="T22" fmla="*/ 0 w 25"/>
              <a:gd name="T23" fmla="*/ 7 h 26"/>
              <a:gd name="T24" fmla="*/ 4 w 25"/>
              <a:gd name="T25" fmla="*/ 2 h 26"/>
              <a:gd name="T26" fmla="*/ 8 w 25"/>
              <a:gd name="T27" fmla="*/ 0 h 26"/>
              <a:gd name="T28" fmla="*/ 13 w 25"/>
              <a:gd name="T29" fmla="*/ 0 h 26"/>
              <a:gd name="T30" fmla="*/ 17 w 25"/>
              <a:gd name="T31" fmla="*/ 0 h 26"/>
              <a:gd name="T32" fmla="*/ 21 w 25"/>
              <a:gd name="T33" fmla="*/ 2 h 26"/>
              <a:gd name="T34" fmla="*/ 25 w 25"/>
              <a:gd name="T35" fmla="*/ 7 h 26"/>
              <a:gd name="T36" fmla="*/ 25 w 25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26">
                <a:moveTo>
                  <a:pt x="25" y="13"/>
                </a:moveTo>
                <a:lnTo>
                  <a:pt x="25" y="13"/>
                </a:lnTo>
                <a:lnTo>
                  <a:pt x="25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5" y="7"/>
                </a:lnTo>
                <a:lnTo>
                  <a:pt x="25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6" name="Freeform 722">
            <a:extLst>
              <a:ext uri="{FF2B5EF4-FFF2-40B4-BE49-F238E27FC236}">
                <a16:creationId xmlns:a16="http://schemas.microsoft.com/office/drawing/2014/main" id="{0FD3BFE2-1269-94C3-1D45-60589477091E}"/>
              </a:ext>
            </a:extLst>
          </p:cNvPr>
          <p:cNvSpPr>
            <a:spLocks/>
          </p:cNvSpPr>
          <p:nvPr/>
        </p:nvSpPr>
        <p:spPr bwMode="auto">
          <a:xfrm>
            <a:off x="2571752" y="5666317"/>
            <a:ext cx="52917" cy="55033"/>
          </a:xfrm>
          <a:custGeom>
            <a:avLst/>
            <a:gdLst>
              <a:gd name="T0" fmla="*/ 25 w 25"/>
              <a:gd name="T1" fmla="*/ 13 h 26"/>
              <a:gd name="T2" fmla="*/ 25 w 25"/>
              <a:gd name="T3" fmla="*/ 13 h 26"/>
              <a:gd name="T4" fmla="*/ 25 w 25"/>
              <a:gd name="T5" fmla="*/ 19 h 26"/>
              <a:gd name="T6" fmla="*/ 21 w 25"/>
              <a:gd name="T7" fmla="*/ 22 h 26"/>
              <a:gd name="T8" fmla="*/ 17 w 25"/>
              <a:gd name="T9" fmla="*/ 24 h 26"/>
              <a:gd name="T10" fmla="*/ 13 w 25"/>
              <a:gd name="T11" fmla="*/ 26 h 26"/>
              <a:gd name="T12" fmla="*/ 8 w 25"/>
              <a:gd name="T13" fmla="*/ 24 h 26"/>
              <a:gd name="T14" fmla="*/ 4 w 25"/>
              <a:gd name="T15" fmla="*/ 22 h 26"/>
              <a:gd name="T16" fmla="*/ 0 w 25"/>
              <a:gd name="T17" fmla="*/ 19 h 26"/>
              <a:gd name="T18" fmla="*/ 0 w 25"/>
              <a:gd name="T19" fmla="*/ 13 h 26"/>
              <a:gd name="T20" fmla="*/ 0 w 25"/>
              <a:gd name="T21" fmla="*/ 13 h 26"/>
              <a:gd name="T22" fmla="*/ 0 w 25"/>
              <a:gd name="T23" fmla="*/ 7 h 26"/>
              <a:gd name="T24" fmla="*/ 4 w 25"/>
              <a:gd name="T25" fmla="*/ 2 h 26"/>
              <a:gd name="T26" fmla="*/ 8 w 25"/>
              <a:gd name="T27" fmla="*/ 0 h 26"/>
              <a:gd name="T28" fmla="*/ 13 w 25"/>
              <a:gd name="T29" fmla="*/ 0 h 26"/>
              <a:gd name="T30" fmla="*/ 17 w 25"/>
              <a:gd name="T31" fmla="*/ 0 h 26"/>
              <a:gd name="T32" fmla="*/ 21 w 25"/>
              <a:gd name="T33" fmla="*/ 2 h 26"/>
              <a:gd name="T34" fmla="*/ 25 w 25"/>
              <a:gd name="T35" fmla="*/ 7 h 26"/>
              <a:gd name="T36" fmla="*/ 25 w 25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26">
                <a:moveTo>
                  <a:pt x="25" y="13"/>
                </a:moveTo>
                <a:lnTo>
                  <a:pt x="25" y="13"/>
                </a:lnTo>
                <a:lnTo>
                  <a:pt x="25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5" y="7"/>
                </a:lnTo>
                <a:lnTo>
                  <a:pt x="25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7" name="Freeform 723">
            <a:extLst>
              <a:ext uri="{FF2B5EF4-FFF2-40B4-BE49-F238E27FC236}">
                <a16:creationId xmlns:a16="http://schemas.microsoft.com/office/drawing/2014/main" id="{FAEC2F60-2A42-30B8-F8E8-8E0474656067}"/>
              </a:ext>
            </a:extLst>
          </p:cNvPr>
          <p:cNvSpPr>
            <a:spLocks/>
          </p:cNvSpPr>
          <p:nvPr/>
        </p:nvSpPr>
        <p:spPr bwMode="auto">
          <a:xfrm>
            <a:off x="277283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1 w 24"/>
              <a:gd name="T7" fmla="*/ 22 h 26"/>
              <a:gd name="T8" fmla="*/ 17 w 24"/>
              <a:gd name="T9" fmla="*/ 24 h 26"/>
              <a:gd name="T10" fmla="*/ 11 w 24"/>
              <a:gd name="T11" fmla="*/ 26 h 26"/>
              <a:gd name="T12" fmla="*/ 8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8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1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1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1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8" name="Freeform 724">
            <a:extLst>
              <a:ext uri="{FF2B5EF4-FFF2-40B4-BE49-F238E27FC236}">
                <a16:creationId xmlns:a16="http://schemas.microsoft.com/office/drawing/2014/main" id="{14D53A60-69AE-A787-18DE-05CF1B9906DF}"/>
              </a:ext>
            </a:extLst>
          </p:cNvPr>
          <p:cNvSpPr>
            <a:spLocks/>
          </p:cNvSpPr>
          <p:nvPr/>
        </p:nvSpPr>
        <p:spPr bwMode="auto">
          <a:xfrm>
            <a:off x="277283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1 w 24"/>
              <a:gd name="T7" fmla="*/ 22 h 26"/>
              <a:gd name="T8" fmla="*/ 17 w 24"/>
              <a:gd name="T9" fmla="*/ 24 h 26"/>
              <a:gd name="T10" fmla="*/ 11 w 24"/>
              <a:gd name="T11" fmla="*/ 26 h 26"/>
              <a:gd name="T12" fmla="*/ 8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8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1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1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1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9" name="Freeform 725">
            <a:extLst>
              <a:ext uri="{FF2B5EF4-FFF2-40B4-BE49-F238E27FC236}">
                <a16:creationId xmlns:a16="http://schemas.microsoft.com/office/drawing/2014/main" id="{CB8AEF43-C639-5638-80FD-A311D45F38A6}"/>
              </a:ext>
            </a:extLst>
          </p:cNvPr>
          <p:cNvSpPr>
            <a:spLocks/>
          </p:cNvSpPr>
          <p:nvPr/>
        </p:nvSpPr>
        <p:spPr bwMode="auto">
          <a:xfrm>
            <a:off x="2973919" y="51075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4 h 26"/>
              <a:gd name="T8" fmla="*/ 17 w 24"/>
              <a:gd name="T9" fmla="*/ 26 h 26"/>
              <a:gd name="T10" fmla="*/ 11 w 24"/>
              <a:gd name="T11" fmla="*/ 26 h 26"/>
              <a:gd name="T12" fmla="*/ 7 w 24"/>
              <a:gd name="T13" fmla="*/ 26 h 26"/>
              <a:gd name="T14" fmla="*/ 4 w 24"/>
              <a:gd name="T15" fmla="*/ 24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8 h 26"/>
              <a:gd name="T24" fmla="*/ 4 w 24"/>
              <a:gd name="T25" fmla="*/ 4 h 26"/>
              <a:gd name="T26" fmla="*/ 7 w 24"/>
              <a:gd name="T27" fmla="*/ 2 h 26"/>
              <a:gd name="T28" fmla="*/ 11 w 24"/>
              <a:gd name="T29" fmla="*/ 0 h 26"/>
              <a:gd name="T30" fmla="*/ 17 w 24"/>
              <a:gd name="T31" fmla="*/ 2 h 26"/>
              <a:gd name="T32" fmla="*/ 20 w 24"/>
              <a:gd name="T33" fmla="*/ 4 h 26"/>
              <a:gd name="T34" fmla="*/ 24 w 24"/>
              <a:gd name="T35" fmla="*/ 8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4"/>
                </a:lnTo>
                <a:lnTo>
                  <a:pt x="17" y="26"/>
                </a:lnTo>
                <a:lnTo>
                  <a:pt x="11" y="26"/>
                </a:lnTo>
                <a:lnTo>
                  <a:pt x="7" y="26"/>
                </a:lnTo>
                <a:lnTo>
                  <a:pt x="4" y="24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2"/>
                </a:lnTo>
                <a:lnTo>
                  <a:pt x="11" y="0"/>
                </a:lnTo>
                <a:lnTo>
                  <a:pt x="17" y="2"/>
                </a:lnTo>
                <a:lnTo>
                  <a:pt x="20" y="4"/>
                </a:lnTo>
                <a:lnTo>
                  <a:pt x="24" y="8"/>
                </a:lnTo>
                <a:lnTo>
                  <a:pt x="24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0" name="Freeform 726">
            <a:extLst>
              <a:ext uri="{FF2B5EF4-FFF2-40B4-BE49-F238E27FC236}">
                <a16:creationId xmlns:a16="http://schemas.microsoft.com/office/drawing/2014/main" id="{210B74CD-3F29-78B0-5BC2-A02A0D51D2FB}"/>
              </a:ext>
            </a:extLst>
          </p:cNvPr>
          <p:cNvSpPr>
            <a:spLocks/>
          </p:cNvSpPr>
          <p:nvPr/>
        </p:nvSpPr>
        <p:spPr bwMode="auto">
          <a:xfrm>
            <a:off x="2973919" y="51075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4 h 26"/>
              <a:gd name="T8" fmla="*/ 17 w 24"/>
              <a:gd name="T9" fmla="*/ 26 h 26"/>
              <a:gd name="T10" fmla="*/ 11 w 24"/>
              <a:gd name="T11" fmla="*/ 26 h 26"/>
              <a:gd name="T12" fmla="*/ 7 w 24"/>
              <a:gd name="T13" fmla="*/ 26 h 26"/>
              <a:gd name="T14" fmla="*/ 4 w 24"/>
              <a:gd name="T15" fmla="*/ 24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8 h 26"/>
              <a:gd name="T24" fmla="*/ 4 w 24"/>
              <a:gd name="T25" fmla="*/ 4 h 26"/>
              <a:gd name="T26" fmla="*/ 7 w 24"/>
              <a:gd name="T27" fmla="*/ 2 h 26"/>
              <a:gd name="T28" fmla="*/ 11 w 24"/>
              <a:gd name="T29" fmla="*/ 0 h 26"/>
              <a:gd name="T30" fmla="*/ 17 w 24"/>
              <a:gd name="T31" fmla="*/ 2 h 26"/>
              <a:gd name="T32" fmla="*/ 20 w 24"/>
              <a:gd name="T33" fmla="*/ 4 h 26"/>
              <a:gd name="T34" fmla="*/ 24 w 24"/>
              <a:gd name="T35" fmla="*/ 8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4"/>
                </a:lnTo>
                <a:lnTo>
                  <a:pt x="17" y="26"/>
                </a:lnTo>
                <a:lnTo>
                  <a:pt x="11" y="26"/>
                </a:lnTo>
                <a:lnTo>
                  <a:pt x="7" y="26"/>
                </a:lnTo>
                <a:lnTo>
                  <a:pt x="4" y="24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2"/>
                </a:lnTo>
                <a:lnTo>
                  <a:pt x="11" y="0"/>
                </a:lnTo>
                <a:lnTo>
                  <a:pt x="17" y="2"/>
                </a:lnTo>
                <a:lnTo>
                  <a:pt x="20" y="4"/>
                </a:lnTo>
                <a:lnTo>
                  <a:pt x="24" y="8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1" name="Freeform 727">
            <a:extLst>
              <a:ext uri="{FF2B5EF4-FFF2-40B4-BE49-F238E27FC236}">
                <a16:creationId xmlns:a16="http://schemas.microsoft.com/office/drawing/2014/main" id="{28E4CDC4-6A8D-145E-CE11-BA24FD703F9B}"/>
              </a:ext>
            </a:extLst>
          </p:cNvPr>
          <p:cNvSpPr>
            <a:spLocks/>
          </p:cNvSpPr>
          <p:nvPr/>
        </p:nvSpPr>
        <p:spPr bwMode="auto">
          <a:xfrm>
            <a:off x="3071285" y="49424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4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4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9 w 26"/>
              <a:gd name="T31" fmla="*/ 2 h 26"/>
              <a:gd name="T32" fmla="*/ 23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4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4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9" y="2"/>
                </a:lnTo>
                <a:lnTo>
                  <a:pt x="23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2" name="Freeform 728">
            <a:extLst>
              <a:ext uri="{FF2B5EF4-FFF2-40B4-BE49-F238E27FC236}">
                <a16:creationId xmlns:a16="http://schemas.microsoft.com/office/drawing/2014/main" id="{649C1A60-8F8B-9686-B621-4E9E9F3502D6}"/>
              </a:ext>
            </a:extLst>
          </p:cNvPr>
          <p:cNvSpPr>
            <a:spLocks/>
          </p:cNvSpPr>
          <p:nvPr/>
        </p:nvSpPr>
        <p:spPr bwMode="auto">
          <a:xfrm>
            <a:off x="3071285" y="49424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4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4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9 w 26"/>
              <a:gd name="T31" fmla="*/ 2 h 26"/>
              <a:gd name="T32" fmla="*/ 23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4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4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9" y="2"/>
                </a:lnTo>
                <a:lnTo>
                  <a:pt x="23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3" name="Freeform 729">
            <a:extLst>
              <a:ext uri="{FF2B5EF4-FFF2-40B4-BE49-F238E27FC236}">
                <a16:creationId xmlns:a16="http://schemas.microsoft.com/office/drawing/2014/main" id="{723A090E-2127-3779-FD1D-63DF3A18AA47}"/>
              </a:ext>
            </a:extLst>
          </p:cNvPr>
          <p:cNvSpPr>
            <a:spLocks/>
          </p:cNvSpPr>
          <p:nvPr/>
        </p:nvSpPr>
        <p:spPr bwMode="auto">
          <a:xfrm>
            <a:off x="3272369" y="5437717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1 h 28"/>
              <a:gd name="T6" fmla="*/ 22 w 26"/>
              <a:gd name="T7" fmla="*/ 24 h 28"/>
              <a:gd name="T8" fmla="*/ 19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4 w 26"/>
              <a:gd name="T15" fmla="*/ 24 h 28"/>
              <a:gd name="T16" fmla="*/ 2 w 26"/>
              <a:gd name="T17" fmla="*/ 21 h 28"/>
              <a:gd name="T18" fmla="*/ 0 w 26"/>
              <a:gd name="T19" fmla="*/ 15 h 28"/>
              <a:gd name="T20" fmla="*/ 0 w 26"/>
              <a:gd name="T21" fmla="*/ 15 h 28"/>
              <a:gd name="T22" fmla="*/ 2 w 26"/>
              <a:gd name="T23" fmla="*/ 8 h 28"/>
              <a:gd name="T24" fmla="*/ 4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9 w 26"/>
              <a:gd name="T31" fmla="*/ 2 h 28"/>
              <a:gd name="T32" fmla="*/ 22 w 26"/>
              <a:gd name="T33" fmla="*/ 4 h 28"/>
              <a:gd name="T34" fmla="*/ 24 w 26"/>
              <a:gd name="T35" fmla="*/ 8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1"/>
                </a:lnTo>
                <a:lnTo>
                  <a:pt x="22" y="24"/>
                </a:lnTo>
                <a:lnTo>
                  <a:pt x="19" y="26"/>
                </a:lnTo>
                <a:lnTo>
                  <a:pt x="13" y="28"/>
                </a:lnTo>
                <a:lnTo>
                  <a:pt x="7" y="26"/>
                </a:lnTo>
                <a:lnTo>
                  <a:pt x="4" y="24"/>
                </a:lnTo>
                <a:lnTo>
                  <a:pt x="2" y="21"/>
                </a:lnTo>
                <a:lnTo>
                  <a:pt x="0" y="15"/>
                </a:lnTo>
                <a:lnTo>
                  <a:pt x="0" y="15"/>
                </a:lnTo>
                <a:lnTo>
                  <a:pt x="2" y="8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9" y="2"/>
                </a:lnTo>
                <a:lnTo>
                  <a:pt x="22" y="4"/>
                </a:lnTo>
                <a:lnTo>
                  <a:pt x="24" y="8"/>
                </a:lnTo>
                <a:lnTo>
                  <a:pt x="26" y="15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4" name="Freeform 730">
            <a:extLst>
              <a:ext uri="{FF2B5EF4-FFF2-40B4-BE49-F238E27FC236}">
                <a16:creationId xmlns:a16="http://schemas.microsoft.com/office/drawing/2014/main" id="{B81C5AC0-8EB2-0066-2BAD-E8A7DED14449}"/>
              </a:ext>
            </a:extLst>
          </p:cNvPr>
          <p:cNvSpPr>
            <a:spLocks/>
          </p:cNvSpPr>
          <p:nvPr/>
        </p:nvSpPr>
        <p:spPr bwMode="auto">
          <a:xfrm>
            <a:off x="3272369" y="5437717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1 h 28"/>
              <a:gd name="T6" fmla="*/ 22 w 26"/>
              <a:gd name="T7" fmla="*/ 24 h 28"/>
              <a:gd name="T8" fmla="*/ 19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4 w 26"/>
              <a:gd name="T15" fmla="*/ 24 h 28"/>
              <a:gd name="T16" fmla="*/ 2 w 26"/>
              <a:gd name="T17" fmla="*/ 21 h 28"/>
              <a:gd name="T18" fmla="*/ 0 w 26"/>
              <a:gd name="T19" fmla="*/ 15 h 28"/>
              <a:gd name="T20" fmla="*/ 0 w 26"/>
              <a:gd name="T21" fmla="*/ 15 h 28"/>
              <a:gd name="T22" fmla="*/ 2 w 26"/>
              <a:gd name="T23" fmla="*/ 8 h 28"/>
              <a:gd name="T24" fmla="*/ 4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9 w 26"/>
              <a:gd name="T31" fmla="*/ 2 h 28"/>
              <a:gd name="T32" fmla="*/ 22 w 26"/>
              <a:gd name="T33" fmla="*/ 4 h 28"/>
              <a:gd name="T34" fmla="*/ 24 w 26"/>
              <a:gd name="T35" fmla="*/ 8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1"/>
                </a:lnTo>
                <a:lnTo>
                  <a:pt x="22" y="24"/>
                </a:lnTo>
                <a:lnTo>
                  <a:pt x="19" y="26"/>
                </a:lnTo>
                <a:lnTo>
                  <a:pt x="13" y="28"/>
                </a:lnTo>
                <a:lnTo>
                  <a:pt x="7" y="26"/>
                </a:lnTo>
                <a:lnTo>
                  <a:pt x="4" y="24"/>
                </a:lnTo>
                <a:lnTo>
                  <a:pt x="2" y="21"/>
                </a:lnTo>
                <a:lnTo>
                  <a:pt x="0" y="15"/>
                </a:lnTo>
                <a:lnTo>
                  <a:pt x="0" y="15"/>
                </a:lnTo>
                <a:lnTo>
                  <a:pt x="2" y="8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9" y="2"/>
                </a:lnTo>
                <a:lnTo>
                  <a:pt x="22" y="4"/>
                </a:lnTo>
                <a:lnTo>
                  <a:pt x="24" y="8"/>
                </a:lnTo>
                <a:lnTo>
                  <a:pt x="26" y="15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5" name="Freeform 731">
            <a:extLst>
              <a:ext uri="{FF2B5EF4-FFF2-40B4-BE49-F238E27FC236}">
                <a16:creationId xmlns:a16="http://schemas.microsoft.com/office/drawing/2014/main" id="{C0572CFA-ECEC-68D3-4FF4-55676F4A373A}"/>
              </a:ext>
            </a:extLst>
          </p:cNvPr>
          <p:cNvSpPr>
            <a:spLocks/>
          </p:cNvSpPr>
          <p:nvPr/>
        </p:nvSpPr>
        <p:spPr bwMode="auto">
          <a:xfrm>
            <a:off x="3456519" y="54969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3 w 26"/>
              <a:gd name="T7" fmla="*/ 22 h 26"/>
              <a:gd name="T8" fmla="*/ 19 w 26"/>
              <a:gd name="T9" fmla="*/ 26 h 26"/>
              <a:gd name="T10" fmla="*/ 13 w 26"/>
              <a:gd name="T11" fmla="*/ 26 h 26"/>
              <a:gd name="T12" fmla="*/ 10 w 26"/>
              <a:gd name="T13" fmla="*/ 26 h 26"/>
              <a:gd name="T14" fmla="*/ 6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6 w 26"/>
              <a:gd name="T25" fmla="*/ 4 h 26"/>
              <a:gd name="T26" fmla="*/ 10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4 h 26"/>
              <a:gd name="T34" fmla="*/ 26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3" y="22"/>
                </a:lnTo>
                <a:lnTo>
                  <a:pt x="19" y="26"/>
                </a:lnTo>
                <a:lnTo>
                  <a:pt x="13" y="26"/>
                </a:lnTo>
                <a:lnTo>
                  <a:pt x="10" y="26"/>
                </a:lnTo>
                <a:lnTo>
                  <a:pt x="6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6" y="4"/>
                </a:lnTo>
                <a:lnTo>
                  <a:pt x="10" y="0"/>
                </a:lnTo>
                <a:lnTo>
                  <a:pt x="13" y="0"/>
                </a:lnTo>
                <a:lnTo>
                  <a:pt x="19" y="0"/>
                </a:lnTo>
                <a:lnTo>
                  <a:pt x="23" y="4"/>
                </a:lnTo>
                <a:lnTo>
                  <a:pt x="26" y="8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6" name="Freeform 732">
            <a:extLst>
              <a:ext uri="{FF2B5EF4-FFF2-40B4-BE49-F238E27FC236}">
                <a16:creationId xmlns:a16="http://schemas.microsoft.com/office/drawing/2014/main" id="{9595CF70-99E4-2FE4-645A-D2B0F717226F}"/>
              </a:ext>
            </a:extLst>
          </p:cNvPr>
          <p:cNvSpPr>
            <a:spLocks/>
          </p:cNvSpPr>
          <p:nvPr/>
        </p:nvSpPr>
        <p:spPr bwMode="auto">
          <a:xfrm>
            <a:off x="3456519" y="54969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3 w 26"/>
              <a:gd name="T7" fmla="*/ 22 h 26"/>
              <a:gd name="T8" fmla="*/ 19 w 26"/>
              <a:gd name="T9" fmla="*/ 26 h 26"/>
              <a:gd name="T10" fmla="*/ 13 w 26"/>
              <a:gd name="T11" fmla="*/ 26 h 26"/>
              <a:gd name="T12" fmla="*/ 10 w 26"/>
              <a:gd name="T13" fmla="*/ 26 h 26"/>
              <a:gd name="T14" fmla="*/ 6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6 w 26"/>
              <a:gd name="T25" fmla="*/ 4 h 26"/>
              <a:gd name="T26" fmla="*/ 10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4 h 26"/>
              <a:gd name="T34" fmla="*/ 26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3" y="22"/>
                </a:lnTo>
                <a:lnTo>
                  <a:pt x="19" y="26"/>
                </a:lnTo>
                <a:lnTo>
                  <a:pt x="13" y="26"/>
                </a:lnTo>
                <a:lnTo>
                  <a:pt x="10" y="26"/>
                </a:lnTo>
                <a:lnTo>
                  <a:pt x="6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6" y="4"/>
                </a:lnTo>
                <a:lnTo>
                  <a:pt x="10" y="0"/>
                </a:lnTo>
                <a:lnTo>
                  <a:pt x="13" y="0"/>
                </a:lnTo>
                <a:lnTo>
                  <a:pt x="19" y="0"/>
                </a:lnTo>
                <a:lnTo>
                  <a:pt x="23" y="4"/>
                </a:lnTo>
                <a:lnTo>
                  <a:pt x="26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7" name="Freeform 733">
            <a:extLst>
              <a:ext uri="{FF2B5EF4-FFF2-40B4-BE49-F238E27FC236}">
                <a16:creationId xmlns:a16="http://schemas.microsoft.com/office/drawing/2014/main" id="{BD1004CF-AC7A-81B6-D481-3B6A1AF6BFA8}"/>
              </a:ext>
            </a:extLst>
          </p:cNvPr>
          <p:cNvSpPr>
            <a:spLocks/>
          </p:cNvSpPr>
          <p:nvPr/>
        </p:nvSpPr>
        <p:spPr bwMode="auto">
          <a:xfrm>
            <a:off x="367241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9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8" name="Freeform 734">
            <a:extLst>
              <a:ext uri="{FF2B5EF4-FFF2-40B4-BE49-F238E27FC236}">
                <a16:creationId xmlns:a16="http://schemas.microsoft.com/office/drawing/2014/main" id="{CFE1C59E-7D47-2C70-D6D9-4EE869054AF7}"/>
              </a:ext>
            </a:extLst>
          </p:cNvPr>
          <p:cNvSpPr>
            <a:spLocks/>
          </p:cNvSpPr>
          <p:nvPr/>
        </p:nvSpPr>
        <p:spPr bwMode="auto">
          <a:xfrm>
            <a:off x="367241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9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9" name="Freeform 735">
            <a:extLst>
              <a:ext uri="{FF2B5EF4-FFF2-40B4-BE49-F238E27FC236}">
                <a16:creationId xmlns:a16="http://schemas.microsoft.com/office/drawing/2014/main" id="{3781D193-D785-94E0-67FD-FBEEA01ADF91}"/>
              </a:ext>
            </a:extLst>
          </p:cNvPr>
          <p:cNvSpPr>
            <a:spLocks/>
          </p:cNvSpPr>
          <p:nvPr/>
        </p:nvSpPr>
        <p:spPr bwMode="auto">
          <a:xfrm>
            <a:off x="38586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2 w 26"/>
              <a:gd name="T7" fmla="*/ 22 h 26"/>
              <a:gd name="T8" fmla="*/ 18 w 26"/>
              <a:gd name="T9" fmla="*/ 24 h 26"/>
              <a:gd name="T10" fmla="*/ 13 w 26"/>
              <a:gd name="T11" fmla="*/ 26 h 26"/>
              <a:gd name="T12" fmla="*/ 9 w 26"/>
              <a:gd name="T13" fmla="*/ 24 h 26"/>
              <a:gd name="T14" fmla="*/ 5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5 w 26"/>
              <a:gd name="T25" fmla="*/ 2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2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2" y="22"/>
                </a:lnTo>
                <a:lnTo>
                  <a:pt x="18" y="24"/>
                </a:lnTo>
                <a:lnTo>
                  <a:pt x="13" y="26"/>
                </a:lnTo>
                <a:lnTo>
                  <a:pt x="9" y="24"/>
                </a:lnTo>
                <a:lnTo>
                  <a:pt x="5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5" y="2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2"/>
                </a:lnTo>
                <a:lnTo>
                  <a:pt x="26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0" name="Freeform 736">
            <a:extLst>
              <a:ext uri="{FF2B5EF4-FFF2-40B4-BE49-F238E27FC236}">
                <a16:creationId xmlns:a16="http://schemas.microsoft.com/office/drawing/2014/main" id="{19AC88CA-403A-EB2B-E895-8803710C487D}"/>
              </a:ext>
            </a:extLst>
          </p:cNvPr>
          <p:cNvSpPr>
            <a:spLocks/>
          </p:cNvSpPr>
          <p:nvPr/>
        </p:nvSpPr>
        <p:spPr bwMode="auto">
          <a:xfrm>
            <a:off x="38586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2 w 26"/>
              <a:gd name="T7" fmla="*/ 22 h 26"/>
              <a:gd name="T8" fmla="*/ 18 w 26"/>
              <a:gd name="T9" fmla="*/ 24 h 26"/>
              <a:gd name="T10" fmla="*/ 13 w 26"/>
              <a:gd name="T11" fmla="*/ 26 h 26"/>
              <a:gd name="T12" fmla="*/ 9 w 26"/>
              <a:gd name="T13" fmla="*/ 24 h 26"/>
              <a:gd name="T14" fmla="*/ 5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5 w 26"/>
              <a:gd name="T25" fmla="*/ 2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2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2" y="22"/>
                </a:lnTo>
                <a:lnTo>
                  <a:pt x="18" y="24"/>
                </a:lnTo>
                <a:lnTo>
                  <a:pt x="13" y="26"/>
                </a:lnTo>
                <a:lnTo>
                  <a:pt x="9" y="24"/>
                </a:lnTo>
                <a:lnTo>
                  <a:pt x="5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5" y="2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2"/>
                </a:lnTo>
                <a:lnTo>
                  <a:pt x="26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1" name="Freeform 737">
            <a:extLst>
              <a:ext uri="{FF2B5EF4-FFF2-40B4-BE49-F238E27FC236}">
                <a16:creationId xmlns:a16="http://schemas.microsoft.com/office/drawing/2014/main" id="{3BAE75CE-2EB2-3BCE-1917-CC54265BBF8A}"/>
              </a:ext>
            </a:extLst>
          </p:cNvPr>
          <p:cNvSpPr>
            <a:spLocks/>
          </p:cNvSpPr>
          <p:nvPr/>
        </p:nvSpPr>
        <p:spPr bwMode="auto">
          <a:xfrm>
            <a:off x="4074585" y="5437717"/>
            <a:ext cx="55033" cy="59267"/>
          </a:xfrm>
          <a:custGeom>
            <a:avLst/>
            <a:gdLst>
              <a:gd name="T0" fmla="*/ 26 w 26"/>
              <a:gd name="T1" fmla="*/ 13 h 28"/>
              <a:gd name="T2" fmla="*/ 26 w 26"/>
              <a:gd name="T3" fmla="*/ 13 h 28"/>
              <a:gd name="T4" fmla="*/ 24 w 26"/>
              <a:gd name="T5" fmla="*/ 21 h 28"/>
              <a:gd name="T6" fmla="*/ 22 w 26"/>
              <a:gd name="T7" fmla="*/ 24 h 28"/>
              <a:gd name="T8" fmla="*/ 17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4 w 26"/>
              <a:gd name="T15" fmla="*/ 24 h 28"/>
              <a:gd name="T16" fmla="*/ 2 w 26"/>
              <a:gd name="T17" fmla="*/ 21 h 28"/>
              <a:gd name="T18" fmla="*/ 0 w 26"/>
              <a:gd name="T19" fmla="*/ 13 h 28"/>
              <a:gd name="T20" fmla="*/ 0 w 26"/>
              <a:gd name="T21" fmla="*/ 13 h 28"/>
              <a:gd name="T22" fmla="*/ 2 w 26"/>
              <a:gd name="T23" fmla="*/ 8 h 28"/>
              <a:gd name="T24" fmla="*/ 4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7 w 26"/>
              <a:gd name="T31" fmla="*/ 2 h 28"/>
              <a:gd name="T32" fmla="*/ 22 w 26"/>
              <a:gd name="T33" fmla="*/ 4 h 28"/>
              <a:gd name="T34" fmla="*/ 24 w 26"/>
              <a:gd name="T35" fmla="*/ 8 h 28"/>
              <a:gd name="T36" fmla="*/ 26 w 26"/>
              <a:gd name="T37" fmla="*/ 1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3"/>
                </a:moveTo>
                <a:lnTo>
                  <a:pt x="26" y="13"/>
                </a:lnTo>
                <a:lnTo>
                  <a:pt x="24" y="21"/>
                </a:lnTo>
                <a:lnTo>
                  <a:pt x="22" y="24"/>
                </a:lnTo>
                <a:lnTo>
                  <a:pt x="17" y="26"/>
                </a:lnTo>
                <a:lnTo>
                  <a:pt x="13" y="28"/>
                </a:lnTo>
                <a:lnTo>
                  <a:pt x="7" y="26"/>
                </a:lnTo>
                <a:lnTo>
                  <a:pt x="4" y="24"/>
                </a:lnTo>
                <a:lnTo>
                  <a:pt x="2" y="21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2" name="Freeform 738">
            <a:extLst>
              <a:ext uri="{FF2B5EF4-FFF2-40B4-BE49-F238E27FC236}">
                <a16:creationId xmlns:a16="http://schemas.microsoft.com/office/drawing/2014/main" id="{E48AD197-1585-5201-26E9-DA90FEBD1F8B}"/>
              </a:ext>
            </a:extLst>
          </p:cNvPr>
          <p:cNvSpPr>
            <a:spLocks/>
          </p:cNvSpPr>
          <p:nvPr/>
        </p:nvSpPr>
        <p:spPr bwMode="auto">
          <a:xfrm>
            <a:off x="4074585" y="5437717"/>
            <a:ext cx="55033" cy="59267"/>
          </a:xfrm>
          <a:custGeom>
            <a:avLst/>
            <a:gdLst>
              <a:gd name="T0" fmla="*/ 26 w 26"/>
              <a:gd name="T1" fmla="*/ 13 h 28"/>
              <a:gd name="T2" fmla="*/ 26 w 26"/>
              <a:gd name="T3" fmla="*/ 13 h 28"/>
              <a:gd name="T4" fmla="*/ 24 w 26"/>
              <a:gd name="T5" fmla="*/ 21 h 28"/>
              <a:gd name="T6" fmla="*/ 22 w 26"/>
              <a:gd name="T7" fmla="*/ 24 h 28"/>
              <a:gd name="T8" fmla="*/ 17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4 w 26"/>
              <a:gd name="T15" fmla="*/ 24 h 28"/>
              <a:gd name="T16" fmla="*/ 2 w 26"/>
              <a:gd name="T17" fmla="*/ 21 h 28"/>
              <a:gd name="T18" fmla="*/ 0 w 26"/>
              <a:gd name="T19" fmla="*/ 13 h 28"/>
              <a:gd name="T20" fmla="*/ 0 w 26"/>
              <a:gd name="T21" fmla="*/ 13 h 28"/>
              <a:gd name="T22" fmla="*/ 2 w 26"/>
              <a:gd name="T23" fmla="*/ 8 h 28"/>
              <a:gd name="T24" fmla="*/ 4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7 w 26"/>
              <a:gd name="T31" fmla="*/ 2 h 28"/>
              <a:gd name="T32" fmla="*/ 22 w 26"/>
              <a:gd name="T33" fmla="*/ 4 h 28"/>
              <a:gd name="T34" fmla="*/ 24 w 26"/>
              <a:gd name="T35" fmla="*/ 8 h 28"/>
              <a:gd name="T36" fmla="*/ 26 w 26"/>
              <a:gd name="T37" fmla="*/ 1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3"/>
                </a:moveTo>
                <a:lnTo>
                  <a:pt x="26" y="13"/>
                </a:lnTo>
                <a:lnTo>
                  <a:pt x="24" y="21"/>
                </a:lnTo>
                <a:lnTo>
                  <a:pt x="22" y="24"/>
                </a:lnTo>
                <a:lnTo>
                  <a:pt x="17" y="26"/>
                </a:lnTo>
                <a:lnTo>
                  <a:pt x="13" y="28"/>
                </a:lnTo>
                <a:lnTo>
                  <a:pt x="7" y="26"/>
                </a:lnTo>
                <a:lnTo>
                  <a:pt x="4" y="24"/>
                </a:lnTo>
                <a:lnTo>
                  <a:pt x="2" y="21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3" name="Freeform 739">
            <a:extLst>
              <a:ext uri="{FF2B5EF4-FFF2-40B4-BE49-F238E27FC236}">
                <a16:creationId xmlns:a16="http://schemas.microsoft.com/office/drawing/2014/main" id="{E9CE8DBA-4959-8CEA-4A2F-4E58A9C30456}"/>
              </a:ext>
            </a:extLst>
          </p:cNvPr>
          <p:cNvSpPr>
            <a:spLocks/>
          </p:cNvSpPr>
          <p:nvPr/>
        </p:nvSpPr>
        <p:spPr bwMode="auto">
          <a:xfrm>
            <a:off x="42756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4" name="Freeform 740">
            <a:extLst>
              <a:ext uri="{FF2B5EF4-FFF2-40B4-BE49-F238E27FC236}">
                <a16:creationId xmlns:a16="http://schemas.microsoft.com/office/drawing/2014/main" id="{7DA15B7C-D5B1-8A8B-EC97-070852D54058}"/>
              </a:ext>
            </a:extLst>
          </p:cNvPr>
          <p:cNvSpPr>
            <a:spLocks/>
          </p:cNvSpPr>
          <p:nvPr/>
        </p:nvSpPr>
        <p:spPr bwMode="auto">
          <a:xfrm>
            <a:off x="42756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5" name="Freeform 741">
            <a:extLst>
              <a:ext uri="{FF2B5EF4-FFF2-40B4-BE49-F238E27FC236}">
                <a16:creationId xmlns:a16="http://schemas.microsoft.com/office/drawing/2014/main" id="{FFBCAE7F-FBDC-7042-441F-897E2C7D8478}"/>
              </a:ext>
            </a:extLst>
          </p:cNvPr>
          <p:cNvSpPr>
            <a:spLocks/>
          </p:cNvSpPr>
          <p:nvPr/>
        </p:nvSpPr>
        <p:spPr bwMode="auto">
          <a:xfrm>
            <a:off x="44746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6" name="Freeform 742">
            <a:extLst>
              <a:ext uri="{FF2B5EF4-FFF2-40B4-BE49-F238E27FC236}">
                <a16:creationId xmlns:a16="http://schemas.microsoft.com/office/drawing/2014/main" id="{9E4D2F3E-72C1-3173-F36C-28460E23A8FB}"/>
              </a:ext>
            </a:extLst>
          </p:cNvPr>
          <p:cNvSpPr>
            <a:spLocks/>
          </p:cNvSpPr>
          <p:nvPr/>
        </p:nvSpPr>
        <p:spPr bwMode="auto">
          <a:xfrm>
            <a:off x="44746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7" name="Freeform 743">
            <a:extLst>
              <a:ext uri="{FF2B5EF4-FFF2-40B4-BE49-F238E27FC236}">
                <a16:creationId xmlns:a16="http://schemas.microsoft.com/office/drawing/2014/main" id="{2188F769-6722-1748-90D4-2EB104135B64}"/>
              </a:ext>
            </a:extLst>
          </p:cNvPr>
          <p:cNvSpPr>
            <a:spLocks/>
          </p:cNvSpPr>
          <p:nvPr/>
        </p:nvSpPr>
        <p:spPr bwMode="auto">
          <a:xfrm>
            <a:off x="467571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8" name="Freeform 744">
            <a:extLst>
              <a:ext uri="{FF2B5EF4-FFF2-40B4-BE49-F238E27FC236}">
                <a16:creationId xmlns:a16="http://schemas.microsoft.com/office/drawing/2014/main" id="{31D366D9-D4AF-3491-3EC4-37E6EE5EEA74}"/>
              </a:ext>
            </a:extLst>
          </p:cNvPr>
          <p:cNvSpPr>
            <a:spLocks/>
          </p:cNvSpPr>
          <p:nvPr/>
        </p:nvSpPr>
        <p:spPr bwMode="auto">
          <a:xfrm>
            <a:off x="467571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9" name="Freeform 745">
            <a:extLst>
              <a:ext uri="{FF2B5EF4-FFF2-40B4-BE49-F238E27FC236}">
                <a16:creationId xmlns:a16="http://schemas.microsoft.com/office/drawing/2014/main" id="{67E338B6-42AC-F377-E5DE-5CD40CB1CA2D}"/>
              </a:ext>
            </a:extLst>
          </p:cNvPr>
          <p:cNvSpPr>
            <a:spLocks/>
          </p:cNvSpPr>
          <p:nvPr/>
        </p:nvSpPr>
        <p:spPr bwMode="auto">
          <a:xfrm>
            <a:off x="487680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0" name="Freeform 746">
            <a:extLst>
              <a:ext uri="{FF2B5EF4-FFF2-40B4-BE49-F238E27FC236}">
                <a16:creationId xmlns:a16="http://schemas.microsoft.com/office/drawing/2014/main" id="{E497189B-1497-83E8-D5F3-3591B6BE24FA}"/>
              </a:ext>
            </a:extLst>
          </p:cNvPr>
          <p:cNvSpPr>
            <a:spLocks/>
          </p:cNvSpPr>
          <p:nvPr/>
        </p:nvSpPr>
        <p:spPr bwMode="auto">
          <a:xfrm>
            <a:off x="487680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1" name="Freeform 747">
            <a:extLst>
              <a:ext uri="{FF2B5EF4-FFF2-40B4-BE49-F238E27FC236}">
                <a16:creationId xmlns:a16="http://schemas.microsoft.com/office/drawing/2014/main" id="{D9C55B40-403F-A74E-C125-4B53FEF0FBCD}"/>
              </a:ext>
            </a:extLst>
          </p:cNvPr>
          <p:cNvSpPr>
            <a:spLocks/>
          </p:cNvSpPr>
          <p:nvPr/>
        </p:nvSpPr>
        <p:spPr bwMode="auto">
          <a:xfrm>
            <a:off x="50778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1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1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1" y="19"/>
                </a:lnTo>
                <a:lnTo>
                  <a:pt x="0" y="13"/>
                </a:lnTo>
                <a:lnTo>
                  <a:pt x="0" y="13"/>
                </a:lnTo>
                <a:lnTo>
                  <a:pt x="1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2" name="Freeform 748">
            <a:extLst>
              <a:ext uri="{FF2B5EF4-FFF2-40B4-BE49-F238E27FC236}">
                <a16:creationId xmlns:a16="http://schemas.microsoft.com/office/drawing/2014/main" id="{5372486E-B31E-9C2C-5080-4E011F17B29F}"/>
              </a:ext>
            </a:extLst>
          </p:cNvPr>
          <p:cNvSpPr>
            <a:spLocks/>
          </p:cNvSpPr>
          <p:nvPr/>
        </p:nvSpPr>
        <p:spPr bwMode="auto">
          <a:xfrm>
            <a:off x="50778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1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1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1" y="19"/>
                </a:lnTo>
                <a:lnTo>
                  <a:pt x="0" y="13"/>
                </a:lnTo>
                <a:lnTo>
                  <a:pt x="0" y="13"/>
                </a:lnTo>
                <a:lnTo>
                  <a:pt x="1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3" name="Freeform 749">
            <a:extLst>
              <a:ext uri="{FF2B5EF4-FFF2-40B4-BE49-F238E27FC236}">
                <a16:creationId xmlns:a16="http://schemas.microsoft.com/office/drawing/2014/main" id="{FC861A75-A4C4-9A3B-3BA6-800184A4448A}"/>
              </a:ext>
            </a:extLst>
          </p:cNvPr>
          <p:cNvSpPr>
            <a:spLocks/>
          </p:cNvSpPr>
          <p:nvPr/>
        </p:nvSpPr>
        <p:spPr bwMode="auto">
          <a:xfrm>
            <a:off x="52768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4" name="Freeform 750">
            <a:extLst>
              <a:ext uri="{FF2B5EF4-FFF2-40B4-BE49-F238E27FC236}">
                <a16:creationId xmlns:a16="http://schemas.microsoft.com/office/drawing/2014/main" id="{AD3E554E-FAF0-0FC4-7BF4-F18B96DFB938}"/>
              </a:ext>
            </a:extLst>
          </p:cNvPr>
          <p:cNvSpPr>
            <a:spLocks/>
          </p:cNvSpPr>
          <p:nvPr/>
        </p:nvSpPr>
        <p:spPr bwMode="auto">
          <a:xfrm>
            <a:off x="52768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5" name="Freeform 751">
            <a:extLst>
              <a:ext uri="{FF2B5EF4-FFF2-40B4-BE49-F238E27FC236}">
                <a16:creationId xmlns:a16="http://schemas.microsoft.com/office/drawing/2014/main" id="{698C9D5D-6AB1-7474-2CB7-1E3AA63612F7}"/>
              </a:ext>
            </a:extLst>
          </p:cNvPr>
          <p:cNvSpPr>
            <a:spLocks/>
          </p:cNvSpPr>
          <p:nvPr/>
        </p:nvSpPr>
        <p:spPr bwMode="auto">
          <a:xfrm>
            <a:off x="54779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6" name="Freeform 752">
            <a:extLst>
              <a:ext uri="{FF2B5EF4-FFF2-40B4-BE49-F238E27FC236}">
                <a16:creationId xmlns:a16="http://schemas.microsoft.com/office/drawing/2014/main" id="{BE920A09-BED9-DC33-645B-320CBE11CFB1}"/>
              </a:ext>
            </a:extLst>
          </p:cNvPr>
          <p:cNvSpPr>
            <a:spLocks/>
          </p:cNvSpPr>
          <p:nvPr/>
        </p:nvSpPr>
        <p:spPr bwMode="auto">
          <a:xfrm>
            <a:off x="54779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7" name="Freeform 753">
            <a:extLst>
              <a:ext uri="{FF2B5EF4-FFF2-40B4-BE49-F238E27FC236}">
                <a16:creationId xmlns:a16="http://schemas.microsoft.com/office/drawing/2014/main" id="{87A3BE6B-C44B-246E-0469-8BAA14EA5E35}"/>
              </a:ext>
            </a:extLst>
          </p:cNvPr>
          <p:cNvSpPr>
            <a:spLocks/>
          </p:cNvSpPr>
          <p:nvPr/>
        </p:nvSpPr>
        <p:spPr bwMode="auto">
          <a:xfrm>
            <a:off x="567901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8" name="Freeform 754">
            <a:extLst>
              <a:ext uri="{FF2B5EF4-FFF2-40B4-BE49-F238E27FC236}">
                <a16:creationId xmlns:a16="http://schemas.microsoft.com/office/drawing/2014/main" id="{EB91CBA7-9AA7-AF1F-C5B7-324551B7F3F4}"/>
              </a:ext>
            </a:extLst>
          </p:cNvPr>
          <p:cNvSpPr>
            <a:spLocks/>
          </p:cNvSpPr>
          <p:nvPr/>
        </p:nvSpPr>
        <p:spPr bwMode="auto">
          <a:xfrm>
            <a:off x="567901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9" name="Freeform 755">
            <a:extLst>
              <a:ext uri="{FF2B5EF4-FFF2-40B4-BE49-F238E27FC236}">
                <a16:creationId xmlns:a16="http://schemas.microsoft.com/office/drawing/2014/main" id="{00CF20D1-54F6-EB90-7478-9C63853A3B4F}"/>
              </a:ext>
            </a:extLst>
          </p:cNvPr>
          <p:cNvSpPr>
            <a:spLocks/>
          </p:cNvSpPr>
          <p:nvPr/>
        </p:nvSpPr>
        <p:spPr bwMode="auto">
          <a:xfrm>
            <a:off x="5877986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0" name="Freeform 756">
            <a:extLst>
              <a:ext uri="{FF2B5EF4-FFF2-40B4-BE49-F238E27FC236}">
                <a16:creationId xmlns:a16="http://schemas.microsoft.com/office/drawing/2014/main" id="{D099B28C-A338-4347-6F64-090A03FC1E5F}"/>
              </a:ext>
            </a:extLst>
          </p:cNvPr>
          <p:cNvSpPr>
            <a:spLocks/>
          </p:cNvSpPr>
          <p:nvPr/>
        </p:nvSpPr>
        <p:spPr bwMode="auto">
          <a:xfrm>
            <a:off x="5877986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1" name="Freeform 757">
            <a:extLst>
              <a:ext uri="{FF2B5EF4-FFF2-40B4-BE49-F238E27FC236}">
                <a16:creationId xmlns:a16="http://schemas.microsoft.com/office/drawing/2014/main" id="{A5C3730A-428F-F127-9B7B-D54F0ABD4627}"/>
              </a:ext>
            </a:extLst>
          </p:cNvPr>
          <p:cNvSpPr>
            <a:spLocks/>
          </p:cNvSpPr>
          <p:nvPr/>
        </p:nvSpPr>
        <p:spPr bwMode="auto">
          <a:xfrm>
            <a:off x="59774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2 w 26"/>
              <a:gd name="T7" fmla="*/ 22 h 26"/>
              <a:gd name="T8" fmla="*/ 18 w 26"/>
              <a:gd name="T9" fmla="*/ 24 h 26"/>
              <a:gd name="T10" fmla="*/ 13 w 26"/>
              <a:gd name="T11" fmla="*/ 26 h 26"/>
              <a:gd name="T12" fmla="*/ 9 w 26"/>
              <a:gd name="T13" fmla="*/ 24 h 26"/>
              <a:gd name="T14" fmla="*/ 5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5 w 26"/>
              <a:gd name="T25" fmla="*/ 2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2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2" y="22"/>
                </a:lnTo>
                <a:lnTo>
                  <a:pt x="18" y="24"/>
                </a:lnTo>
                <a:lnTo>
                  <a:pt x="13" y="26"/>
                </a:lnTo>
                <a:lnTo>
                  <a:pt x="9" y="24"/>
                </a:lnTo>
                <a:lnTo>
                  <a:pt x="5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5" y="2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2"/>
                </a:lnTo>
                <a:lnTo>
                  <a:pt x="26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2" name="Freeform 758">
            <a:extLst>
              <a:ext uri="{FF2B5EF4-FFF2-40B4-BE49-F238E27FC236}">
                <a16:creationId xmlns:a16="http://schemas.microsoft.com/office/drawing/2014/main" id="{D2508D5E-2C3B-6566-7C4A-99792BCE83AA}"/>
              </a:ext>
            </a:extLst>
          </p:cNvPr>
          <p:cNvSpPr>
            <a:spLocks/>
          </p:cNvSpPr>
          <p:nvPr/>
        </p:nvSpPr>
        <p:spPr bwMode="auto">
          <a:xfrm>
            <a:off x="59774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2 w 26"/>
              <a:gd name="T7" fmla="*/ 22 h 26"/>
              <a:gd name="T8" fmla="*/ 18 w 26"/>
              <a:gd name="T9" fmla="*/ 24 h 26"/>
              <a:gd name="T10" fmla="*/ 13 w 26"/>
              <a:gd name="T11" fmla="*/ 26 h 26"/>
              <a:gd name="T12" fmla="*/ 9 w 26"/>
              <a:gd name="T13" fmla="*/ 24 h 26"/>
              <a:gd name="T14" fmla="*/ 5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5 w 26"/>
              <a:gd name="T25" fmla="*/ 2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2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2" y="22"/>
                </a:lnTo>
                <a:lnTo>
                  <a:pt x="18" y="24"/>
                </a:lnTo>
                <a:lnTo>
                  <a:pt x="13" y="26"/>
                </a:lnTo>
                <a:lnTo>
                  <a:pt x="9" y="24"/>
                </a:lnTo>
                <a:lnTo>
                  <a:pt x="5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5" y="2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2"/>
                </a:lnTo>
                <a:lnTo>
                  <a:pt x="26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3" name="Freeform 759">
            <a:extLst>
              <a:ext uri="{FF2B5EF4-FFF2-40B4-BE49-F238E27FC236}">
                <a16:creationId xmlns:a16="http://schemas.microsoft.com/office/drawing/2014/main" id="{B90D3272-4687-904C-88A3-53D62E092000}"/>
              </a:ext>
            </a:extLst>
          </p:cNvPr>
          <p:cNvSpPr>
            <a:spLocks/>
          </p:cNvSpPr>
          <p:nvPr/>
        </p:nvSpPr>
        <p:spPr bwMode="auto">
          <a:xfrm>
            <a:off x="60790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4" name="Freeform 760">
            <a:extLst>
              <a:ext uri="{FF2B5EF4-FFF2-40B4-BE49-F238E27FC236}">
                <a16:creationId xmlns:a16="http://schemas.microsoft.com/office/drawing/2014/main" id="{CEA9C453-8273-65A7-A1D6-08952E92B219}"/>
              </a:ext>
            </a:extLst>
          </p:cNvPr>
          <p:cNvSpPr>
            <a:spLocks/>
          </p:cNvSpPr>
          <p:nvPr/>
        </p:nvSpPr>
        <p:spPr bwMode="auto">
          <a:xfrm>
            <a:off x="60790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5" name="Line 761">
            <a:extLst>
              <a:ext uri="{FF2B5EF4-FFF2-40B4-BE49-F238E27FC236}">
                <a16:creationId xmlns:a16="http://schemas.microsoft.com/office/drawing/2014/main" id="{1A9A6C3F-FCED-3A19-59CB-D3E20FD84F91}"/>
              </a:ext>
            </a:extLst>
          </p:cNvPr>
          <p:cNvSpPr>
            <a:spLocks noChangeShapeType="1"/>
          </p:cNvSpPr>
          <p:nvPr/>
        </p:nvSpPr>
        <p:spPr bwMode="auto">
          <a:xfrm>
            <a:off x="3314702" y="1003301"/>
            <a:ext cx="0" cy="4828117"/>
          </a:xfrm>
          <a:prstGeom prst="line">
            <a:avLst/>
          </a:prstGeom>
          <a:noFill/>
          <a:ln w="12700">
            <a:solidFill>
              <a:schemeClr val="accent1">
                <a:lumMod val="75000"/>
              </a:schemeClr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6" name="Line 762">
            <a:extLst>
              <a:ext uri="{FF2B5EF4-FFF2-40B4-BE49-F238E27FC236}">
                <a16:creationId xmlns:a16="http://schemas.microsoft.com/office/drawing/2014/main" id="{87058117-EE3C-3EB7-5393-CD0262855180}"/>
              </a:ext>
            </a:extLst>
          </p:cNvPr>
          <p:cNvSpPr>
            <a:spLocks noChangeShapeType="1"/>
          </p:cNvSpPr>
          <p:nvPr/>
        </p:nvSpPr>
        <p:spPr bwMode="auto">
          <a:xfrm>
            <a:off x="6112325" y="1311353"/>
            <a:ext cx="0" cy="4520065"/>
          </a:xfrm>
          <a:prstGeom prst="line">
            <a:avLst/>
          </a:prstGeom>
          <a:noFill/>
          <a:ln w="12700">
            <a:solidFill>
              <a:schemeClr val="accent1">
                <a:lumMod val="75000"/>
              </a:schemeClr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7" name="Line 763">
            <a:extLst>
              <a:ext uri="{FF2B5EF4-FFF2-40B4-BE49-F238E27FC236}">
                <a16:creationId xmlns:a16="http://schemas.microsoft.com/office/drawing/2014/main" id="{325B1665-07F4-AC60-3FC4-E4BFB963F3D6}"/>
              </a:ext>
            </a:extLst>
          </p:cNvPr>
          <p:cNvSpPr>
            <a:spLocks noChangeShapeType="1"/>
          </p:cNvSpPr>
          <p:nvPr/>
        </p:nvSpPr>
        <p:spPr bwMode="auto">
          <a:xfrm>
            <a:off x="7321552" y="1003301"/>
            <a:ext cx="0" cy="4828117"/>
          </a:xfrm>
          <a:prstGeom prst="line">
            <a:avLst/>
          </a:prstGeom>
          <a:noFill/>
          <a:ln w="12700">
            <a:solidFill>
              <a:schemeClr val="accent1">
                <a:lumMod val="75000"/>
              </a:schemeClr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8" name="Rectangle 764">
            <a:extLst>
              <a:ext uri="{FF2B5EF4-FFF2-40B4-BE49-F238E27FC236}">
                <a16:creationId xmlns:a16="http://schemas.microsoft.com/office/drawing/2014/main" id="{FEC73EF3-2AB9-476F-586C-20E8B6D36F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9685" y="1001184"/>
            <a:ext cx="1623483" cy="484715"/>
          </a:xfrm>
          <a:prstGeom prst="rect">
            <a:avLst/>
          </a:prstGeom>
          <a:solidFill>
            <a:srgbClr val="55A2A8"/>
          </a:solidFill>
          <a:ln>
            <a:noFill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067" b="1" dirty="0">
                <a:latin typeface="Arial" panose="020B0604020202020204"/>
              </a:rPr>
              <a:t>Period 2</a:t>
            </a:r>
            <a:r>
              <a:rPr lang="en-US" altLang="en-US" sz="1067" b="1" baseline="30000" dirty="0">
                <a:latin typeface="Arial" panose="020B0604020202020204"/>
              </a:rPr>
              <a:t>a</a:t>
            </a:r>
            <a:endParaRPr lang="en-US" altLang="en-US" sz="1067" b="1" dirty="0">
              <a:latin typeface="Arial" panose="020B0604020202020204"/>
            </a:endParaRPr>
          </a:p>
          <a:p>
            <a:pPr algn="ctr" defTabSz="1219170"/>
            <a:r>
              <a:rPr lang="en-US" altLang="en-US" sz="1067" b="1" dirty="0">
                <a:latin typeface="Arial" panose="020B0604020202020204"/>
              </a:rPr>
              <a:t>VES + ATI</a:t>
            </a:r>
          </a:p>
        </p:txBody>
      </p:sp>
      <p:sp>
        <p:nvSpPr>
          <p:cNvPr id="225" name="Rectangle 791">
            <a:extLst>
              <a:ext uri="{FF2B5EF4-FFF2-40B4-BE49-F238E27FC236}">
                <a16:creationId xmlns:a16="http://schemas.microsoft.com/office/drawing/2014/main" id="{EB2B99CE-D2AE-6ACA-27D7-19D9D4137E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7285" y="5954184"/>
            <a:ext cx="857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/>
            <a:r>
              <a:rPr lang="en-US" altLang="en-US" sz="1067" b="1">
                <a:solidFill>
                  <a:srgbClr val="000000"/>
                </a:solidFill>
              </a:rPr>
              <a:t>Weeks of ATI</a:t>
            </a:r>
            <a:endParaRPr lang="en-US" altLang="en-US" sz="2400" b="1">
              <a:solidFill>
                <a:srgbClr val="1E1E1E"/>
              </a:solidFill>
            </a:endParaRPr>
          </a:p>
        </p:txBody>
      </p:sp>
      <p:sp>
        <p:nvSpPr>
          <p:cNvPr id="229" name="Rectangle 795">
            <a:extLst>
              <a:ext uri="{FF2B5EF4-FFF2-40B4-BE49-F238E27FC236}">
                <a16:creationId xmlns:a16="http://schemas.microsoft.com/office/drawing/2014/main" id="{06202E22-E70F-8713-C431-6F4EAE6ADA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6385" y="5844117"/>
            <a:ext cx="15028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/>
            <a:r>
              <a:rPr lang="en-US" altLang="en-US" sz="1067">
                <a:solidFill>
                  <a:srgbClr val="000000"/>
                </a:solidFill>
              </a:rPr>
              <a:t>16</a:t>
            </a:r>
            <a:endParaRPr lang="en-US" altLang="en-US" sz="2400">
              <a:solidFill>
                <a:srgbClr val="1E1E1E"/>
              </a:solidFill>
            </a:endParaRPr>
          </a:p>
        </p:txBody>
      </p:sp>
      <p:sp>
        <p:nvSpPr>
          <p:cNvPr id="230" name="Rectangle 796">
            <a:extLst>
              <a:ext uri="{FF2B5EF4-FFF2-40B4-BE49-F238E27FC236}">
                <a16:creationId xmlns:a16="http://schemas.microsoft.com/office/drawing/2014/main" id="{755BBD60-4D91-F9C2-8D59-5114D8565A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3086" y="5844117"/>
            <a:ext cx="15028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/>
            <a:r>
              <a:rPr lang="en-US" altLang="en-US" sz="1067">
                <a:solidFill>
                  <a:srgbClr val="000000"/>
                </a:solidFill>
              </a:rPr>
              <a:t>44</a:t>
            </a:r>
            <a:endParaRPr lang="en-US" altLang="en-US" sz="2400">
              <a:solidFill>
                <a:srgbClr val="1E1E1E"/>
              </a:solidFill>
            </a:endParaRPr>
          </a:p>
        </p:txBody>
      </p:sp>
      <p:sp>
        <p:nvSpPr>
          <p:cNvPr id="231" name="Rectangle 797">
            <a:extLst>
              <a:ext uri="{FF2B5EF4-FFF2-40B4-BE49-F238E27FC236}">
                <a16:creationId xmlns:a16="http://schemas.microsoft.com/office/drawing/2014/main" id="{0AC5A9E6-302D-5414-0B30-DC796F2006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51702" y="5844117"/>
            <a:ext cx="15028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/>
            <a:r>
              <a:rPr lang="en-US" altLang="en-US" sz="1067">
                <a:solidFill>
                  <a:srgbClr val="000000"/>
                </a:solidFill>
              </a:rPr>
              <a:t>56</a:t>
            </a:r>
            <a:endParaRPr lang="en-US" altLang="en-US" sz="2400">
              <a:solidFill>
                <a:srgbClr val="1E1E1E"/>
              </a:solidFill>
            </a:endParaRPr>
          </a:p>
        </p:txBody>
      </p:sp>
      <p:sp>
        <p:nvSpPr>
          <p:cNvPr id="233" name="Rectangle 799">
            <a:extLst>
              <a:ext uri="{FF2B5EF4-FFF2-40B4-BE49-F238E27FC236}">
                <a16:creationId xmlns:a16="http://schemas.microsoft.com/office/drawing/2014/main" id="{49D969C5-5456-C8FF-229F-5FA920AB914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204635" y="3573734"/>
            <a:ext cx="158402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 b="1" dirty="0">
                <a:solidFill>
                  <a:srgbClr val="000000"/>
                </a:solidFill>
              </a:rPr>
              <a:t>HIV-1 RNA Copies/mL</a:t>
            </a:r>
            <a:endParaRPr lang="en-US" altLang="en-US" sz="1200" b="1" dirty="0">
              <a:solidFill>
                <a:srgbClr val="1E1E1E"/>
              </a:solidFill>
            </a:endParaRPr>
          </a:p>
        </p:txBody>
      </p:sp>
      <p:sp>
        <p:nvSpPr>
          <p:cNvPr id="840" name="Rectangle 764">
            <a:extLst>
              <a:ext uri="{FF2B5EF4-FFF2-40B4-BE49-F238E27FC236}">
                <a16:creationId xmlns:a16="http://schemas.microsoft.com/office/drawing/2014/main" id="{279156C5-DF81-DC84-E7F6-3CF8DFE528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3169" y="1001184"/>
            <a:ext cx="2798234" cy="493183"/>
          </a:xfrm>
          <a:prstGeom prst="rect">
            <a:avLst/>
          </a:prstGeom>
          <a:solidFill>
            <a:srgbClr val="55A2A8"/>
          </a:solidFill>
          <a:ln>
            <a:noFill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067" b="1">
                <a:latin typeface="Arial" panose="020B0604020202020204"/>
              </a:rPr>
              <a:t>Period 3</a:t>
            </a:r>
          </a:p>
          <a:p>
            <a:pPr algn="ctr" defTabSz="1219170"/>
            <a:r>
              <a:rPr lang="en-US" altLang="en-US" sz="1067" b="1">
                <a:latin typeface="Arial" panose="020B0604020202020204"/>
              </a:rPr>
              <a:t>ATI</a:t>
            </a:r>
            <a:endParaRPr lang="en-US" altLang="en-US" sz="2400">
              <a:latin typeface="Arial" panose="020B0604020202020204"/>
            </a:endParaRPr>
          </a:p>
        </p:txBody>
      </p:sp>
      <p:sp>
        <p:nvSpPr>
          <p:cNvPr id="841" name="Rectangle 764">
            <a:extLst>
              <a:ext uri="{FF2B5EF4-FFF2-40B4-BE49-F238E27FC236}">
                <a16:creationId xmlns:a16="http://schemas.microsoft.com/office/drawing/2014/main" id="{51C20372-C3B0-5B65-BBFE-7A06184778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9286" y="1001184"/>
            <a:ext cx="1212850" cy="493183"/>
          </a:xfrm>
          <a:prstGeom prst="rect">
            <a:avLst/>
          </a:prstGeom>
          <a:solidFill>
            <a:srgbClr val="396C70"/>
          </a:solidFill>
          <a:ln>
            <a:noFill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067" b="1">
                <a:solidFill>
                  <a:schemeClr val="bg1"/>
                </a:solidFill>
                <a:latin typeface="Arial" panose="020B0604020202020204"/>
              </a:rPr>
              <a:t>Period 4</a:t>
            </a:r>
          </a:p>
          <a:p>
            <a:pPr algn="ctr" defTabSz="1219170"/>
            <a:r>
              <a:rPr lang="en-US" altLang="en-US" sz="1067" b="1">
                <a:solidFill>
                  <a:schemeClr val="bg1"/>
                </a:solidFill>
                <a:latin typeface="Arial" panose="020B0604020202020204"/>
              </a:rPr>
              <a:t>Optional </a:t>
            </a:r>
          </a:p>
          <a:p>
            <a:pPr algn="ctr" defTabSz="1219170"/>
            <a:r>
              <a:rPr lang="en-US" altLang="en-US" sz="1067" b="1">
                <a:solidFill>
                  <a:schemeClr val="bg1"/>
                </a:solidFill>
                <a:latin typeface="Arial" panose="020B0604020202020204"/>
              </a:rPr>
              <a:t>ATI Extension</a:t>
            </a:r>
            <a:endParaRPr lang="en-US" altLang="en-US" sz="240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C98E774-4A55-5C77-064D-5ADD90F01654}"/>
              </a:ext>
            </a:extLst>
          </p:cNvPr>
          <p:cNvSpPr txBox="1"/>
          <p:nvPr/>
        </p:nvSpPr>
        <p:spPr>
          <a:xfrm>
            <a:off x="8026253" y="1792898"/>
            <a:ext cx="36823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b="1" dirty="0">
                <a:solidFill>
                  <a:srgbClr val="3C587F"/>
                </a:solidFill>
                <a:latin typeface="Arial" panose="020B0604020202020204"/>
              </a:rPr>
              <a:t>Group 1: Early ART Restart</a:t>
            </a:r>
          </a:p>
          <a:p>
            <a:pPr marL="380990" indent="-380990" defTabSz="914377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C587F"/>
                </a:solidFill>
                <a:latin typeface="Arial" panose="020B0604020202020204"/>
              </a:rPr>
              <a:t>7/20 (35%) participants restarted ART during Period 2</a:t>
            </a:r>
          </a:p>
        </p:txBody>
      </p:sp>
      <p:sp>
        <p:nvSpPr>
          <p:cNvPr id="10" name="Rectangle 783">
            <a:extLst>
              <a:ext uri="{FF2B5EF4-FFF2-40B4-BE49-F238E27FC236}">
                <a16:creationId xmlns:a16="http://schemas.microsoft.com/office/drawing/2014/main" id="{49209B64-7229-50D3-910A-EF96A45E97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7826" y="3561200"/>
            <a:ext cx="490519" cy="16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/>
            <a:r>
              <a:rPr lang="en-US" altLang="en-US" sz="1067">
                <a:solidFill>
                  <a:srgbClr val="000000"/>
                </a:solidFill>
              </a:rPr>
              <a:t>100,000</a:t>
            </a:r>
            <a:endParaRPr lang="en-US" altLang="en-US" sz="2400">
              <a:solidFill>
                <a:srgbClr val="1E1E1E"/>
              </a:solidFill>
            </a:endParaRPr>
          </a:p>
        </p:txBody>
      </p:sp>
      <p:sp>
        <p:nvSpPr>
          <p:cNvPr id="65" name="Rectangle 784">
            <a:extLst>
              <a:ext uri="{FF2B5EF4-FFF2-40B4-BE49-F238E27FC236}">
                <a16:creationId xmlns:a16="http://schemas.microsoft.com/office/drawing/2014/main" id="{50D36AF9-BBC9-A054-990E-1603DB8253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0226" y="3933734"/>
            <a:ext cx="301365" cy="16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/>
            <a:r>
              <a:rPr lang="en-US" altLang="en-US" sz="1067">
                <a:solidFill>
                  <a:srgbClr val="000000"/>
                </a:solidFill>
              </a:rPr>
              <a:t>1000</a:t>
            </a:r>
            <a:endParaRPr lang="en-US" altLang="en-US" sz="2400">
              <a:solidFill>
                <a:srgbClr val="1E1E1E"/>
              </a:solidFill>
            </a:endParaRPr>
          </a:p>
        </p:txBody>
      </p:sp>
      <p:sp>
        <p:nvSpPr>
          <p:cNvPr id="66" name="Rectangle 783">
            <a:extLst>
              <a:ext uri="{FF2B5EF4-FFF2-40B4-BE49-F238E27FC236}">
                <a16:creationId xmlns:a16="http://schemas.microsoft.com/office/drawing/2014/main" id="{D59B934B-13B1-E0C1-8D20-FAF2D486F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8124" y="4968980"/>
            <a:ext cx="490519" cy="16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/>
            <a:r>
              <a:rPr lang="en-US" altLang="en-US" sz="1067">
                <a:solidFill>
                  <a:srgbClr val="000000"/>
                </a:solidFill>
              </a:rPr>
              <a:t>100,000</a:t>
            </a:r>
            <a:endParaRPr lang="en-US" altLang="en-US" sz="2400">
              <a:solidFill>
                <a:srgbClr val="1E1E1E"/>
              </a:solidFill>
            </a:endParaRPr>
          </a:p>
        </p:txBody>
      </p:sp>
      <p:sp>
        <p:nvSpPr>
          <p:cNvPr id="67" name="Rectangle 784">
            <a:extLst>
              <a:ext uri="{FF2B5EF4-FFF2-40B4-BE49-F238E27FC236}">
                <a16:creationId xmlns:a16="http://schemas.microsoft.com/office/drawing/2014/main" id="{3997EBF6-715F-E5F1-0521-A566D5D826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0523" y="5341514"/>
            <a:ext cx="301365" cy="16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/>
            <a:r>
              <a:rPr lang="en-US" altLang="en-US" sz="1067">
                <a:solidFill>
                  <a:srgbClr val="000000"/>
                </a:solidFill>
              </a:rPr>
              <a:t>1000</a:t>
            </a:r>
            <a:endParaRPr lang="en-US" altLang="en-US" sz="2400">
              <a:solidFill>
                <a:srgbClr val="1E1E1E"/>
              </a:solidFill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09813FEC-386D-E350-29FF-F1AF77624849}"/>
              </a:ext>
            </a:extLst>
          </p:cNvPr>
          <p:cNvGrpSpPr/>
          <p:nvPr/>
        </p:nvGrpSpPr>
        <p:grpSpPr>
          <a:xfrm>
            <a:off x="964057" y="4552406"/>
            <a:ext cx="6733289" cy="1579578"/>
            <a:chOff x="981663" y="3133920"/>
            <a:chExt cx="6733289" cy="3125548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5431301E-A451-95B5-541B-3D6D360F73BE}"/>
                </a:ext>
              </a:extLst>
            </p:cNvPr>
            <p:cNvSpPr/>
            <p:nvPr/>
          </p:nvSpPr>
          <p:spPr>
            <a:xfrm>
              <a:off x="981663" y="3133920"/>
              <a:ext cx="6733289" cy="312554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1B865241-FEC7-7E9D-26C3-10560D0F1DCD}"/>
                </a:ext>
              </a:extLst>
            </p:cNvPr>
            <p:cNvGrpSpPr/>
            <p:nvPr/>
          </p:nvGrpSpPr>
          <p:grpSpPr>
            <a:xfrm>
              <a:off x="3261189" y="3146978"/>
              <a:ext cx="4165600" cy="275167"/>
              <a:chOff x="3388785" y="5996517"/>
              <a:chExt cx="4165600" cy="275167"/>
            </a:xfrm>
          </p:grpSpPr>
          <p:sp>
            <p:nvSpPr>
              <p:cNvPr id="79" name="Rectangle 791">
                <a:extLst>
                  <a:ext uri="{FF2B5EF4-FFF2-40B4-BE49-F238E27FC236}">
                    <a16:creationId xmlns:a16="http://schemas.microsoft.com/office/drawing/2014/main" id="{DE973185-4A4D-1FC1-C3C5-7A0F03BE56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9685" y="6106584"/>
                <a:ext cx="857250" cy="1651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1219170"/>
                <a:r>
                  <a:rPr lang="en-US" altLang="en-US" sz="1067" b="1">
                    <a:solidFill>
                      <a:srgbClr val="000000"/>
                    </a:solidFill>
                  </a:rPr>
                  <a:t>Weeks of ATI</a:t>
                </a:r>
                <a:endParaRPr lang="en-US" altLang="en-US" sz="2400" b="1">
                  <a:solidFill>
                    <a:srgbClr val="1E1E1E"/>
                  </a:solidFill>
                </a:endParaRPr>
              </a:p>
            </p:txBody>
          </p:sp>
          <p:sp>
            <p:nvSpPr>
              <p:cNvPr id="80" name="Rectangle 795">
                <a:extLst>
                  <a:ext uri="{FF2B5EF4-FFF2-40B4-BE49-F238E27FC236}">
                    <a16:creationId xmlns:a16="http://schemas.microsoft.com/office/drawing/2014/main" id="{A2AE5AC2-BE98-F159-C6FA-1C8732E465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8785" y="5996517"/>
                <a:ext cx="150283" cy="1651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1219170"/>
                <a:r>
                  <a:rPr lang="en-US" altLang="en-US" sz="1067">
                    <a:solidFill>
                      <a:srgbClr val="000000"/>
                    </a:solidFill>
                  </a:rPr>
                  <a:t>16</a:t>
                </a:r>
                <a:endParaRPr lang="en-US" altLang="en-US" sz="2400">
                  <a:solidFill>
                    <a:srgbClr val="1E1E1E"/>
                  </a:solidFill>
                </a:endParaRPr>
              </a:p>
            </p:txBody>
          </p:sp>
          <p:sp>
            <p:nvSpPr>
              <p:cNvPr id="81" name="Rectangle 796">
                <a:extLst>
                  <a:ext uri="{FF2B5EF4-FFF2-40B4-BE49-F238E27FC236}">
                    <a16:creationId xmlns:a16="http://schemas.microsoft.com/office/drawing/2014/main" id="{473CEAD6-2430-ECD3-B3C0-92E1C90FA8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95486" y="5996517"/>
                <a:ext cx="150283" cy="1651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1219170"/>
                <a:r>
                  <a:rPr lang="en-US" altLang="en-US" sz="1067">
                    <a:solidFill>
                      <a:srgbClr val="000000"/>
                    </a:solidFill>
                  </a:rPr>
                  <a:t>44</a:t>
                </a:r>
                <a:endParaRPr lang="en-US" altLang="en-US" sz="2400">
                  <a:solidFill>
                    <a:srgbClr val="1E1E1E"/>
                  </a:solidFill>
                </a:endParaRPr>
              </a:p>
            </p:txBody>
          </p:sp>
          <p:sp>
            <p:nvSpPr>
              <p:cNvPr id="82" name="Rectangle 797">
                <a:extLst>
                  <a:ext uri="{FF2B5EF4-FFF2-40B4-BE49-F238E27FC236}">
                    <a16:creationId xmlns:a16="http://schemas.microsoft.com/office/drawing/2014/main" id="{4EE04F90-D25B-CF79-965C-6DBE830D42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04102" y="5996517"/>
                <a:ext cx="150283" cy="1651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1219170"/>
                <a:r>
                  <a:rPr lang="en-US" altLang="en-US" sz="1067">
                    <a:solidFill>
                      <a:srgbClr val="000000"/>
                    </a:solidFill>
                  </a:rPr>
                  <a:t>56</a:t>
                </a:r>
                <a:endParaRPr lang="en-US" altLang="en-US" sz="2400">
                  <a:solidFill>
                    <a:srgbClr val="1E1E1E"/>
                  </a:solidFill>
                </a:endParaRPr>
              </a:p>
            </p:txBody>
          </p:sp>
        </p:grp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9980BEA3-F11D-8B20-DBF5-FA60632B2079}"/>
              </a:ext>
            </a:extLst>
          </p:cNvPr>
          <p:cNvGrpSpPr/>
          <p:nvPr/>
        </p:nvGrpSpPr>
        <p:grpSpPr>
          <a:xfrm>
            <a:off x="964057" y="3110153"/>
            <a:ext cx="6733289" cy="3125548"/>
            <a:chOff x="981663" y="3133920"/>
            <a:chExt cx="6733289" cy="312554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21C185F-6029-3A14-5A28-0FD6A5818753}"/>
                </a:ext>
              </a:extLst>
            </p:cNvPr>
            <p:cNvSpPr/>
            <p:nvPr/>
          </p:nvSpPr>
          <p:spPr>
            <a:xfrm>
              <a:off x="981663" y="3133920"/>
              <a:ext cx="6733289" cy="312554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DF0B9A47-7DD9-BE9C-F5FB-3479E53D9866}"/>
                </a:ext>
              </a:extLst>
            </p:cNvPr>
            <p:cNvGrpSpPr/>
            <p:nvPr/>
          </p:nvGrpSpPr>
          <p:grpSpPr>
            <a:xfrm>
              <a:off x="3249284" y="3146978"/>
              <a:ext cx="4175710" cy="294733"/>
              <a:chOff x="3376880" y="5996517"/>
              <a:chExt cx="4175710" cy="294733"/>
            </a:xfrm>
          </p:grpSpPr>
          <p:sp>
            <p:nvSpPr>
              <p:cNvPr id="69" name="Rectangle 791">
                <a:extLst>
                  <a:ext uri="{FF2B5EF4-FFF2-40B4-BE49-F238E27FC236}">
                    <a16:creationId xmlns:a16="http://schemas.microsoft.com/office/drawing/2014/main" id="{11DDFAB3-BDA3-F092-2821-74CCA09C82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9685" y="6106584"/>
                <a:ext cx="946734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1219170"/>
                <a:r>
                  <a:rPr lang="en-US" altLang="en-US" sz="1200" b="1">
                    <a:solidFill>
                      <a:srgbClr val="000000"/>
                    </a:solidFill>
                  </a:rPr>
                  <a:t>Weeks of ATI</a:t>
                </a:r>
                <a:endParaRPr lang="en-US" altLang="en-US" sz="1200" b="1">
                  <a:solidFill>
                    <a:srgbClr val="1E1E1E"/>
                  </a:solidFill>
                </a:endParaRPr>
              </a:p>
            </p:txBody>
          </p:sp>
          <p:sp>
            <p:nvSpPr>
              <p:cNvPr id="70" name="Rectangle 795">
                <a:extLst>
                  <a:ext uri="{FF2B5EF4-FFF2-40B4-BE49-F238E27FC236}">
                    <a16:creationId xmlns:a16="http://schemas.microsoft.com/office/drawing/2014/main" id="{7216E464-D4B6-8F1B-65FE-865EA446AB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6880" y="5996517"/>
                <a:ext cx="169918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1219170"/>
                <a:r>
                  <a:rPr lang="en-US" altLang="en-US" sz="1200" dirty="0">
                    <a:solidFill>
                      <a:srgbClr val="000000"/>
                    </a:solidFill>
                  </a:rPr>
                  <a:t>16</a:t>
                </a:r>
                <a:endParaRPr lang="en-US" altLang="en-US" sz="1200" dirty="0">
                  <a:solidFill>
                    <a:srgbClr val="1E1E1E"/>
                  </a:solidFill>
                </a:endParaRPr>
              </a:p>
            </p:txBody>
          </p:sp>
          <p:sp>
            <p:nvSpPr>
              <p:cNvPr id="71" name="Rectangle 796">
                <a:extLst>
                  <a:ext uri="{FF2B5EF4-FFF2-40B4-BE49-F238E27FC236}">
                    <a16:creationId xmlns:a16="http://schemas.microsoft.com/office/drawing/2014/main" id="{9DB0F287-7C4B-AAEE-E959-ABCF9264B2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74057" y="5996517"/>
                <a:ext cx="169918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1219170"/>
                <a:r>
                  <a:rPr lang="en-US" altLang="en-US" sz="1200" dirty="0">
                    <a:solidFill>
                      <a:srgbClr val="000000"/>
                    </a:solidFill>
                  </a:rPr>
                  <a:t>44</a:t>
                </a:r>
                <a:endParaRPr lang="en-US" altLang="en-US" sz="1200" dirty="0">
                  <a:solidFill>
                    <a:srgbClr val="1E1E1E"/>
                  </a:solidFill>
                </a:endParaRPr>
              </a:p>
            </p:txBody>
          </p:sp>
          <p:sp>
            <p:nvSpPr>
              <p:cNvPr id="72" name="Rectangle 797">
                <a:extLst>
                  <a:ext uri="{FF2B5EF4-FFF2-40B4-BE49-F238E27FC236}">
                    <a16:creationId xmlns:a16="http://schemas.microsoft.com/office/drawing/2014/main" id="{1C99C694-B42A-E8B4-7A6E-84C5DAB064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82672" y="5996517"/>
                <a:ext cx="169918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1219170"/>
                <a:r>
                  <a:rPr lang="en-US" altLang="en-US" sz="1200" dirty="0">
                    <a:solidFill>
                      <a:srgbClr val="000000"/>
                    </a:solidFill>
                  </a:rPr>
                  <a:t>56</a:t>
                </a:r>
                <a:endParaRPr lang="en-US" altLang="en-US" sz="1200" dirty="0">
                  <a:solidFill>
                    <a:srgbClr val="1E1E1E"/>
                  </a:solidFill>
                </a:endParaRPr>
              </a:p>
            </p:txBody>
          </p:sp>
        </p:grpSp>
      </p:grpSp>
      <p:sp>
        <p:nvSpPr>
          <p:cNvPr id="3" name="Rectangle 783">
            <a:extLst>
              <a:ext uri="{FF2B5EF4-FFF2-40B4-BE49-F238E27FC236}">
                <a16:creationId xmlns:a16="http://schemas.microsoft.com/office/drawing/2014/main" id="{50521A18-633E-2562-C82C-045409A5B0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8104" y="2172229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 dirty="0">
                <a:solidFill>
                  <a:srgbClr val="000000"/>
                </a:solidFill>
              </a:rPr>
              <a:t>100,000</a:t>
            </a:r>
            <a:endParaRPr lang="en-US" altLang="en-US" sz="1200" dirty="0">
              <a:solidFill>
                <a:srgbClr val="1E1E1E"/>
              </a:solidFill>
            </a:endParaRPr>
          </a:p>
        </p:txBody>
      </p:sp>
      <p:sp>
        <p:nvSpPr>
          <p:cNvPr id="6" name="Rectangle 784">
            <a:extLst>
              <a:ext uri="{FF2B5EF4-FFF2-40B4-BE49-F238E27FC236}">
                <a16:creationId xmlns:a16="http://schemas.microsoft.com/office/drawing/2014/main" id="{F00CEB72-7B31-9241-EC82-9A23B0C295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1304" y="2525715"/>
            <a:ext cx="3398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 dirty="0">
                <a:solidFill>
                  <a:srgbClr val="000000"/>
                </a:solidFill>
              </a:rPr>
              <a:t>1000</a:t>
            </a:r>
            <a:endParaRPr lang="en-US" altLang="en-US" sz="1200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8779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B5D085-5244-EBE5-EAA1-D2FF3AAE73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E3144A-9954-96AE-95C7-5340572938B8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noFill/>
        </p:spPr>
        <p:txBody>
          <a:bodyPr vert="horz" lIns="0" tIns="0" rIns="0" bIns="0" rtlCol="0" anchor="ctr"/>
          <a:lstStyle/>
          <a:p>
            <a:fld id="{4BEAA09E-D67E-864E-8466-C38E88600C4F}" type="slidenum">
              <a:rPr lang="en-US"/>
              <a:pPr/>
              <a:t>14</a:t>
            </a:fld>
            <a:endParaRPr lang="en-US"/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3F73208F-8866-1AB6-6BD3-0726B5D32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3200" dirty="0">
                <a:latin typeface="Arial" panose="020B0604020202020204" pitchFamily="34" charset="0"/>
              </a:rPr>
              <a:t>Three Distinct ATI Outcome Patterns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BC466571-C405-AEBF-9583-5B0C8F2EF16D}"/>
              </a:ext>
            </a:extLst>
          </p:cNvPr>
          <p:cNvSpPr txBox="1">
            <a:spLocks/>
          </p:cNvSpPr>
          <p:nvPr/>
        </p:nvSpPr>
        <p:spPr>
          <a:xfrm>
            <a:off x="399605" y="6257106"/>
            <a:ext cx="11201200" cy="371512"/>
          </a:xfrm>
          <a:prstGeom prst="rect">
            <a:avLst/>
          </a:prstGeom>
        </p:spPr>
        <p:txBody>
          <a:bodyPr anchor="b" anchorCtr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lnSpc>
                <a:spcPct val="85000"/>
              </a:lnSpc>
            </a:pPr>
            <a:r>
              <a:rPr lang="en-US" sz="1067" b="1" baseline="300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a</a:t>
            </a:r>
            <a:r>
              <a:rPr lang="en-US" sz="1067" dirty="0" err="1">
                <a:solidFill>
                  <a:srgbClr val="000000"/>
                </a:solidFill>
                <a:latin typeface="Arial Narrow" panose="020B0606020202030204" pitchFamily="34" charset="0"/>
              </a:rPr>
              <a:t>bNAb</a:t>
            </a:r>
            <a:r>
              <a:rPr lang="en-US" sz="1067" dirty="0">
                <a:solidFill>
                  <a:srgbClr val="000000"/>
                </a:solidFill>
                <a:latin typeface="Arial Narrow" panose="020B0606020202030204" pitchFamily="34" charset="0"/>
              </a:rPr>
              <a:t> concentrations remained above therapeutic levels for all participants throughout Period 2.</a:t>
            </a:r>
          </a:p>
          <a:p>
            <a:pPr defTabSz="914377">
              <a:lnSpc>
                <a:spcPct val="85000"/>
              </a:lnSpc>
            </a:pPr>
            <a:r>
              <a:rPr lang="en-US" sz="1067" b="1" dirty="0">
                <a:solidFill>
                  <a:srgbClr val="000000"/>
                </a:solidFill>
                <a:latin typeface="Arial Narrow" panose="020B0606020202030204" pitchFamily="34" charset="0"/>
              </a:rPr>
              <a:t>ART</a:t>
            </a:r>
            <a:r>
              <a:rPr lang="en-US" sz="1067" dirty="0">
                <a:solidFill>
                  <a:srgbClr val="000000"/>
                </a:solidFill>
                <a:latin typeface="Arial Narrow" panose="020B0606020202030204" pitchFamily="34" charset="0"/>
              </a:rPr>
              <a:t>, antiretroviral therapy; </a:t>
            </a:r>
            <a:r>
              <a:rPr lang="en-US" sz="1067" b="1" dirty="0">
                <a:solidFill>
                  <a:srgbClr val="000000"/>
                </a:solidFill>
                <a:latin typeface="Arial Narrow" panose="020B0606020202030204" pitchFamily="34" charset="0"/>
              </a:rPr>
              <a:t>ATI</a:t>
            </a:r>
            <a:r>
              <a:rPr lang="en-US" sz="1067" dirty="0">
                <a:solidFill>
                  <a:srgbClr val="000000"/>
                </a:solidFill>
                <a:latin typeface="Arial Narrow" panose="020B0606020202030204" pitchFamily="34" charset="0"/>
              </a:rPr>
              <a:t>, analytical treatment interruption; </a:t>
            </a:r>
            <a:r>
              <a:rPr lang="en-US" sz="1000" b="1" dirty="0"/>
              <a:t>VES</a:t>
            </a:r>
            <a:r>
              <a:rPr lang="en-US" sz="1000" dirty="0"/>
              <a:t>, </a:t>
            </a:r>
            <a:r>
              <a:rPr lang="en-US" sz="1000" dirty="0" err="1"/>
              <a:t>vesatolimod</a:t>
            </a:r>
            <a:r>
              <a:rPr lang="en-US" sz="1000" dirty="0"/>
              <a:t>.</a:t>
            </a:r>
            <a:endParaRPr lang="en-US" sz="1067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AutoShape 3">
            <a:extLst>
              <a:ext uri="{FF2B5EF4-FFF2-40B4-BE49-F238E27FC236}">
                <a16:creationId xmlns:a16="http://schemas.microsoft.com/office/drawing/2014/main" id="{704A6D8B-B032-53CA-9F0D-02BF11A1AC6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66752" y="912284"/>
            <a:ext cx="6828367" cy="521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grpSp>
        <p:nvGrpSpPr>
          <p:cNvPr id="13" name="Group 205">
            <a:extLst>
              <a:ext uri="{FF2B5EF4-FFF2-40B4-BE49-F238E27FC236}">
                <a16:creationId xmlns:a16="http://schemas.microsoft.com/office/drawing/2014/main" id="{2C100908-D7FE-03F4-FF2C-0C5136139772}"/>
              </a:ext>
            </a:extLst>
          </p:cNvPr>
          <p:cNvGrpSpPr>
            <a:grpSpLocks/>
          </p:cNvGrpSpPr>
          <p:nvPr/>
        </p:nvGrpSpPr>
        <p:grpSpPr bwMode="auto">
          <a:xfrm>
            <a:off x="1515535" y="1780117"/>
            <a:ext cx="5971117" cy="3992033"/>
            <a:chOff x="716" y="841"/>
            <a:chExt cx="2821" cy="1886"/>
          </a:xfrm>
        </p:grpSpPr>
        <p:sp>
          <p:nvSpPr>
            <p:cNvPr id="638" name="Line 5">
              <a:extLst>
                <a:ext uri="{FF2B5EF4-FFF2-40B4-BE49-F238E27FC236}">
                  <a16:creationId xmlns:a16="http://schemas.microsoft.com/office/drawing/2014/main" id="{C762C8C2-2364-7F56-D143-897C2177D8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902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9" name="Line 6">
              <a:extLst>
                <a:ext uri="{FF2B5EF4-FFF2-40B4-BE49-F238E27FC236}">
                  <a16:creationId xmlns:a16="http://schemas.microsoft.com/office/drawing/2014/main" id="{CFC93FC6-35F2-6B3E-3AA5-7D5A91FDB6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9" y="841"/>
              <a:ext cx="0" cy="558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0" name="Line 7">
              <a:extLst>
                <a:ext uri="{FF2B5EF4-FFF2-40B4-BE49-F238E27FC236}">
                  <a16:creationId xmlns:a16="http://schemas.microsoft.com/office/drawing/2014/main" id="{B78A62A2-6055-6575-E158-0BF74AF4CE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2" y="841"/>
              <a:ext cx="0" cy="558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1" name="Line 8">
              <a:extLst>
                <a:ext uri="{FF2B5EF4-FFF2-40B4-BE49-F238E27FC236}">
                  <a16:creationId xmlns:a16="http://schemas.microsoft.com/office/drawing/2014/main" id="{55AC05C5-3EB8-E6F0-0F86-FE22763E67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56" y="841"/>
              <a:ext cx="0" cy="558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2" name="Line 9">
              <a:extLst>
                <a:ext uri="{FF2B5EF4-FFF2-40B4-BE49-F238E27FC236}">
                  <a16:creationId xmlns:a16="http://schemas.microsoft.com/office/drawing/2014/main" id="{F211DD0F-2851-A74A-83CE-3DDC237BE9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28" y="841"/>
              <a:ext cx="0" cy="558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3" name="Line 10">
              <a:extLst>
                <a:ext uri="{FF2B5EF4-FFF2-40B4-BE49-F238E27FC236}">
                  <a16:creationId xmlns:a16="http://schemas.microsoft.com/office/drawing/2014/main" id="{3FFE2F49-E19B-0066-163B-609A2D15D7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01" y="841"/>
              <a:ext cx="0" cy="558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4" name="Line 11">
              <a:extLst>
                <a:ext uri="{FF2B5EF4-FFF2-40B4-BE49-F238E27FC236}">
                  <a16:creationId xmlns:a16="http://schemas.microsoft.com/office/drawing/2014/main" id="{6275080E-77CA-D667-BFAB-07A6752E5E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5" y="841"/>
              <a:ext cx="0" cy="558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5" name="Line 12">
              <a:extLst>
                <a:ext uri="{FF2B5EF4-FFF2-40B4-BE49-F238E27FC236}">
                  <a16:creationId xmlns:a16="http://schemas.microsoft.com/office/drawing/2014/main" id="{2C866400-8484-54A9-C5B1-88345D4FE1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985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6" name="Line 13">
              <a:extLst>
                <a:ext uri="{FF2B5EF4-FFF2-40B4-BE49-F238E27FC236}">
                  <a16:creationId xmlns:a16="http://schemas.microsoft.com/office/drawing/2014/main" id="{FBE7DCFD-BC0A-DE0B-A219-718914557D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069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7" name="Line 14">
              <a:extLst>
                <a:ext uri="{FF2B5EF4-FFF2-40B4-BE49-F238E27FC236}">
                  <a16:creationId xmlns:a16="http://schemas.microsoft.com/office/drawing/2014/main" id="{70726919-5D4D-295B-6F02-AAE23E1660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152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8" name="Line 15">
              <a:extLst>
                <a:ext uri="{FF2B5EF4-FFF2-40B4-BE49-F238E27FC236}">
                  <a16:creationId xmlns:a16="http://schemas.microsoft.com/office/drawing/2014/main" id="{8BE935A3-D108-EA21-8797-8DDEF7C5A0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236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9" name="Line 16">
              <a:extLst>
                <a:ext uri="{FF2B5EF4-FFF2-40B4-BE49-F238E27FC236}">
                  <a16:creationId xmlns:a16="http://schemas.microsoft.com/office/drawing/2014/main" id="{E868BEC2-47F6-2805-4AE1-13BF2DD3DE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320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0" name="Line 17">
              <a:extLst>
                <a:ext uri="{FF2B5EF4-FFF2-40B4-BE49-F238E27FC236}">
                  <a16:creationId xmlns:a16="http://schemas.microsoft.com/office/drawing/2014/main" id="{D5A5632D-5F80-8428-110C-84E1C18A2A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403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1" name="Line 18">
              <a:extLst>
                <a:ext uri="{FF2B5EF4-FFF2-40B4-BE49-F238E27FC236}">
                  <a16:creationId xmlns:a16="http://schemas.microsoft.com/office/drawing/2014/main" id="{469179D1-CEEC-26CF-9B14-A2BA62D7C4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565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2" name="Line 19">
              <a:extLst>
                <a:ext uri="{FF2B5EF4-FFF2-40B4-BE49-F238E27FC236}">
                  <a16:creationId xmlns:a16="http://schemas.microsoft.com/office/drawing/2014/main" id="{B9877559-0572-2636-E501-E453D2A083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9" y="1503"/>
              <a:ext cx="0" cy="559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3" name="Line 20">
              <a:extLst>
                <a:ext uri="{FF2B5EF4-FFF2-40B4-BE49-F238E27FC236}">
                  <a16:creationId xmlns:a16="http://schemas.microsoft.com/office/drawing/2014/main" id="{59004558-A78E-3E73-AEDC-7334291951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2" y="1503"/>
              <a:ext cx="0" cy="559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4" name="Line 21">
              <a:extLst>
                <a:ext uri="{FF2B5EF4-FFF2-40B4-BE49-F238E27FC236}">
                  <a16:creationId xmlns:a16="http://schemas.microsoft.com/office/drawing/2014/main" id="{5F473FC8-9ADB-954E-6ABD-2994BAA3B9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56" y="1503"/>
              <a:ext cx="0" cy="559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5" name="Line 22">
              <a:extLst>
                <a:ext uri="{FF2B5EF4-FFF2-40B4-BE49-F238E27FC236}">
                  <a16:creationId xmlns:a16="http://schemas.microsoft.com/office/drawing/2014/main" id="{9AED4B03-9104-3CE2-C05B-8503E0F03C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28" y="1503"/>
              <a:ext cx="0" cy="559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6" name="Line 23">
              <a:extLst>
                <a:ext uri="{FF2B5EF4-FFF2-40B4-BE49-F238E27FC236}">
                  <a16:creationId xmlns:a16="http://schemas.microsoft.com/office/drawing/2014/main" id="{9FFBAB48-8C5F-431E-E21F-61C1859193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01" y="1503"/>
              <a:ext cx="0" cy="559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7" name="Line 24">
              <a:extLst>
                <a:ext uri="{FF2B5EF4-FFF2-40B4-BE49-F238E27FC236}">
                  <a16:creationId xmlns:a16="http://schemas.microsoft.com/office/drawing/2014/main" id="{A460EF0D-54AD-A17E-E9AD-FAA0D3BAC3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5" y="1503"/>
              <a:ext cx="0" cy="559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8" name="Line 25">
              <a:extLst>
                <a:ext uri="{FF2B5EF4-FFF2-40B4-BE49-F238E27FC236}">
                  <a16:creationId xmlns:a16="http://schemas.microsoft.com/office/drawing/2014/main" id="{729DF743-1E3E-E22A-864C-0FC40AC2C4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648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9" name="Line 26">
              <a:extLst>
                <a:ext uri="{FF2B5EF4-FFF2-40B4-BE49-F238E27FC236}">
                  <a16:creationId xmlns:a16="http://schemas.microsoft.com/office/drawing/2014/main" id="{53BCD632-8299-5C86-7989-4539AF4691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732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0" name="Line 27">
              <a:extLst>
                <a:ext uri="{FF2B5EF4-FFF2-40B4-BE49-F238E27FC236}">
                  <a16:creationId xmlns:a16="http://schemas.microsoft.com/office/drawing/2014/main" id="{4C7109A7-1BD3-407A-5384-BA3E672CB8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815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1" name="Line 28">
              <a:extLst>
                <a:ext uri="{FF2B5EF4-FFF2-40B4-BE49-F238E27FC236}">
                  <a16:creationId xmlns:a16="http://schemas.microsoft.com/office/drawing/2014/main" id="{804FD63C-0B1B-0452-D75B-D659407B75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899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2" name="Line 29">
              <a:extLst>
                <a:ext uri="{FF2B5EF4-FFF2-40B4-BE49-F238E27FC236}">
                  <a16:creationId xmlns:a16="http://schemas.microsoft.com/office/drawing/2014/main" id="{886A2C45-59BD-C176-2BC6-02BC1F696D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981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3" name="Line 30">
              <a:extLst>
                <a:ext uri="{FF2B5EF4-FFF2-40B4-BE49-F238E27FC236}">
                  <a16:creationId xmlns:a16="http://schemas.microsoft.com/office/drawing/2014/main" id="{31A25153-F878-048C-21A7-D96F63BA7D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064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4" name="Line 31">
              <a:extLst>
                <a:ext uri="{FF2B5EF4-FFF2-40B4-BE49-F238E27FC236}">
                  <a16:creationId xmlns:a16="http://schemas.microsoft.com/office/drawing/2014/main" id="{F9C3020D-3D2F-2F76-55CB-2EDDE0C4A4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226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5" name="Line 32">
              <a:extLst>
                <a:ext uri="{FF2B5EF4-FFF2-40B4-BE49-F238E27FC236}">
                  <a16:creationId xmlns:a16="http://schemas.microsoft.com/office/drawing/2014/main" id="{599BF8E6-D27C-1074-BE2D-ED74A000CD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9" y="2165"/>
              <a:ext cx="0" cy="56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6" name="Line 33">
              <a:extLst>
                <a:ext uri="{FF2B5EF4-FFF2-40B4-BE49-F238E27FC236}">
                  <a16:creationId xmlns:a16="http://schemas.microsoft.com/office/drawing/2014/main" id="{709EDB55-BC08-567A-136A-B40D099B96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2" y="2165"/>
              <a:ext cx="0" cy="56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7" name="Line 34">
              <a:extLst>
                <a:ext uri="{FF2B5EF4-FFF2-40B4-BE49-F238E27FC236}">
                  <a16:creationId xmlns:a16="http://schemas.microsoft.com/office/drawing/2014/main" id="{72F16283-0B56-7162-E383-01E98E38EB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56" y="2165"/>
              <a:ext cx="0" cy="56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8" name="Line 35">
              <a:extLst>
                <a:ext uri="{FF2B5EF4-FFF2-40B4-BE49-F238E27FC236}">
                  <a16:creationId xmlns:a16="http://schemas.microsoft.com/office/drawing/2014/main" id="{B70A322A-1022-AEB1-3AE4-64B0D1ABAB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28" y="2165"/>
              <a:ext cx="0" cy="56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9" name="Line 36">
              <a:extLst>
                <a:ext uri="{FF2B5EF4-FFF2-40B4-BE49-F238E27FC236}">
                  <a16:creationId xmlns:a16="http://schemas.microsoft.com/office/drawing/2014/main" id="{2C24B273-6C27-2344-F277-102697ACD0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01" y="2165"/>
              <a:ext cx="0" cy="56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0" name="Line 37">
              <a:extLst>
                <a:ext uri="{FF2B5EF4-FFF2-40B4-BE49-F238E27FC236}">
                  <a16:creationId xmlns:a16="http://schemas.microsoft.com/office/drawing/2014/main" id="{777D0FBD-F97B-FE50-3989-17AD4AA15B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5" y="2165"/>
              <a:ext cx="0" cy="56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1" name="Line 38">
              <a:extLst>
                <a:ext uri="{FF2B5EF4-FFF2-40B4-BE49-F238E27FC236}">
                  <a16:creationId xmlns:a16="http://schemas.microsoft.com/office/drawing/2014/main" id="{1343608D-5585-E34A-4D19-29E552DD89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309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2" name="Line 39">
              <a:extLst>
                <a:ext uri="{FF2B5EF4-FFF2-40B4-BE49-F238E27FC236}">
                  <a16:creationId xmlns:a16="http://schemas.microsoft.com/office/drawing/2014/main" id="{6AD7C660-75A3-32F1-E1E3-58D4684B99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393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3" name="Line 40">
              <a:extLst>
                <a:ext uri="{FF2B5EF4-FFF2-40B4-BE49-F238E27FC236}">
                  <a16:creationId xmlns:a16="http://schemas.microsoft.com/office/drawing/2014/main" id="{590FCDD0-9C68-CED2-2B7D-69C9BB0A9A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476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4" name="Line 41">
              <a:extLst>
                <a:ext uri="{FF2B5EF4-FFF2-40B4-BE49-F238E27FC236}">
                  <a16:creationId xmlns:a16="http://schemas.microsoft.com/office/drawing/2014/main" id="{D43D6D0F-57C1-4253-D310-45C3EE427C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560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5" name="Line 42">
              <a:extLst>
                <a:ext uri="{FF2B5EF4-FFF2-40B4-BE49-F238E27FC236}">
                  <a16:creationId xmlns:a16="http://schemas.microsoft.com/office/drawing/2014/main" id="{F181B605-DD27-73BC-F532-51B7C6E194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644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6" name="Line 43">
              <a:extLst>
                <a:ext uri="{FF2B5EF4-FFF2-40B4-BE49-F238E27FC236}">
                  <a16:creationId xmlns:a16="http://schemas.microsoft.com/office/drawing/2014/main" id="{E21E4FD2-3A87-1E92-F8B1-9511CFCADC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727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7" name="Freeform 44">
              <a:extLst>
                <a:ext uri="{FF2B5EF4-FFF2-40B4-BE49-F238E27FC236}">
                  <a16:creationId xmlns:a16="http://schemas.microsoft.com/office/drawing/2014/main" id="{68A0A71E-A19D-0133-4BB6-80EA39FCB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" y="1024"/>
              <a:ext cx="332" cy="355"/>
            </a:xfrm>
            <a:custGeom>
              <a:avLst/>
              <a:gdLst>
                <a:gd name="T0" fmla="*/ 0 w 332"/>
                <a:gd name="T1" fmla="*/ 355 h 355"/>
                <a:gd name="T2" fmla="*/ 95 w 332"/>
                <a:gd name="T3" fmla="*/ 355 h 355"/>
                <a:gd name="T4" fmla="*/ 189 w 332"/>
                <a:gd name="T5" fmla="*/ 296 h 355"/>
                <a:gd name="T6" fmla="*/ 238 w 332"/>
                <a:gd name="T7" fmla="*/ 91 h 355"/>
                <a:gd name="T8" fmla="*/ 284 w 332"/>
                <a:gd name="T9" fmla="*/ 13 h 355"/>
                <a:gd name="T10" fmla="*/ 332 w 332"/>
                <a:gd name="T11" fmla="*/ 0 h 355"/>
                <a:gd name="T12" fmla="*/ 332 w 332"/>
                <a:gd name="T13" fmla="*/ 2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2" h="355">
                  <a:moveTo>
                    <a:pt x="0" y="355"/>
                  </a:moveTo>
                  <a:lnTo>
                    <a:pt x="95" y="355"/>
                  </a:lnTo>
                  <a:lnTo>
                    <a:pt x="189" y="296"/>
                  </a:lnTo>
                  <a:lnTo>
                    <a:pt x="238" y="91"/>
                  </a:lnTo>
                  <a:lnTo>
                    <a:pt x="284" y="13"/>
                  </a:lnTo>
                  <a:lnTo>
                    <a:pt x="332" y="0"/>
                  </a:lnTo>
                  <a:lnTo>
                    <a:pt x="332" y="2"/>
                  </a:lnTo>
                </a:path>
              </a:pathLst>
            </a:custGeom>
            <a:noFill/>
            <a:ln w="11113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8" name="Freeform 45">
              <a:extLst>
                <a:ext uri="{FF2B5EF4-FFF2-40B4-BE49-F238E27FC236}">
                  <a16:creationId xmlns:a16="http://schemas.microsoft.com/office/drawing/2014/main" id="{50D8B3DF-22E9-F67B-3B01-77B99ABEA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932"/>
              <a:ext cx="520" cy="432"/>
            </a:xfrm>
            <a:custGeom>
              <a:avLst/>
              <a:gdLst>
                <a:gd name="T0" fmla="*/ 0 w 520"/>
                <a:gd name="T1" fmla="*/ 432 h 432"/>
                <a:gd name="T2" fmla="*/ 378 w 520"/>
                <a:gd name="T3" fmla="*/ 432 h 432"/>
                <a:gd name="T4" fmla="*/ 471 w 520"/>
                <a:gd name="T5" fmla="*/ 0 h 432"/>
                <a:gd name="T6" fmla="*/ 507 w 520"/>
                <a:gd name="T7" fmla="*/ 70 h 432"/>
                <a:gd name="T8" fmla="*/ 520 w 520"/>
                <a:gd name="T9" fmla="*/ 78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0" h="432">
                  <a:moveTo>
                    <a:pt x="0" y="432"/>
                  </a:moveTo>
                  <a:lnTo>
                    <a:pt x="378" y="432"/>
                  </a:lnTo>
                  <a:lnTo>
                    <a:pt x="471" y="0"/>
                  </a:lnTo>
                  <a:lnTo>
                    <a:pt x="507" y="70"/>
                  </a:lnTo>
                  <a:lnTo>
                    <a:pt x="520" y="78"/>
                  </a:lnTo>
                </a:path>
              </a:pathLst>
            </a:custGeom>
            <a:noFill/>
            <a:ln w="11113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9" name="Freeform 46">
              <a:extLst>
                <a:ext uri="{FF2B5EF4-FFF2-40B4-BE49-F238E27FC236}">
                  <a16:creationId xmlns:a16="http://schemas.microsoft.com/office/drawing/2014/main" id="{3D463B83-569E-9C82-C3CA-1BFFB084A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" y="1024"/>
              <a:ext cx="479" cy="340"/>
            </a:xfrm>
            <a:custGeom>
              <a:avLst/>
              <a:gdLst>
                <a:gd name="T0" fmla="*/ 0 w 479"/>
                <a:gd name="T1" fmla="*/ 340 h 340"/>
                <a:gd name="T2" fmla="*/ 102 w 479"/>
                <a:gd name="T3" fmla="*/ 340 h 340"/>
                <a:gd name="T4" fmla="*/ 149 w 479"/>
                <a:gd name="T5" fmla="*/ 212 h 340"/>
                <a:gd name="T6" fmla="*/ 197 w 479"/>
                <a:gd name="T7" fmla="*/ 123 h 340"/>
                <a:gd name="T8" fmla="*/ 243 w 479"/>
                <a:gd name="T9" fmla="*/ 154 h 340"/>
                <a:gd name="T10" fmla="*/ 292 w 479"/>
                <a:gd name="T11" fmla="*/ 123 h 340"/>
                <a:gd name="T12" fmla="*/ 338 w 479"/>
                <a:gd name="T13" fmla="*/ 132 h 340"/>
                <a:gd name="T14" fmla="*/ 386 w 479"/>
                <a:gd name="T15" fmla="*/ 65 h 340"/>
                <a:gd name="T16" fmla="*/ 433 w 479"/>
                <a:gd name="T17" fmla="*/ 0 h 340"/>
                <a:gd name="T18" fmla="*/ 466 w 479"/>
                <a:gd name="T19" fmla="*/ 10 h 340"/>
                <a:gd name="T20" fmla="*/ 479 w 479"/>
                <a:gd name="T21" fmla="*/ 69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9" h="340">
                  <a:moveTo>
                    <a:pt x="0" y="340"/>
                  </a:moveTo>
                  <a:lnTo>
                    <a:pt x="102" y="340"/>
                  </a:lnTo>
                  <a:lnTo>
                    <a:pt x="149" y="212"/>
                  </a:lnTo>
                  <a:lnTo>
                    <a:pt x="197" y="123"/>
                  </a:lnTo>
                  <a:lnTo>
                    <a:pt x="243" y="154"/>
                  </a:lnTo>
                  <a:lnTo>
                    <a:pt x="292" y="123"/>
                  </a:lnTo>
                  <a:lnTo>
                    <a:pt x="338" y="132"/>
                  </a:lnTo>
                  <a:lnTo>
                    <a:pt x="386" y="65"/>
                  </a:lnTo>
                  <a:lnTo>
                    <a:pt x="433" y="0"/>
                  </a:lnTo>
                  <a:lnTo>
                    <a:pt x="466" y="10"/>
                  </a:lnTo>
                  <a:lnTo>
                    <a:pt x="479" y="69"/>
                  </a:lnTo>
                </a:path>
              </a:pathLst>
            </a:custGeom>
            <a:noFill/>
            <a:ln w="11113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0" name="Freeform 47">
              <a:extLst>
                <a:ext uri="{FF2B5EF4-FFF2-40B4-BE49-F238E27FC236}">
                  <a16:creationId xmlns:a16="http://schemas.microsoft.com/office/drawing/2014/main" id="{E211A224-E4EF-EF67-EAB4-3E00CBFEF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867"/>
              <a:ext cx="425" cy="497"/>
            </a:xfrm>
            <a:custGeom>
              <a:avLst/>
              <a:gdLst>
                <a:gd name="T0" fmla="*/ 0 w 425"/>
                <a:gd name="T1" fmla="*/ 497 h 497"/>
                <a:gd name="T2" fmla="*/ 284 w 425"/>
                <a:gd name="T3" fmla="*/ 497 h 497"/>
                <a:gd name="T4" fmla="*/ 378 w 425"/>
                <a:gd name="T5" fmla="*/ 174 h 497"/>
                <a:gd name="T6" fmla="*/ 412 w 425"/>
                <a:gd name="T7" fmla="*/ 27 h 497"/>
                <a:gd name="T8" fmla="*/ 425 w 425"/>
                <a:gd name="T9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5" h="497">
                  <a:moveTo>
                    <a:pt x="0" y="497"/>
                  </a:moveTo>
                  <a:lnTo>
                    <a:pt x="284" y="497"/>
                  </a:lnTo>
                  <a:lnTo>
                    <a:pt x="378" y="174"/>
                  </a:lnTo>
                  <a:lnTo>
                    <a:pt x="412" y="27"/>
                  </a:lnTo>
                  <a:lnTo>
                    <a:pt x="425" y="0"/>
                  </a:lnTo>
                </a:path>
              </a:pathLst>
            </a:custGeom>
            <a:noFill/>
            <a:ln w="11113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1" name="Freeform 48">
              <a:extLst>
                <a:ext uri="{FF2B5EF4-FFF2-40B4-BE49-F238E27FC236}">
                  <a16:creationId xmlns:a16="http://schemas.microsoft.com/office/drawing/2014/main" id="{503A8256-237A-9EA0-FED0-3C1FDA188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924"/>
              <a:ext cx="297" cy="440"/>
            </a:xfrm>
            <a:custGeom>
              <a:avLst/>
              <a:gdLst>
                <a:gd name="T0" fmla="*/ 0 w 297"/>
                <a:gd name="T1" fmla="*/ 440 h 440"/>
                <a:gd name="T2" fmla="*/ 189 w 297"/>
                <a:gd name="T3" fmla="*/ 440 h 440"/>
                <a:gd name="T4" fmla="*/ 284 w 297"/>
                <a:gd name="T5" fmla="*/ 58 h 440"/>
                <a:gd name="T6" fmla="*/ 289 w 297"/>
                <a:gd name="T7" fmla="*/ 21 h 440"/>
                <a:gd name="T8" fmla="*/ 297 w 297"/>
                <a:gd name="T9" fmla="*/ 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7" h="440">
                  <a:moveTo>
                    <a:pt x="0" y="440"/>
                  </a:moveTo>
                  <a:lnTo>
                    <a:pt x="189" y="440"/>
                  </a:lnTo>
                  <a:lnTo>
                    <a:pt x="284" y="58"/>
                  </a:lnTo>
                  <a:lnTo>
                    <a:pt x="289" y="21"/>
                  </a:lnTo>
                  <a:lnTo>
                    <a:pt x="297" y="0"/>
                  </a:lnTo>
                </a:path>
              </a:pathLst>
            </a:custGeom>
            <a:noFill/>
            <a:ln w="11113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2" name="Freeform 49">
              <a:extLst>
                <a:ext uri="{FF2B5EF4-FFF2-40B4-BE49-F238E27FC236}">
                  <a16:creationId xmlns:a16="http://schemas.microsoft.com/office/drawing/2014/main" id="{1A19EA8F-7AB4-9C5D-CFFD-F64532375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073"/>
              <a:ext cx="622" cy="291"/>
            </a:xfrm>
            <a:custGeom>
              <a:avLst/>
              <a:gdLst>
                <a:gd name="T0" fmla="*/ 0 w 622"/>
                <a:gd name="T1" fmla="*/ 291 h 291"/>
                <a:gd name="T2" fmla="*/ 189 w 622"/>
                <a:gd name="T3" fmla="*/ 291 h 291"/>
                <a:gd name="T4" fmla="*/ 284 w 622"/>
                <a:gd name="T5" fmla="*/ 7 h 291"/>
                <a:gd name="T6" fmla="*/ 330 w 622"/>
                <a:gd name="T7" fmla="*/ 0 h 291"/>
                <a:gd name="T8" fmla="*/ 378 w 622"/>
                <a:gd name="T9" fmla="*/ 24 h 291"/>
                <a:gd name="T10" fmla="*/ 425 w 622"/>
                <a:gd name="T11" fmla="*/ 0 h 291"/>
                <a:gd name="T12" fmla="*/ 471 w 622"/>
                <a:gd name="T13" fmla="*/ 3 h 291"/>
                <a:gd name="T14" fmla="*/ 520 w 622"/>
                <a:gd name="T15" fmla="*/ 14 h 291"/>
                <a:gd name="T16" fmla="*/ 566 w 622"/>
                <a:gd name="T17" fmla="*/ 13 h 291"/>
                <a:gd name="T18" fmla="*/ 622 w 622"/>
                <a:gd name="T19" fmla="*/ 2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2" h="291">
                  <a:moveTo>
                    <a:pt x="0" y="291"/>
                  </a:moveTo>
                  <a:lnTo>
                    <a:pt x="189" y="291"/>
                  </a:lnTo>
                  <a:lnTo>
                    <a:pt x="284" y="7"/>
                  </a:lnTo>
                  <a:lnTo>
                    <a:pt x="330" y="0"/>
                  </a:lnTo>
                  <a:lnTo>
                    <a:pt x="378" y="24"/>
                  </a:lnTo>
                  <a:lnTo>
                    <a:pt x="425" y="0"/>
                  </a:lnTo>
                  <a:lnTo>
                    <a:pt x="471" y="3"/>
                  </a:lnTo>
                  <a:lnTo>
                    <a:pt x="520" y="14"/>
                  </a:lnTo>
                  <a:lnTo>
                    <a:pt x="566" y="13"/>
                  </a:lnTo>
                  <a:lnTo>
                    <a:pt x="622" y="20"/>
                  </a:lnTo>
                </a:path>
              </a:pathLst>
            </a:custGeom>
            <a:noFill/>
            <a:ln w="11113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3" name="Freeform 50">
              <a:extLst>
                <a:ext uri="{FF2B5EF4-FFF2-40B4-BE49-F238E27FC236}">
                  <a16:creationId xmlns:a16="http://schemas.microsoft.com/office/drawing/2014/main" id="{878EB158-53C3-901B-662B-C43CE48180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117"/>
              <a:ext cx="573" cy="247"/>
            </a:xfrm>
            <a:custGeom>
              <a:avLst/>
              <a:gdLst>
                <a:gd name="T0" fmla="*/ 0 w 573"/>
                <a:gd name="T1" fmla="*/ 247 h 247"/>
                <a:gd name="T2" fmla="*/ 94 w 573"/>
                <a:gd name="T3" fmla="*/ 247 h 247"/>
                <a:gd name="T4" fmla="*/ 189 w 573"/>
                <a:gd name="T5" fmla="*/ 169 h 247"/>
                <a:gd name="T6" fmla="*/ 235 w 573"/>
                <a:gd name="T7" fmla="*/ 43 h 247"/>
                <a:gd name="T8" fmla="*/ 284 w 573"/>
                <a:gd name="T9" fmla="*/ 0 h 247"/>
                <a:gd name="T10" fmla="*/ 330 w 573"/>
                <a:gd name="T11" fmla="*/ 32 h 247"/>
                <a:gd name="T12" fmla="*/ 378 w 573"/>
                <a:gd name="T13" fmla="*/ 32 h 247"/>
                <a:gd name="T14" fmla="*/ 425 w 573"/>
                <a:gd name="T15" fmla="*/ 26 h 247"/>
                <a:gd name="T16" fmla="*/ 471 w 573"/>
                <a:gd name="T17" fmla="*/ 50 h 247"/>
                <a:gd name="T18" fmla="*/ 520 w 573"/>
                <a:gd name="T19" fmla="*/ 54 h 247"/>
                <a:gd name="T20" fmla="*/ 566 w 573"/>
                <a:gd name="T21" fmla="*/ 93 h 247"/>
                <a:gd name="T22" fmla="*/ 573 w 573"/>
                <a:gd name="T23" fmla="*/ 10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3" h="247">
                  <a:moveTo>
                    <a:pt x="0" y="247"/>
                  </a:moveTo>
                  <a:lnTo>
                    <a:pt x="94" y="247"/>
                  </a:lnTo>
                  <a:lnTo>
                    <a:pt x="189" y="169"/>
                  </a:lnTo>
                  <a:lnTo>
                    <a:pt x="235" y="43"/>
                  </a:lnTo>
                  <a:lnTo>
                    <a:pt x="284" y="0"/>
                  </a:lnTo>
                  <a:lnTo>
                    <a:pt x="330" y="32"/>
                  </a:lnTo>
                  <a:lnTo>
                    <a:pt x="378" y="32"/>
                  </a:lnTo>
                  <a:lnTo>
                    <a:pt x="425" y="26"/>
                  </a:lnTo>
                  <a:lnTo>
                    <a:pt x="471" y="50"/>
                  </a:lnTo>
                  <a:lnTo>
                    <a:pt x="520" y="54"/>
                  </a:lnTo>
                  <a:lnTo>
                    <a:pt x="566" y="93"/>
                  </a:lnTo>
                  <a:lnTo>
                    <a:pt x="573" y="100"/>
                  </a:lnTo>
                </a:path>
              </a:pathLst>
            </a:custGeom>
            <a:noFill/>
            <a:ln w="11113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4" name="Freeform 51">
              <a:extLst>
                <a:ext uri="{FF2B5EF4-FFF2-40B4-BE49-F238E27FC236}">
                  <a16:creationId xmlns:a16="http://schemas.microsoft.com/office/drawing/2014/main" id="{8B858F9D-5D36-8472-7BB0-411F340A46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1366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0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5" name="Freeform 52">
              <a:extLst>
                <a:ext uri="{FF2B5EF4-FFF2-40B4-BE49-F238E27FC236}">
                  <a16:creationId xmlns:a16="http://schemas.microsoft.com/office/drawing/2014/main" id="{CE1D040D-A9B7-1F68-7AB5-2F7141C5B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1366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0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6" name="Freeform 53">
              <a:extLst>
                <a:ext uri="{FF2B5EF4-FFF2-40B4-BE49-F238E27FC236}">
                  <a16:creationId xmlns:a16="http://schemas.microsoft.com/office/drawing/2014/main" id="{2EEA428D-D1AD-E0E2-9E3E-0F93938D3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366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0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7" name="Freeform 54">
              <a:extLst>
                <a:ext uri="{FF2B5EF4-FFF2-40B4-BE49-F238E27FC236}">
                  <a16:creationId xmlns:a16="http://schemas.microsoft.com/office/drawing/2014/main" id="{E9ADA163-84B2-C575-16E3-96590FDF7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366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0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8" name="Freeform 55">
              <a:extLst>
                <a:ext uri="{FF2B5EF4-FFF2-40B4-BE49-F238E27FC236}">
                  <a16:creationId xmlns:a16="http://schemas.microsoft.com/office/drawing/2014/main" id="{FEE17CF8-13A6-6864-5B13-9B38F4C4C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" y="130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3 w 26"/>
                <a:gd name="T33" fmla="*/ 3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9" name="Freeform 56">
              <a:extLst>
                <a:ext uri="{FF2B5EF4-FFF2-40B4-BE49-F238E27FC236}">
                  <a16:creationId xmlns:a16="http://schemas.microsoft.com/office/drawing/2014/main" id="{F60BF0E4-4BB4-42BC-DE64-B98630BE1A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" y="130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3 w 26"/>
                <a:gd name="T33" fmla="*/ 3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0" name="Freeform 57">
              <a:extLst>
                <a:ext uri="{FF2B5EF4-FFF2-40B4-BE49-F238E27FC236}">
                  <a16:creationId xmlns:a16="http://schemas.microsoft.com/office/drawing/2014/main" id="{A1F546C6-7494-1D86-9BC5-946BCA81D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00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1 h 28"/>
                <a:gd name="T6" fmla="*/ 20 w 24"/>
                <a:gd name="T7" fmla="*/ 25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5 h 28"/>
                <a:gd name="T16" fmla="*/ 0 w 24"/>
                <a:gd name="T17" fmla="*/ 21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8 h 28"/>
                <a:gd name="T24" fmla="*/ 3 w 24"/>
                <a:gd name="T25" fmla="*/ 4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4 h 28"/>
                <a:gd name="T34" fmla="*/ 24 w 24"/>
                <a:gd name="T35" fmla="*/ 8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1"/>
                  </a:lnTo>
                  <a:lnTo>
                    <a:pt x="20" y="25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5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1" name="Freeform 58">
              <a:extLst>
                <a:ext uri="{FF2B5EF4-FFF2-40B4-BE49-F238E27FC236}">
                  <a16:creationId xmlns:a16="http://schemas.microsoft.com/office/drawing/2014/main" id="{B0EEB2D3-AC10-4237-765D-06B644942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00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1 h 28"/>
                <a:gd name="T6" fmla="*/ 20 w 24"/>
                <a:gd name="T7" fmla="*/ 25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5 h 28"/>
                <a:gd name="T16" fmla="*/ 0 w 24"/>
                <a:gd name="T17" fmla="*/ 21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8 h 28"/>
                <a:gd name="T24" fmla="*/ 3 w 24"/>
                <a:gd name="T25" fmla="*/ 4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4 h 28"/>
                <a:gd name="T34" fmla="*/ 24 w 24"/>
                <a:gd name="T35" fmla="*/ 8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1"/>
                  </a:lnTo>
                  <a:lnTo>
                    <a:pt x="20" y="25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5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2" name="Freeform 59">
              <a:extLst>
                <a:ext uri="{FF2B5EF4-FFF2-40B4-BE49-F238E27FC236}">
                  <a16:creationId xmlns:a16="http://schemas.microsoft.com/office/drawing/2014/main" id="{4E3D3E8C-0A0D-CDD1-DC7C-00E60DD6E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02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3" name="Freeform 60">
              <a:extLst>
                <a:ext uri="{FF2B5EF4-FFF2-40B4-BE49-F238E27FC236}">
                  <a16:creationId xmlns:a16="http://schemas.microsoft.com/office/drawing/2014/main" id="{B4278B42-DD3E-6205-9ECA-296144403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02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4" name="Freeform 61">
              <a:extLst>
                <a:ext uri="{FF2B5EF4-FFF2-40B4-BE49-F238E27FC236}">
                  <a16:creationId xmlns:a16="http://schemas.microsoft.com/office/drawing/2014/main" id="{F0DEF6DB-C3C8-414A-980F-70D75911E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11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3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3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3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5" name="Freeform 62">
              <a:extLst>
                <a:ext uri="{FF2B5EF4-FFF2-40B4-BE49-F238E27FC236}">
                  <a16:creationId xmlns:a16="http://schemas.microsoft.com/office/drawing/2014/main" id="{80D33B38-1563-29B2-72F3-0EAE5DD036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11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3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3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3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6" name="Freeform 63">
              <a:extLst>
                <a:ext uri="{FF2B5EF4-FFF2-40B4-BE49-F238E27FC236}">
                  <a16:creationId xmlns:a16="http://schemas.microsoft.com/office/drawing/2014/main" id="{6B755716-D7D3-E82E-1F6D-083A071AE7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13"/>
              <a:ext cx="25" cy="28"/>
            </a:xfrm>
            <a:custGeom>
              <a:avLst/>
              <a:gdLst>
                <a:gd name="T0" fmla="*/ 25 w 25"/>
                <a:gd name="T1" fmla="*/ 13 h 28"/>
                <a:gd name="T2" fmla="*/ 25 w 25"/>
                <a:gd name="T3" fmla="*/ 13 h 28"/>
                <a:gd name="T4" fmla="*/ 25 w 25"/>
                <a:gd name="T5" fmla="*/ 21 h 28"/>
                <a:gd name="T6" fmla="*/ 21 w 25"/>
                <a:gd name="T7" fmla="*/ 24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4 h 28"/>
                <a:gd name="T16" fmla="*/ 0 w 25"/>
                <a:gd name="T17" fmla="*/ 21 h 28"/>
                <a:gd name="T18" fmla="*/ 0 w 25"/>
                <a:gd name="T19" fmla="*/ 13 h 28"/>
                <a:gd name="T20" fmla="*/ 0 w 25"/>
                <a:gd name="T21" fmla="*/ 13 h 28"/>
                <a:gd name="T22" fmla="*/ 0 w 25"/>
                <a:gd name="T23" fmla="*/ 8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8 h 28"/>
                <a:gd name="T36" fmla="*/ 25 w 25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3"/>
                  </a:moveTo>
                  <a:lnTo>
                    <a:pt x="25" y="13"/>
                  </a:lnTo>
                  <a:lnTo>
                    <a:pt x="25" y="21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7" name="Freeform 64">
              <a:extLst>
                <a:ext uri="{FF2B5EF4-FFF2-40B4-BE49-F238E27FC236}">
                  <a16:creationId xmlns:a16="http://schemas.microsoft.com/office/drawing/2014/main" id="{5436EDD2-B233-9E4C-E01B-DD91C73F9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13"/>
              <a:ext cx="25" cy="28"/>
            </a:xfrm>
            <a:custGeom>
              <a:avLst/>
              <a:gdLst>
                <a:gd name="T0" fmla="*/ 25 w 25"/>
                <a:gd name="T1" fmla="*/ 13 h 28"/>
                <a:gd name="T2" fmla="*/ 25 w 25"/>
                <a:gd name="T3" fmla="*/ 13 h 28"/>
                <a:gd name="T4" fmla="*/ 25 w 25"/>
                <a:gd name="T5" fmla="*/ 21 h 28"/>
                <a:gd name="T6" fmla="*/ 21 w 25"/>
                <a:gd name="T7" fmla="*/ 24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4 h 28"/>
                <a:gd name="T16" fmla="*/ 0 w 25"/>
                <a:gd name="T17" fmla="*/ 21 h 28"/>
                <a:gd name="T18" fmla="*/ 0 w 25"/>
                <a:gd name="T19" fmla="*/ 13 h 28"/>
                <a:gd name="T20" fmla="*/ 0 w 25"/>
                <a:gd name="T21" fmla="*/ 13 h 28"/>
                <a:gd name="T22" fmla="*/ 0 w 25"/>
                <a:gd name="T23" fmla="*/ 8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8 h 28"/>
                <a:gd name="T36" fmla="*/ 25 w 25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3"/>
                  </a:moveTo>
                  <a:lnTo>
                    <a:pt x="25" y="13"/>
                  </a:lnTo>
                  <a:lnTo>
                    <a:pt x="25" y="21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8" name="Freeform 65">
              <a:extLst>
                <a:ext uri="{FF2B5EF4-FFF2-40B4-BE49-F238E27FC236}">
                  <a16:creationId xmlns:a16="http://schemas.microsoft.com/office/drawing/2014/main" id="{36E9FCC7-D95D-D7A6-F0AB-1A25E6F0F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9" name="Freeform 66">
              <a:extLst>
                <a:ext uri="{FF2B5EF4-FFF2-40B4-BE49-F238E27FC236}">
                  <a16:creationId xmlns:a16="http://schemas.microsoft.com/office/drawing/2014/main" id="{63E1A1FE-94AD-A574-EAE9-765B92298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0" name="Freeform 67">
              <a:extLst>
                <a:ext uri="{FF2B5EF4-FFF2-40B4-BE49-F238E27FC236}">
                  <a16:creationId xmlns:a16="http://schemas.microsoft.com/office/drawing/2014/main" id="{6CB4229A-F98A-B0BC-8AFD-71FFF784B4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1" name="Freeform 68">
              <a:extLst>
                <a:ext uri="{FF2B5EF4-FFF2-40B4-BE49-F238E27FC236}">
                  <a16:creationId xmlns:a16="http://schemas.microsoft.com/office/drawing/2014/main" id="{CAECA20E-2FE4-457B-BADE-22D29E84E2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2" name="Freeform 69">
              <a:extLst>
                <a:ext uri="{FF2B5EF4-FFF2-40B4-BE49-F238E27FC236}">
                  <a16:creationId xmlns:a16="http://schemas.microsoft.com/office/drawing/2014/main" id="{F26025AC-6060-4FD0-9951-B76C542BB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3" name="Freeform 70">
              <a:extLst>
                <a:ext uri="{FF2B5EF4-FFF2-40B4-BE49-F238E27FC236}">
                  <a16:creationId xmlns:a16="http://schemas.microsoft.com/office/drawing/2014/main" id="{8865A007-4507-EF3C-D5FA-FE7726337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4" name="Freeform 71">
              <a:extLst>
                <a:ext uri="{FF2B5EF4-FFF2-40B4-BE49-F238E27FC236}">
                  <a16:creationId xmlns:a16="http://schemas.microsoft.com/office/drawing/2014/main" id="{084A64E0-481E-DD9B-A58C-66A94954B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5" name="Freeform 72">
              <a:extLst>
                <a:ext uri="{FF2B5EF4-FFF2-40B4-BE49-F238E27FC236}">
                  <a16:creationId xmlns:a16="http://schemas.microsoft.com/office/drawing/2014/main" id="{062C7D0C-9D0A-881C-0800-158DE5082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6" name="Freeform 73">
              <a:extLst>
                <a:ext uri="{FF2B5EF4-FFF2-40B4-BE49-F238E27FC236}">
                  <a16:creationId xmlns:a16="http://schemas.microsoft.com/office/drawing/2014/main" id="{E07F27B4-DB35-198C-5931-F1749D1EE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7" name="Freeform 74">
              <a:extLst>
                <a:ext uri="{FF2B5EF4-FFF2-40B4-BE49-F238E27FC236}">
                  <a16:creationId xmlns:a16="http://schemas.microsoft.com/office/drawing/2014/main" id="{31E6DC4A-9672-42F1-A79F-3851B66D3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8" name="Freeform 75">
              <a:extLst>
                <a:ext uri="{FF2B5EF4-FFF2-40B4-BE49-F238E27FC236}">
                  <a16:creationId xmlns:a16="http://schemas.microsoft.com/office/drawing/2014/main" id="{C4A52019-63C8-AF81-F990-C863D3AFFA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9" name="Freeform 76">
              <a:extLst>
                <a:ext uri="{FF2B5EF4-FFF2-40B4-BE49-F238E27FC236}">
                  <a16:creationId xmlns:a16="http://schemas.microsoft.com/office/drawing/2014/main" id="{67846A15-DBF0-E835-4B95-361E7079E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0" name="Freeform 77">
              <a:extLst>
                <a:ext uri="{FF2B5EF4-FFF2-40B4-BE49-F238E27FC236}">
                  <a16:creationId xmlns:a16="http://schemas.microsoft.com/office/drawing/2014/main" id="{210CAFE5-9FDA-239C-2729-BDF2C7151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351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4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4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2 h 26"/>
                <a:gd name="T28" fmla="*/ 13 w 25"/>
                <a:gd name="T29" fmla="*/ 0 h 26"/>
                <a:gd name="T30" fmla="*/ 17 w 25"/>
                <a:gd name="T31" fmla="*/ 2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1" name="Freeform 78">
              <a:extLst>
                <a:ext uri="{FF2B5EF4-FFF2-40B4-BE49-F238E27FC236}">
                  <a16:creationId xmlns:a16="http://schemas.microsoft.com/office/drawing/2014/main" id="{292E53D3-FFAD-E1CC-4592-8650543FC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351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4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4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2 h 26"/>
                <a:gd name="T28" fmla="*/ 13 w 25"/>
                <a:gd name="T29" fmla="*/ 0 h 26"/>
                <a:gd name="T30" fmla="*/ 17 w 25"/>
                <a:gd name="T31" fmla="*/ 2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2" name="Freeform 79">
              <a:extLst>
                <a:ext uri="{FF2B5EF4-FFF2-40B4-BE49-F238E27FC236}">
                  <a16:creationId xmlns:a16="http://schemas.microsoft.com/office/drawing/2014/main" id="{245D415E-6AB0-B527-CC09-D94B25865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91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1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3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3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3" name="Freeform 80">
              <a:extLst>
                <a:ext uri="{FF2B5EF4-FFF2-40B4-BE49-F238E27FC236}">
                  <a16:creationId xmlns:a16="http://schemas.microsoft.com/office/drawing/2014/main" id="{F496C357-804D-4608-650C-EC7F41482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91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1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3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3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4" name="Freeform 81">
              <a:extLst>
                <a:ext uri="{FF2B5EF4-FFF2-40B4-BE49-F238E27FC236}">
                  <a16:creationId xmlns:a16="http://schemas.microsoft.com/office/drawing/2014/main" id="{85583E55-AEED-AEEC-050B-39E700EC06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987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0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5" name="Freeform 82">
              <a:extLst>
                <a:ext uri="{FF2B5EF4-FFF2-40B4-BE49-F238E27FC236}">
                  <a16:creationId xmlns:a16="http://schemas.microsoft.com/office/drawing/2014/main" id="{528B99C9-9336-74B3-0ADF-BAE5BF320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987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0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6" name="Freeform 83">
              <a:extLst>
                <a:ext uri="{FF2B5EF4-FFF2-40B4-BE49-F238E27FC236}">
                  <a16:creationId xmlns:a16="http://schemas.microsoft.com/office/drawing/2014/main" id="{B21802DD-6EDD-9BE0-C90F-75C06726A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987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0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7" name="Freeform 84">
              <a:extLst>
                <a:ext uri="{FF2B5EF4-FFF2-40B4-BE49-F238E27FC236}">
                  <a16:creationId xmlns:a16="http://schemas.microsoft.com/office/drawing/2014/main" id="{F291E17C-875C-99EB-FCF7-19698DF92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987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0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8" name="Freeform 85">
              <a:extLst>
                <a:ext uri="{FF2B5EF4-FFF2-40B4-BE49-F238E27FC236}">
                  <a16:creationId xmlns:a16="http://schemas.microsoft.com/office/drawing/2014/main" id="{373644DB-7AC9-6F55-00AA-453493E379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99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1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3 h 26"/>
                <a:gd name="T26" fmla="*/ 7 w 26"/>
                <a:gd name="T27" fmla="*/ 1 h 26"/>
                <a:gd name="T28" fmla="*/ 13 w 26"/>
                <a:gd name="T29" fmla="*/ 0 h 26"/>
                <a:gd name="T30" fmla="*/ 18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8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9" name="Freeform 86">
              <a:extLst>
                <a:ext uri="{FF2B5EF4-FFF2-40B4-BE49-F238E27FC236}">
                  <a16:creationId xmlns:a16="http://schemas.microsoft.com/office/drawing/2014/main" id="{ABA493A7-4FE6-2FBC-9F00-543C325F47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99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1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3 h 26"/>
                <a:gd name="T26" fmla="*/ 7 w 26"/>
                <a:gd name="T27" fmla="*/ 1 h 26"/>
                <a:gd name="T28" fmla="*/ 13 w 26"/>
                <a:gd name="T29" fmla="*/ 0 h 26"/>
                <a:gd name="T30" fmla="*/ 18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8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0" name="Freeform 87">
              <a:extLst>
                <a:ext uri="{FF2B5EF4-FFF2-40B4-BE49-F238E27FC236}">
                  <a16:creationId xmlns:a16="http://schemas.microsoft.com/office/drawing/2014/main" id="{583DC047-8CD3-E6D3-0643-913483A84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1" name="Freeform 88">
              <a:extLst>
                <a:ext uri="{FF2B5EF4-FFF2-40B4-BE49-F238E27FC236}">
                  <a16:creationId xmlns:a16="http://schemas.microsoft.com/office/drawing/2014/main" id="{0A34CCD2-C152-EEB7-59D2-EC8D61D93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2" name="Freeform 89">
              <a:extLst>
                <a:ext uri="{FF2B5EF4-FFF2-40B4-BE49-F238E27FC236}">
                  <a16:creationId xmlns:a16="http://schemas.microsoft.com/office/drawing/2014/main" id="{6E2A64D5-C74C-4C12-D02F-E31ACF457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3" name="Freeform 90">
              <a:extLst>
                <a:ext uri="{FF2B5EF4-FFF2-40B4-BE49-F238E27FC236}">
                  <a16:creationId xmlns:a16="http://schemas.microsoft.com/office/drawing/2014/main" id="{1B6A26F8-0D09-BE34-23E9-B12DECD121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4" name="Freeform 91">
              <a:extLst>
                <a:ext uri="{FF2B5EF4-FFF2-40B4-BE49-F238E27FC236}">
                  <a16:creationId xmlns:a16="http://schemas.microsoft.com/office/drawing/2014/main" id="{276D8927-572F-9CBE-1E65-9CFAAEAA8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5" name="Freeform 92">
              <a:extLst>
                <a:ext uri="{FF2B5EF4-FFF2-40B4-BE49-F238E27FC236}">
                  <a16:creationId xmlns:a16="http://schemas.microsoft.com/office/drawing/2014/main" id="{4CA2A1A1-2401-2166-1395-D45FC6298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6" name="Freeform 93">
              <a:extLst>
                <a:ext uri="{FF2B5EF4-FFF2-40B4-BE49-F238E27FC236}">
                  <a16:creationId xmlns:a16="http://schemas.microsoft.com/office/drawing/2014/main" id="{DE2A955D-B965-B6D6-5225-FD01CDC91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22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7" name="Freeform 94">
              <a:extLst>
                <a:ext uri="{FF2B5EF4-FFF2-40B4-BE49-F238E27FC236}">
                  <a16:creationId xmlns:a16="http://schemas.microsoft.com/office/drawing/2014/main" id="{8BB2263E-CDDA-5781-E16C-A474CB74D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22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8" name="Freeform 95">
              <a:extLst>
                <a:ext uri="{FF2B5EF4-FFF2-40B4-BE49-F238E27FC236}">
                  <a16:creationId xmlns:a16="http://schemas.microsoft.com/office/drawing/2014/main" id="{9F4220B3-EA08-09AA-9D57-906902725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13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9" name="Freeform 96">
              <a:extLst>
                <a:ext uri="{FF2B5EF4-FFF2-40B4-BE49-F238E27FC236}">
                  <a16:creationId xmlns:a16="http://schemas.microsoft.com/office/drawing/2014/main" id="{3E68A5AC-3C12-B70E-BB5E-62DE7672C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13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0" name="Freeform 97">
              <a:extLst>
                <a:ext uri="{FF2B5EF4-FFF2-40B4-BE49-F238E27FC236}">
                  <a16:creationId xmlns:a16="http://schemas.microsoft.com/office/drawing/2014/main" id="{3F2A74EC-FFE1-947A-2FD7-8295359A9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" y="116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5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5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1" name="Freeform 98">
              <a:extLst>
                <a:ext uri="{FF2B5EF4-FFF2-40B4-BE49-F238E27FC236}">
                  <a16:creationId xmlns:a16="http://schemas.microsoft.com/office/drawing/2014/main" id="{AA2A1966-A9BE-DE19-9805-BD292FC79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" y="116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5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5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2" name="Freeform 99">
              <a:extLst>
                <a:ext uri="{FF2B5EF4-FFF2-40B4-BE49-F238E27FC236}">
                  <a16:creationId xmlns:a16="http://schemas.microsoft.com/office/drawing/2014/main" id="{8470D120-76C6-470A-F15C-A798CC882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32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0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0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7 h 28"/>
                <a:gd name="T24" fmla="*/ 3 w 24"/>
                <a:gd name="T25" fmla="*/ 4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4 h 28"/>
                <a:gd name="T34" fmla="*/ 24 w 24"/>
                <a:gd name="T35" fmla="*/ 7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5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3" name="Freeform 100">
              <a:extLst>
                <a:ext uri="{FF2B5EF4-FFF2-40B4-BE49-F238E27FC236}">
                  <a16:creationId xmlns:a16="http://schemas.microsoft.com/office/drawing/2014/main" id="{5B1E61A1-EC36-4383-A41D-B50FBEFB8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32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0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0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7 h 28"/>
                <a:gd name="T24" fmla="*/ 3 w 24"/>
                <a:gd name="T25" fmla="*/ 4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4 h 28"/>
                <a:gd name="T34" fmla="*/ 24 w 24"/>
                <a:gd name="T35" fmla="*/ 7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5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4" name="Freeform 101">
              <a:extLst>
                <a:ext uri="{FF2B5EF4-FFF2-40B4-BE49-F238E27FC236}">
                  <a16:creationId xmlns:a16="http://schemas.microsoft.com/office/drawing/2014/main" id="{FA64B928-CEC1-9478-D7A8-870B85735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14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5" name="Freeform 102">
              <a:extLst>
                <a:ext uri="{FF2B5EF4-FFF2-40B4-BE49-F238E27FC236}">
                  <a16:creationId xmlns:a16="http://schemas.microsoft.com/office/drawing/2014/main" id="{E2F6DA6B-50C3-BA34-7FD2-E6039B8ED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14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6" name="Freeform 103">
              <a:extLst>
                <a:ext uri="{FF2B5EF4-FFF2-40B4-BE49-F238E27FC236}">
                  <a16:creationId xmlns:a16="http://schemas.microsoft.com/office/drawing/2014/main" id="{AF2A4DF1-923F-A7C2-C59F-56969D1F2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76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3 h 26"/>
                <a:gd name="T8" fmla="*/ 17 w 25"/>
                <a:gd name="T9" fmla="*/ 24 h 26"/>
                <a:gd name="T10" fmla="*/ 13 w 25"/>
                <a:gd name="T11" fmla="*/ 26 h 26"/>
                <a:gd name="T12" fmla="*/ 8 w 25"/>
                <a:gd name="T13" fmla="*/ 24 h 26"/>
                <a:gd name="T14" fmla="*/ 4 w 25"/>
                <a:gd name="T15" fmla="*/ 23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2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2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3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5" y="8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7" name="Freeform 104">
              <a:extLst>
                <a:ext uri="{FF2B5EF4-FFF2-40B4-BE49-F238E27FC236}">
                  <a16:creationId xmlns:a16="http://schemas.microsoft.com/office/drawing/2014/main" id="{6497AA29-8EC2-78F4-1DE7-25A18CDF86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76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3 h 26"/>
                <a:gd name="T8" fmla="*/ 17 w 25"/>
                <a:gd name="T9" fmla="*/ 24 h 26"/>
                <a:gd name="T10" fmla="*/ 13 w 25"/>
                <a:gd name="T11" fmla="*/ 26 h 26"/>
                <a:gd name="T12" fmla="*/ 8 w 25"/>
                <a:gd name="T13" fmla="*/ 24 h 26"/>
                <a:gd name="T14" fmla="*/ 4 w 25"/>
                <a:gd name="T15" fmla="*/ 23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2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2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3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5" y="8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8" name="Freeform 105">
              <a:extLst>
                <a:ext uri="{FF2B5EF4-FFF2-40B4-BE49-F238E27FC236}">
                  <a16:creationId xmlns:a16="http://schemas.microsoft.com/office/drawing/2014/main" id="{5237C897-5A90-BB95-59A1-0669FABC1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01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9" name="Freeform 106">
              <a:extLst>
                <a:ext uri="{FF2B5EF4-FFF2-40B4-BE49-F238E27FC236}">
                  <a16:creationId xmlns:a16="http://schemas.microsoft.com/office/drawing/2014/main" id="{4C55E80E-45C5-C64A-6B96-75EB68471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01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0" name="Freeform 107">
              <a:extLst>
                <a:ext uri="{FF2B5EF4-FFF2-40B4-BE49-F238E27FC236}">
                  <a16:creationId xmlns:a16="http://schemas.microsoft.com/office/drawing/2014/main" id="{BADCC2FD-B04A-FC77-B611-00AD9E183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102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1" name="Freeform 108">
              <a:extLst>
                <a:ext uri="{FF2B5EF4-FFF2-40B4-BE49-F238E27FC236}">
                  <a16:creationId xmlns:a16="http://schemas.microsoft.com/office/drawing/2014/main" id="{7C53FD81-3141-F1D0-774A-70483B60A6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102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2" name="Freeform 109">
              <a:extLst>
                <a:ext uri="{FF2B5EF4-FFF2-40B4-BE49-F238E27FC236}">
                  <a16:creationId xmlns:a16="http://schemas.microsoft.com/office/drawing/2014/main" id="{15B910AB-E849-BDA5-616B-DDF95672B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102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3" name="Freeform 110">
              <a:extLst>
                <a:ext uri="{FF2B5EF4-FFF2-40B4-BE49-F238E27FC236}">
                  <a16:creationId xmlns:a16="http://schemas.microsoft.com/office/drawing/2014/main" id="{821303E4-86A0-CD82-8894-5F7F01DB4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102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4" name="Freeform 111">
              <a:extLst>
                <a:ext uri="{FF2B5EF4-FFF2-40B4-BE49-F238E27FC236}">
                  <a16:creationId xmlns:a16="http://schemas.microsoft.com/office/drawing/2014/main" id="{6BE5780E-10C9-13FE-7821-54DE0849E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080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5" name="Freeform 112">
              <a:extLst>
                <a:ext uri="{FF2B5EF4-FFF2-40B4-BE49-F238E27FC236}">
                  <a16:creationId xmlns:a16="http://schemas.microsoft.com/office/drawing/2014/main" id="{72E18F4E-0D0A-B306-1898-D6239A2FD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080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6" name="Freeform 113">
              <a:extLst>
                <a:ext uri="{FF2B5EF4-FFF2-40B4-BE49-F238E27FC236}">
                  <a16:creationId xmlns:a16="http://schemas.microsoft.com/office/drawing/2014/main" id="{526CDAA9-FDDD-22FC-718A-90202D04A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7" name="Freeform 114">
              <a:extLst>
                <a:ext uri="{FF2B5EF4-FFF2-40B4-BE49-F238E27FC236}">
                  <a16:creationId xmlns:a16="http://schemas.microsoft.com/office/drawing/2014/main" id="{5376FD0C-C368-087B-D3F2-016E362A13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8" name="Freeform 115">
              <a:extLst>
                <a:ext uri="{FF2B5EF4-FFF2-40B4-BE49-F238E27FC236}">
                  <a16:creationId xmlns:a16="http://schemas.microsoft.com/office/drawing/2014/main" id="{2DC626AB-12D2-2547-56A4-30CCE9821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9" name="Freeform 116">
              <a:extLst>
                <a:ext uri="{FF2B5EF4-FFF2-40B4-BE49-F238E27FC236}">
                  <a16:creationId xmlns:a16="http://schemas.microsoft.com/office/drawing/2014/main" id="{88D45266-B12E-BEBC-634F-B06EBB66E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0" name="Freeform 117">
              <a:extLst>
                <a:ext uri="{FF2B5EF4-FFF2-40B4-BE49-F238E27FC236}">
                  <a16:creationId xmlns:a16="http://schemas.microsoft.com/office/drawing/2014/main" id="{108DC40E-412D-D37B-6376-5672687DAD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1" name="Freeform 118">
              <a:extLst>
                <a:ext uri="{FF2B5EF4-FFF2-40B4-BE49-F238E27FC236}">
                  <a16:creationId xmlns:a16="http://schemas.microsoft.com/office/drawing/2014/main" id="{EB8787C1-9797-20EB-ADFB-930E65636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2" name="Freeform 119">
              <a:extLst>
                <a:ext uri="{FF2B5EF4-FFF2-40B4-BE49-F238E27FC236}">
                  <a16:creationId xmlns:a16="http://schemas.microsoft.com/office/drawing/2014/main" id="{AC8D1D60-924F-6344-8694-0E2904FF7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3" name="Freeform 120">
              <a:extLst>
                <a:ext uri="{FF2B5EF4-FFF2-40B4-BE49-F238E27FC236}">
                  <a16:creationId xmlns:a16="http://schemas.microsoft.com/office/drawing/2014/main" id="{46203E2F-8A80-91E1-7476-5A09746CB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4" name="Freeform 121">
              <a:extLst>
                <a:ext uri="{FF2B5EF4-FFF2-40B4-BE49-F238E27FC236}">
                  <a16:creationId xmlns:a16="http://schemas.microsoft.com/office/drawing/2014/main" id="{41D2DB28-DA50-479A-C08D-4DF9457FF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5" name="Freeform 122">
              <a:extLst>
                <a:ext uri="{FF2B5EF4-FFF2-40B4-BE49-F238E27FC236}">
                  <a16:creationId xmlns:a16="http://schemas.microsoft.com/office/drawing/2014/main" id="{C6F949E2-E38C-0F97-9090-3C418A6CB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6" name="Freeform 123">
              <a:extLst>
                <a:ext uri="{FF2B5EF4-FFF2-40B4-BE49-F238E27FC236}">
                  <a16:creationId xmlns:a16="http://schemas.microsoft.com/office/drawing/2014/main" id="{FE4B72A4-40E3-17A8-F074-55AECE7495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28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7" name="Freeform 124">
              <a:extLst>
                <a:ext uri="{FF2B5EF4-FFF2-40B4-BE49-F238E27FC236}">
                  <a16:creationId xmlns:a16="http://schemas.microsoft.com/office/drawing/2014/main" id="{F8EA69A9-F0B4-2572-D399-5827363BE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28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8" name="Freeform 125">
              <a:extLst>
                <a:ext uri="{FF2B5EF4-FFF2-40B4-BE49-F238E27FC236}">
                  <a16:creationId xmlns:a16="http://schemas.microsoft.com/office/drawing/2014/main" id="{04280E3A-506B-3AE4-47D5-236EF52A7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88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7 w 26"/>
                <a:gd name="T9" fmla="*/ 25 h 26"/>
                <a:gd name="T10" fmla="*/ 13 w 26"/>
                <a:gd name="T11" fmla="*/ 26 h 26"/>
                <a:gd name="T12" fmla="*/ 7 w 26"/>
                <a:gd name="T13" fmla="*/ 25 h 26"/>
                <a:gd name="T14" fmla="*/ 4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7" y="25"/>
                  </a:lnTo>
                  <a:lnTo>
                    <a:pt x="13" y="26"/>
                  </a:lnTo>
                  <a:lnTo>
                    <a:pt x="7" y="25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9" name="Freeform 126">
              <a:extLst>
                <a:ext uri="{FF2B5EF4-FFF2-40B4-BE49-F238E27FC236}">
                  <a16:creationId xmlns:a16="http://schemas.microsoft.com/office/drawing/2014/main" id="{1D8C13F4-3D8D-D984-5695-AEB9478FE0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88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7 w 26"/>
                <a:gd name="T9" fmla="*/ 25 h 26"/>
                <a:gd name="T10" fmla="*/ 13 w 26"/>
                <a:gd name="T11" fmla="*/ 26 h 26"/>
                <a:gd name="T12" fmla="*/ 7 w 26"/>
                <a:gd name="T13" fmla="*/ 25 h 26"/>
                <a:gd name="T14" fmla="*/ 4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7" y="25"/>
                  </a:lnTo>
                  <a:lnTo>
                    <a:pt x="13" y="26"/>
                  </a:lnTo>
                  <a:lnTo>
                    <a:pt x="7" y="25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0" name="Freeform 127">
              <a:extLst>
                <a:ext uri="{FF2B5EF4-FFF2-40B4-BE49-F238E27FC236}">
                  <a16:creationId xmlns:a16="http://schemas.microsoft.com/office/drawing/2014/main" id="{71C7CB1A-9D16-B623-CC05-847A192FC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88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7 w 26"/>
                <a:gd name="T9" fmla="*/ 25 h 26"/>
                <a:gd name="T10" fmla="*/ 13 w 26"/>
                <a:gd name="T11" fmla="*/ 26 h 26"/>
                <a:gd name="T12" fmla="*/ 7 w 26"/>
                <a:gd name="T13" fmla="*/ 25 h 26"/>
                <a:gd name="T14" fmla="*/ 4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7" y="25"/>
                  </a:lnTo>
                  <a:lnTo>
                    <a:pt x="13" y="26"/>
                  </a:lnTo>
                  <a:lnTo>
                    <a:pt x="7" y="25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1" name="Freeform 128">
              <a:extLst>
                <a:ext uri="{FF2B5EF4-FFF2-40B4-BE49-F238E27FC236}">
                  <a16:creationId xmlns:a16="http://schemas.microsoft.com/office/drawing/2014/main" id="{8A85123A-17AE-5A06-2548-8EF39520D5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88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7 w 26"/>
                <a:gd name="T9" fmla="*/ 25 h 26"/>
                <a:gd name="T10" fmla="*/ 13 w 26"/>
                <a:gd name="T11" fmla="*/ 26 h 26"/>
                <a:gd name="T12" fmla="*/ 7 w 26"/>
                <a:gd name="T13" fmla="*/ 25 h 26"/>
                <a:gd name="T14" fmla="*/ 4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7" y="25"/>
                  </a:lnTo>
                  <a:lnTo>
                    <a:pt x="13" y="26"/>
                  </a:lnTo>
                  <a:lnTo>
                    <a:pt x="7" y="25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2" name="Freeform 129">
              <a:extLst>
                <a:ext uri="{FF2B5EF4-FFF2-40B4-BE49-F238E27FC236}">
                  <a16:creationId xmlns:a16="http://schemas.microsoft.com/office/drawing/2014/main" id="{4BB002BD-5ED5-9DEC-49E6-6E63531A8A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85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3" name="Freeform 130">
              <a:extLst>
                <a:ext uri="{FF2B5EF4-FFF2-40B4-BE49-F238E27FC236}">
                  <a16:creationId xmlns:a16="http://schemas.microsoft.com/office/drawing/2014/main" id="{2EC85D9C-70E2-575B-5C0B-DF3912A143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85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4" name="Freeform 131">
              <a:extLst>
                <a:ext uri="{FF2B5EF4-FFF2-40B4-BE49-F238E27FC236}">
                  <a16:creationId xmlns:a16="http://schemas.microsoft.com/office/drawing/2014/main" id="{072E64F3-074C-05A6-0C29-E68E38973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5" name="Freeform 132">
              <a:extLst>
                <a:ext uri="{FF2B5EF4-FFF2-40B4-BE49-F238E27FC236}">
                  <a16:creationId xmlns:a16="http://schemas.microsoft.com/office/drawing/2014/main" id="{BA1D84F2-3AD4-A0B2-E704-6987F2C04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6" name="Freeform 133">
              <a:extLst>
                <a:ext uri="{FF2B5EF4-FFF2-40B4-BE49-F238E27FC236}">
                  <a16:creationId xmlns:a16="http://schemas.microsoft.com/office/drawing/2014/main" id="{A93B951A-6390-8D7F-95E3-461D6F46A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7" name="Freeform 134">
              <a:extLst>
                <a:ext uri="{FF2B5EF4-FFF2-40B4-BE49-F238E27FC236}">
                  <a16:creationId xmlns:a16="http://schemas.microsoft.com/office/drawing/2014/main" id="{00B173D2-BCFC-BF58-31D7-0F7A5A286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8" name="Freeform 135">
              <a:extLst>
                <a:ext uri="{FF2B5EF4-FFF2-40B4-BE49-F238E27FC236}">
                  <a16:creationId xmlns:a16="http://schemas.microsoft.com/office/drawing/2014/main" id="{E7B4F243-56D6-2168-C4FE-F88F86245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9" name="Freeform 136">
              <a:extLst>
                <a:ext uri="{FF2B5EF4-FFF2-40B4-BE49-F238E27FC236}">
                  <a16:creationId xmlns:a16="http://schemas.microsoft.com/office/drawing/2014/main" id="{29788DD4-90AD-56DE-F074-DBB3C35BDA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0" name="Freeform 137">
              <a:extLst>
                <a:ext uri="{FF2B5EF4-FFF2-40B4-BE49-F238E27FC236}">
                  <a16:creationId xmlns:a16="http://schemas.microsoft.com/office/drawing/2014/main" id="{4EE495CB-3EBF-C387-551F-147B1EC063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969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0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0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7 h 28"/>
                <a:gd name="T24" fmla="*/ 3 w 24"/>
                <a:gd name="T25" fmla="*/ 3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3 h 28"/>
                <a:gd name="T34" fmla="*/ 24 w 24"/>
                <a:gd name="T35" fmla="*/ 7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1" name="Freeform 138">
              <a:extLst>
                <a:ext uri="{FF2B5EF4-FFF2-40B4-BE49-F238E27FC236}">
                  <a16:creationId xmlns:a16="http://schemas.microsoft.com/office/drawing/2014/main" id="{7DC32CB2-913A-D48E-ADEC-2C4A0EFCC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969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0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0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7 h 28"/>
                <a:gd name="T24" fmla="*/ 3 w 24"/>
                <a:gd name="T25" fmla="*/ 3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3 h 28"/>
                <a:gd name="T34" fmla="*/ 24 w 24"/>
                <a:gd name="T35" fmla="*/ 7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2" name="Freeform 139">
              <a:extLst>
                <a:ext uri="{FF2B5EF4-FFF2-40B4-BE49-F238E27FC236}">
                  <a16:creationId xmlns:a16="http://schemas.microsoft.com/office/drawing/2014/main" id="{4428A753-F59D-0C37-F7FB-797FD7216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932"/>
              <a:ext cx="26" cy="27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6 w 26"/>
                <a:gd name="T5" fmla="*/ 20 h 27"/>
                <a:gd name="T6" fmla="*/ 23 w 26"/>
                <a:gd name="T7" fmla="*/ 24 h 27"/>
                <a:gd name="T8" fmla="*/ 19 w 26"/>
                <a:gd name="T9" fmla="*/ 26 h 27"/>
                <a:gd name="T10" fmla="*/ 13 w 26"/>
                <a:gd name="T11" fmla="*/ 27 h 27"/>
                <a:gd name="T12" fmla="*/ 10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3 h 27"/>
                <a:gd name="T20" fmla="*/ 0 w 26"/>
                <a:gd name="T21" fmla="*/ 13 h 27"/>
                <a:gd name="T22" fmla="*/ 2 w 26"/>
                <a:gd name="T23" fmla="*/ 7 h 27"/>
                <a:gd name="T24" fmla="*/ 4 w 26"/>
                <a:gd name="T25" fmla="*/ 3 h 27"/>
                <a:gd name="T26" fmla="*/ 10 w 26"/>
                <a:gd name="T27" fmla="*/ 1 h 27"/>
                <a:gd name="T28" fmla="*/ 13 w 26"/>
                <a:gd name="T29" fmla="*/ 0 h 27"/>
                <a:gd name="T30" fmla="*/ 19 w 26"/>
                <a:gd name="T31" fmla="*/ 1 h 27"/>
                <a:gd name="T32" fmla="*/ 23 w 26"/>
                <a:gd name="T33" fmla="*/ 3 h 27"/>
                <a:gd name="T34" fmla="*/ 26 w 26"/>
                <a:gd name="T35" fmla="*/ 7 h 27"/>
                <a:gd name="T36" fmla="*/ 26 w 26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6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7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3" name="Freeform 140">
              <a:extLst>
                <a:ext uri="{FF2B5EF4-FFF2-40B4-BE49-F238E27FC236}">
                  <a16:creationId xmlns:a16="http://schemas.microsoft.com/office/drawing/2014/main" id="{667D7EA4-B5F0-1CFE-6A44-B5D0CE237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932"/>
              <a:ext cx="26" cy="27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6 w 26"/>
                <a:gd name="T5" fmla="*/ 20 h 27"/>
                <a:gd name="T6" fmla="*/ 23 w 26"/>
                <a:gd name="T7" fmla="*/ 24 h 27"/>
                <a:gd name="T8" fmla="*/ 19 w 26"/>
                <a:gd name="T9" fmla="*/ 26 h 27"/>
                <a:gd name="T10" fmla="*/ 13 w 26"/>
                <a:gd name="T11" fmla="*/ 27 h 27"/>
                <a:gd name="T12" fmla="*/ 10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3 h 27"/>
                <a:gd name="T20" fmla="*/ 0 w 26"/>
                <a:gd name="T21" fmla="*/ 13 h 27"/>
                <a:gd name="T22" fmla="*/ 2 w 26"/>
                <a:gd name="T23" fmla="*/ 7 h 27"/>
                <a:gd name="T24" fmla="*/ 4 w 26"/>
                <a:gd name="T25" fmla="*/ 3 h 27"/>
                <a:gd name="T26" fmla="*/ 10 w 26"/>
                <a:gd name="T27" fmla="*/ 1 h 27"/>
                <a:gd name="T28" fmla="*/ 13 w 26"/>
                <a:gd name="T29" fmla="*/ 0 h 27"/>
                <a:gd name="T30" fmla="*/ 19 w 26"/>
                <a:gd name="T31" fmla="*/ 1 h 27"/>
                <a:gd name="T32" fmla="*/ 23 w 26"/>
                <a:gd name="T33" fmla="*/ 3 h 27"/>
                <a:gd name="T34" fmla="*/ 26 w 26"/>
                <a:gd name="T35" fmla="*/ 7 h 27"/>
                <a:gd name="T36" fmla="*/ 26 w 26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6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7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4" name="Freeform 141">
              <a:extLst>
                <a:ext uri="{FF2B5EF4-FFF2-40B4-BE49-F238E27FC236}">
                  <a16:creationId xmlns:a16="http://schemas.microsoft.com/office/drawing/2014/main" id="{772C7447-6F8D-0480-426C-4B67B4DAB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932"/>
              <a:ext cx="26" cy="27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6 w 26"/>
                <a:gd name="T5" fmla="*/ 20 h 27"/>
                <a:gd name="T6" fmla="*/ 23 w 26"/>
                <a:gd name="T7" fmla="*/ 24 h 27"/>
                <a:gd name="T8" fmla="*/ 19 w 26"/>
                <a:gd name="T9" fmla="*/ 26 h 27"/>
                <a:gd name="T10" fmla="*/ 13 w 26"/>
                <a:gd name="T11" fmla="*/ 27 h 27"/>
                <a:gd name="T12" fmla="*/ 10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3 h 27"/>
                <a:gd name="T20" fmla="*/ 0 w 26"/>
                <a:gd name="T21" fmla="*/ 13 h 27"/>
                <a:gd name="T22" fmla="*/ 2 w 26"/>
                <a:gd name="T23" fmla="*/ 7 h 27"/>
                <a:gd name="T24" fmla="*/ 4 w 26"/>
                <a:gd name="T25" fmla="*/ 3 h 27"/>
                <a:gd name="T26" fmla="*/ 10 w 26"/>
                <a:gd name="T27" fmla="*/ 1 h 27"/>
                <a:gd name="T28" fmla="*/ 13 w 26"/>
                <a:gd name="T29" fmla="*/ 0 h 27"/>
                <a:gd name="T30" fmla="*/ 19 w 26"/>
                <a:gd name="T31" fmla="*/ 1 h 27"/>
                <a:gd name="T32" fmla="*/ 23 w 26"/>
                <a:gd name="T33" fmla="*/ 3 h 27"/>
                <a:gd name="T34" fmla="*/ 26 w 26"/>
                <a:gd name="T35" fmla="*/ 7 h 27"/>
                <a:gd name="T36" fmla="*/ 26 w 26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6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7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5" name="Freeform 142">
              <a:extLst>
                <a:ext uri="{FF2B5EF4-FFF2-40B4-BE49-F238E27FC236}">
                  <a16:creationId xmlns:a16="http://schemas.microsoft.com/office/drawing/2014/main" id="{E3980962-0CBF-7AB0-5172-6BE55DC94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932"/>
              <a:ext cx="26" cy="27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6 w 26"/>
                <a:gd name="T5" fmla="*/ 20 h 27"/>
                <a:gd name="T6" fmla="*/ 23 w 26"/>
                <a:gd name="T7" fmla="*/ 24 h 27"/>
                <a:gd name="T8" fmla="*/ 19 w 26"/>
                <a:gd name="T9" fmla="*/ 26 h 27"/>
                <a:gd name="T10" fmla="*/ 13 w 26"/>
                <a:gd name="T11" fmla="*/ 27 h 27"/>
                <a:gd name="T12" fmla="*/ 10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3 h 27"/>
                <a:gd name="T20" fmla="*/ 0 w 26"/>
                <a:gd name="T21" fmla="*/ 13 h 27"/>
                <a:gd name="T22" fmla="*/ 2 w 26"/>
                <a:gd name="T23" fmla="*/ 7 h 27"/>
                <a:gd name="T24" fmla="*/ 4 w 26"/>
                <a:gd name="T25" fmla="*/ 3 h 27"/>
                <a:gd name="T26" fmla="*/ 10 w 26"/>
                <a:gd name="T27" fmla="*/ 1 h 27"/>
                <a:gd name="T28" fmla="*/ 13 w 26"/>
                <a:gd name="T29" fmla="*/ 0 h 27"/>
                <a:gd name="T30" fmla="*/ 19 w 26"/>
                <a:gd name="T31" fmla="*/ 1 h 27"/>
                <a:gd name="T32" fmla="*/ 23 w 26"/>
                <a:gd name="T33" fmla="*/ 3 h 27"/>
                <a:gd name="T34" fmla="*/ 26 w 26"/>
                <a:gd name="T35" fmla="*/ 7 h 27"/>
                <a:gd name="T36" fmla="*/ 26 w 26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6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7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6" name="Freeform 143">
              <a:extLst>
                <a:ext uri="{FF2B5EF4-FFF2-40B4-BE49-F238E27FC236}">
                  <a16:creationId xmlns:a16="http://schemas.microsoft.com/office/drawing/2014/main" id="{95542386-1A8D-1628-B986-CAC516AE6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" y="911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0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7" name="Freeform 144">
              <a:extLst>
                <a:ext uri="{FF2B5EF4-FFF2-40B4-BE49-F238E27FC236}">
                  <a16:creationId xmlns:a16="http://schemas.microsoft.com/office/drawing/2014/main" id="{D010C4DF-B6FE-A8ED-2C1B-0472C4DD2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" y="911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0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8" name="Freeform 145">
              <a:extLst>
                <a:ext uri="{FF2B5EF4-FFF2-40B4-BE49-F238E27FC236}">
                  <a16:creationId xmlns:a16="http://schemas.microsoft.com/office/drawing/2014/main" id="{2254A0AF-3F6F-1A65-F502-BF7AA1D53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9" name="Freeform 146">
              <a:extLst>
                <a:ext uri="{FF2B5EF4-FFF2-40B4-BE49-F238E27FC236}">
                  <a16:creationId xmlns:a16="http://schemas.microsoft.com/office/drawing/2014/main" id="{66EE8A6D-64D7-8585-CBF7-5C10851450C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0" name="Freeform 147">
              <a:extLst>
                <a:ext uri="{FF2B5EF4-FFF2-40B4-BE49-F238E27FC236}">
                  <a16:creationId xmlns:a16="http://schemas.microsoft.com/office/drawing/2014/main" id="{A5B3F582-96DF-1C02-4FCB-D1EFD767D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1" name="Freeform 148">
              <a:extLst>
                <a:ext uri="{FF2B5EF4-FFF2-40B4-BE49-F238E27FC236}">
                  <a16:creationId xmlns:a16="http://schemas.microsoft.com/office/drawing/2014/main" id="{6B3BEF96-C270-27C1-6FE2-25397107B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2" name="Freeform 149">
              <a:extLst>
                <a:ext uri="{FF2B5EF4-FFF2-40B4-BE49-F238E27FC236}">
                  <a16:creationId xmlns:a16="http://schemas.microsoft.com/office/drawing/2014/main" id="{40D2AF7C-7C16-6055-32DE-03E739C003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3" name="Freeform 150">
              <a:extLst>
                <a:ext uri="{FF2B5EF4-FFF2-40B4-BE49-F238E27FC236}">
                  <a16:creationId xmlns:a16="http://schemas.microsoft.com/office/drawing/2014/main" id="{8E152994-350F-D676-C532-FA5A34774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4" name="Freeform 151">
              <a:extLst>
                <a:ext uri="{FF2B5EF4-FFF2-40B4-BE49-F238E27FC236}">
                  <a16:creationId xmlns:a16="http://schemas.microsoft.com/office/drawing/2014/main" id="{440D0AD0-42AA-CFB7-0035-0609B9C99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06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5" name="Freeform 152">
              <a:extLst>
                <a:ext uri="{FF2B5EF4-FFF2-40B4-BE49-F238E27FC236}">
                  <a16:creationId xmlns:a16="http://schemas.microsoft.com/office/drawing/2014/main" id="{F76B6C87-C8A8-A6A6-32E7-B75131FB01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06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6" name="Freeform 153">
              <a:extLst>
                <a:ext uri="{FF2B5EF4-FFF2-40B4-BE49-F238E27FC236}">
                  <a16:creationId xmlns:a16="http://schemas.microsoft.com/office/drawing/2014/main" id="{4A1CC025-6BC1-10B9-3EC2-B13FC3C3F7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06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7" name="Freeform 154">
              <a:extLst>
                <a:ext uri="{FF2B5EF4-FFF2-40B4-BE49-F238E27FC236}">
                  <a16:creationId xmlns:a16="http://schemas.microsoft.com/office/drawing/2014/main" id="{12CF1FD1-DE3D-34FE-6392-E615C272E9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06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8" name="Freeform 155">
              <a:extLst>
                <a:ext uri="{FF2B5EF4-FFF2-40B4-BE49-F238E27FC236}">
                  <a16:creationId xmlns:a16="http://schemas.microsoft.com/office/drawing/2014/main" id="{098C6A2A-98A0-5C96-4A60-8E100BAE9A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06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9" name="Freeform 156">
              <a:extLst>
                <a:ext uri="{FF2B5EF4-FFF2-40B4-BE49-F238E27FC236}">
                  <a16:creationId xmlns:a16="http://schemas.microsoft.com/office/drawing/2014/main" id="{7155B0C0-C03D-18C1-2A1C-D752F0383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06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0" name="Freeform 157">
              <a:extLst>
                <a:ext uri="{FF2B5EF4-FFF2-40B4-BE49-F238E27FC236}">
                  <a16:creationId xmlns:a16="http://schemas.microsoft.com/office/drawing/2014/main" id="{4480C3A3-F190-25A7-F0B2-0B7ADAB34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82"/>
              <a:ext cx="25" cy="28"/>
            </a:xfrm>
            <a:custGeom>
              <a:avLst/>
              <a:gdLst>
                <a:gd name="T0" fmla="*/ 25 w 25"/>
                <a:gd name="T1" fmla="*/ 15 h 28"/>
                <a:gd name="T2" fmla="*/ 25 w 25"/>
                <a:gd name="T3" fmla="*/ 15 h 28"/>
                <a:gd name="T4" fmla="*/ 25 w 25"/>
                <a:gd name="T5" fmla="*/ 20 h 28"/>
                <a:gd name="T6" fmla="*/ 21 w 25"/>
                <a:gd name="T7" fmla="*/ 24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4 h 28"/>
                <a:gd name="T16" fmla="*/ 0 w 25"/>
                <a:gd name="T17" fmla="*/ 20 h 28"/>
                <a:gd name="T18" fmla="*/ 0 w 25"/>
                <a:gd name="T19" fmla="*/ 15 h 28"/>
                <a:gd name="T20" fmla="*/ 0 w 25"/>
                <a:gd name="T21" fmla="*/ 15 h 28"/>
                <a:gd name="T22" fmla="*/ 0 w 25"/>
                <a:gd name="T23" fmla="*/ 7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7 h 28"/>
                <a:gd name="T36" fmla="*/ 25 w 25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5"/>
                  </a:moveTo>
                  <a:lnTo>
                    <a:pt x="25" y="15"/>
                  </a:lnTo>
                  <a:lnTo>
                    <a:pt x="25" y="20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5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1" name="Freeform 158">
              <a:extLst>
                <a:ext uri="{FF2B5EF4-FFF2-40B4-BE49-F238E27FC236}">
                  <a16:creationId xmlns:a16="http://schemas.microsoft.com/office/drawing/2014/main" id="{CF366C22-2546-FEF1-D570-2A1C9C814C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82"/>
              <a:ext cx="25" cy="28"/>
            </a:xfrm>
            <a:custGeom>
              <a:avLst/>
              <a:gdLst>
                <a:gd name="T0" fmla="*/ 25 w 25"/>
                <a:gd name="T1" fmla="*/ 15 h 28"/>
                <a:gd name="T2" fmla="*/ 25 w 25"/>
                <a:gd name="T3" fmla="*/ 15 h 28"/>
                <a:gd name="T4" fmla="*/ 25 w 25"/>
                <a:gd name="T5" fmla="*/ 20 h 28"/>
                <a:gd name="T6" fmla="*/ 21 w 25"/>
                <a:gd name="T7" fmla="*/ 24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4 h 28"/>
                <a:gd name="T16" fmla="*/ 0 w 25"/>
                <a:gd name="T17" fmla="*/ 20 h 28"/>
                <a:gd name="T18" fmla="*/ 0 w 25"/>
                <a:gd name="T19" fmla="*/ 15 h 28"/>
                <a:gd name="T20" fmla="*/ 0 w 25"/>
                <a:gd name="T21" fmla="*/ 15 h 28"/>
                <a:gd name="T22" fmla="*/ 0 w 25"/>
                <a:gd name="T23" fmla="*/ 7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7 h 28"/>
                <a:gd name="T36" fmla="*/ 25 w 25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5"/>
                  </a:moveTo>
                  <a:lnTo>
                    <a:pt x="25" y="15"/>
                  </a:lnTo>
                  <a:lnTo>
                    <a:pt x="25" y="20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5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2" name="Freeform 159">
              <a:extLst>
                <a:ext uri="{FF2B5EF4-FFF2-40B4-BE49-F238E27FC236}">
                  <a16:creationId xmlns:a16="http://schemas.microsoft.com/office/drawing/2014/main" id="{D86963F1-FC2C-13B6-7D7E-E354DB303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06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3" name="Freeform 160">
              <a:extLst>
                <a:ext uri="{FF2B5EF4-FFF2-40B4-BE49-F238E27FC236}">
                  <a16:creationId xmlns:a16="http://schemas.microsoft.com/office/drawing/2014/main" id="{6E7DE216-62A2-E830-5B85-0D6F66DC3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06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4" name="Freeform 161">
              <a:extLst>
                <a:ext uri="{FF2B5EF4-FFF2-40B4-BE49-F238E27FC236}">
                  <a16:creationId xmlns:a16="http://schemas.microsoft.com/office/drawing/2014/main" id="{115ACAB4-B2B2-915F-C18C-45BBB80171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063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3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3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5" name="Freeform 162">
              <a:extLst>
                <a:ext uri="{FF2B5EF4-FFF2-40B4-BE49-F238E27FC236}">
                  <a16:creationId xmlns:a16="http://schemas.microsoft.com/office/drawing/2014/main" id="{05CF0914-A79B-502F-E1A7-D0DC9A567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063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3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3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6" name="Freeform 163">
              <a:extLst>
                <a:ext uri="{FF2B5EF4-FFF2-40B4-BE49-F238E27FC236}">
                  <a16:creationId xmlns:a16="http://schemas.microsoft.com/office/drawing/2014/main" id="{A1C3D337-137E-A02A-E91F-986DDA55A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07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5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7" name="Freeform 164">
              <a:extLst>
                <a:ext uri="{FF2B5EF4-FFF2-40B4-BE49-F238E27FC236}">
                  <a16:creationId xmlns:a16="http://schemas.microsoft.com/office/drawing/2014/main" id="{3D1FDF05-6695-8183-196B-972BC22B89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07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5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8" name="Freeform 165">
              <a:extLst>
                <a:ext uri="{FF2B5EF4-FFF2-40B4-BE49-F238E27FC236}">
                  <a16:creationId xmlns:a16="http://schemas.microsoft.com/office/drawing/2014/main" id="{F5974F85-DF6B-90CD-947D-80D23DA7D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073"/>
              <a:ext cx="24" cy="27"/>
            </a:xfrm>
            <a:custGeom>
              <a:avLst/>
              <a:gdLst>
                <a:gd name="T0" fmla="*/ 24 w 24"/>
                <a:gd name="T1" fmla="*/ 13 h 27"/>
                <a:gd name="T2" fmla="*/ 24 w 24"/>
                <a:gd name="T3" fmla="*/ 13 h 27"/>
                <a:gd name="T4" fmla="*/ 24 w 24"/>
                <a:gd name="T5" fmla="*/ 20 h 27"/>
                <a:gd name="T6" fmla="*/ 20 w 24"/>
                <a:gd name="T7" fmla="*/ 24 h 27"/>
                <a:gd name="T8" fmla="*/ 17 w 24"/>
                <a:gd name="T9" fmla="*/ 26 h 27"/>
                <a:gd name="T10" fmla="*/ 11 w 24"/>
                <a:gd name="T11" fmla="*/ 27 h 27"/>
                <a:gd name="T12" fmla="*/ 7 w 24"/>
                <a:gd name="T13" fmla="*/ 26 h 27"/>
                <a:gd name="T14" fmla="*/ 4 w 24"/>
                <a:gd name="T15" fmla="*/ 24 h 27"/>
                <a:gd name="T16" fmla="*/ 0 w 24"/>
                <a:gd name="T17" fmla="*/ 20 h 27"/>
                <a:gd name="T18" fmla="*/ 0 w 24"/>
                <a:gd name="T19" fmla="*/ 13 h 27"/>
                <a:gd name="T20" fmla="*/ 0 w 24"/>
                <a:gd name="T21" fmla="*/ 13 h 27"/>
                <a:gd name="T22" fmla="*/ 0 w 24"/>
                <a:gd name="T23" fmla="*/ 7 h 27"/>
                <a:gd name="T24" fmla="*/ 4 w 24"/>
                <a:gd name="T25" fmla="*/ 3 h 27"/>
                <a:gd name="T26" fmla="*/ 7 w 24"/>
                <a:gd name="T27" fmla="*/ 1 h 27"/>
                <a:gd name="T28" fmla="*/ 11 w 24"/>
                <a:gd name="T29" fmla="*/ 0 h 27"/>
                <a:gd name="T30" fmla="*/ 17 w 24"/>
                <a:gd name="T31" fmla="*/ 1 h 27"/>
                <a:gd name="T32" fmla="*/ 20 w 24"/>
                <a:gd name="T33" fmla="*/ 3 h 27"/>
                <a:gd name="T34" fmla="*/ 24 w 24"/>
                <a:gd name="T35" fmla="*/ 7 h 27"/>
                <a:gd name="T36" fmla="*/ 24 w 24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7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1" y="27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9" name="Freeform 166">
              <a:extLst>
                <a:ext uri="{FF2B5EF4-FFF2-40B4-BE49-F238E27FC236}">
                  <a16:creationId xmlns:a16="http://schemas.microsoft.com/office/drawing/2014/main" id="{AF806B6C-2DB0-8028-A43A-5CC1ADF5B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073"/>
              <a:ext cx="24" cy="27"/>
            </a:xfrm>
            <a:custGeom>
              <a:avLst/>
              <a:gdLst>
                <a:gd name="T0" fmla="*/ 24 w 24"/>
                <a:gd name="T1" fmla="*/ 13 h 27"/>
                <a:gd name="T2" fmla="*/ 24 w 24"/>
                <a:gd name="T3" fmla="*/ 13 h 27"/>
                <a:gd name="T4" fmla="*/ 24 w 24"/>
                <a:gd name="T5" fmla="*/ 20 h 27"/>
                <a:gd name="T6" fmla="*/ 20 w 24"/>
                <a:gd name="T7" fmla="*/ 24 h 27"/>
                <a:gd name="T8" fmla="*/ 17 w 24"/>
                <a:gd name="T9" fmla="*/ 26 h 27"/>
                <a:gd name="T10" fmla="*/ 11 w 24"/>
                <a:gd name="T11" fmla="*/ 27 h 27"/>
                <a:gd name="T12" fmla="*/ 7 w 24"/>
                <a:gd name="T13" fmla="*/ 26 h 27"/>
                <a:gd name="T14" fmla="*/ 4 w 24"/>
                <a:gd name="T15" fmla="*/ 24 h 27"/>
                <a:gd name="T16" fmla="*/ 0 w 24"/>
                <a:gd name="T17" fmla="*/ 20 h 27"/>
                <a:gd name="T18" fmla="*/ 0 w 24"/>
                <a:gd name="T19" fmla="*/ 13 h 27"/>
                <a:gd name="T20" fmla="*/ 0 w 24"/>
                <a:gd name="T21" fmla="*/ 13 h 27"/>
                <a:gd name="T22" fmla="*/ 0 w 24"/>
                <a:gd name="T23" fmla="*/ 7 h 27"/>
                <a:gd name="T24" fmla="*/ 4 w 24"/>
                <a:gd name="T25" fmla="*/ 3 h 27"/>
                <a:gd name="T26" fmla="*/ 7 w 24"/>
                <a:gd name="T27" fmla="*/ 1 h 27"/>
                <a:gd name="T28" fmla="*/ 11 w 24"/>
                <a:gd name="T29" fmla="*/ 0 h 27"/>
                <a:gd name="T30" fmla="*/ 17 w 24"/>
                <a:gd name="T31" fmla="*/ 1 h 27"/>
                <a:gd name="T32" fmla="*/ 20 w 24"/>
                <a:gd name="T33" fmla="*/ 3 h 27"/>
                <a:gd name="T34" fmla="*/ 24 w 24"/>
                <a:gd name="T35" fmla="*/ 7 h 27"/>
                <a:gd name="T36" fmla="*/ 24 w 24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7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1" y="27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0" name="Freeform 167">
              <a:extLst>
                <a:ext uri="{FF2B5EF4-FFF2-40B4-BE49-F238E27FC236}">
                  <a16:creationId xmlns:a16="http://schemas.microsoft.com/office/drawing/2014/main" id="{291D42DD-4FD1-2A13-4E5D-4C7E09A71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" y="1080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0 h 28"/>
                <a:gd name="T6" fmla="*/ 20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0 w 26"/>
                <a:gd name="T23" fmla="*/ 7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0 w 26"/>
                <a:gd name="T33" fmla="*/ 4 h 28"/>
                <a:gd name="T34" fmla="*/ 24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1" name="Freeform 168">
              <a:extLst>
                <a:ext uri="{FF2B5EF4-FFF2-40B4-BE49-F238E27FC236}">
                  <a16:creationId xmlns:a16="http://schemas.microsoft.com/office/drawing/2014/main" id="{70A2A2D9-4DC3-1AB7-F3B0-F5AAC580FD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" y="1080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0 h 28"/>
                <a:gd name="T6" fmla="*/ 20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0 w 26"/>
                <a:gd name="T23" fmla="*/ 7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0 w 26"/>
                <a:gd name="T33" fmla="*/ 4 h 28"/>
                <a:gd name="T34" fmla="*/ 24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2" name="Freeform 169">
              <a:extLst>
                <a:ext uri="{FF2B5EF4-FFF2-40B4-BE49-F238E27FC236}">
                  <a16:creationId xmlns:a16="http://schemas.microsoft.com/office/drawing/2014/main" id="{FD002B08-12F4-4177-64BF-A728513448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3" name="Freeform 170">
              <a:extLst>
                <a:ext uri="{FF2B5EF4-FFF2-40B4-BE49-F238E27FC236}">
                  <a16:creationId xmlns:a16="http://schemas.microsoft.com/office/drawing/2014/main" id="{F1BAFE6C-DD0C-894B-AD82-1298BFFB6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4" name="Freeform 171">
              <a:extLst>
                <a:ext uri="{FF2B5EF4-FFF2-40B4-BE49-F238E27FC236}">
                  <a16:creationId xmlns:a16="http://schemas.microsoft.com/office/drawing/2014/main" id="{AE8625E8-715E-3818-271E-4B700F57E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5" name="Freeform 172">
              <a:extLst>
                <a:ext uri="{FF2B5EF4-FFF2-40B4-BE49-F238E27FC236}">
                  <a16:creationId xmlns:a16="http://schemas.microsoft.com/office/drawing/2014/main" id="{91175B5C-3AEC-F3A0-A47C-14CCE0794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6" name="Freeform 173">
              <a:extLst>
                <a:ext uri="{FF2B5EF4-FFF2-40B4-BE49-F238E27FC236}">
                  <a16:creationId xmlns:a16="http://schemas.microsoft.com/office/drawing/2014/main" id="{20701B2A-7A8B-E922-13ED-C36AA0AA58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7" name="Freeform 174">
              <a:extLst>
                <a:ext uri="{FF2B5EF4-FFF2-40B4-BE49-F238E27FC236}">
                  <a16:creationId xmlns:a16="http://schemas.microsoft.com/office/drawing/2014/main" id="{5545A03D-991E-19CA-8B51-BF80DCE3C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8" name="Freeform 175">
              <a:extLst>
                <a:ext uri="{FF2B5EF4-FFF2-40B4-BE49-F238E27FC236}">
                  <a16:creationId xmlns:a16="http://schemas.microsoft.com/office/drawing/2014/main" id="{B4E0833E-A890-1BB5-25A1-DE71AAD41D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9" name="Freeform 176">
              <a:extLst>
                <a:ext uri="{FF2B5EF4-FFF2-40B4-BE49-F238E27FC236}">
                  <a16:creationId xmlns:a16="http://schemas.microsoft.com/office/drawing/2014/main" id="{9369BD9B-3955-83F1-19E7-6AE83CE08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0" name="Freeform 177">
              <a:extLst>
                <a:ext uri="{FF2B5EF4-FFF2-40B4-BE49-F238E27FC236}">
                  <a16:creationId xmlns:a16="http://schemas.microsoft.com/office/drawing/2014/main" id="{7AECF636-28B3-D610-B32D-27E5C85CE7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273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1" name="Freeform 178">
              <a:extLst>
                <a:ext uri="{FF2B5EF4-FFF2-40B4-BE49-F238E27FC236}">
                  <a16:creationId xmlns:a16="http://schemas.microsoft.com/office/drawing/2014/main" id="{2CADBF69-0F51-72E0-4A18-A3BB84640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273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2" name="Freeform 179">
              <a:extLst>
                <a:ext uri="{FF2B5EF4-FFF2-40B4-BE49-F238E27FC236}">
                  <a16:creationId xmlns:a16="http://schemas.microsoft.com/office/drawing/2014/main" id="{B8C2EC38-EC29-08E7-BE63-9F65D8DCA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" y="1147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5 w 26"/>
                <a:gd name="T5" fmla="*/ 20 h 28"/>
                <a:gd name="T6" fmla="*/ 23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5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5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3" name="Freeform 180">
              <a:extLst>
                <a:ext uri="{FF2B5EF4-FFF2-40B4-BE49-F238E27FC236}">
                  <a16:creationId xmlns:a16="http://schemas.microsoft.com/office/drawing/2014/main" id="{45F1AAE2-E5EE-A5C0-0E65-B9B7996DE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" y="1147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5 w 26"/>
                <a:gd name="T5" fmla="*/ 20 h 28"/>
                <a:gd name="T6" fmla="*/ 23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5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5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4" name="Freeform 181">
              <a:extLst>
                <a:ext uri="{FF2B5EF4-FFF2-40B4-BE49-F238E27FC236}">
                  <a16:creationId xmlns:a16="http://schemas.microsoft.com/office/drawing/2014/main" id="{F6ADF375-889E-03E1-E314-FF72F9AAB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0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5" name="Freeform 182">
              <a:extLst>
                <a:ext uri="{FF2B5EF4-FFF2-40B4-BE49-F238E27FC236}">
                  <a16:creationId xmlns:a16="http://schemas.microsoft.com/office/drawing/2014/main" id="{9F2C5D1B-4D9E-082B-6AA2-6B79ED827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0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6" name="Freeform 183">
              <a:extLst>
                <a:ext uri="{FF2B5EF4-FFF2-40B4-BE49-F238E27FC236}">
                  <a16:creationId xmlns:a16="http://schemas.microsoft.com/office/drawing/2014/main" id="{4D9DAA62-30FC-6193-8B2C-C32E17B84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0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7" name="Freeform 184">
              <a:extLst>
                <a:ext uri="{FF2B5EF4-FFF2-40B4-BE49-F238E27FC236}">
                  <a16:creationId xmlns:a16="http://schemas.microsoft.com/office/drawing/2014/main" id="{130FE966-8550-E981-0E96-B474B9409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0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8" name="Freeform 185">
              <a:extLst>
                <a:ext uri="{FF2B5EF4-FFF2-40B4-BE49-F238E27FC236}">
                  <a16:creationId xmlns:a16="http://schemas.microsoft.com/office/drawing/2014/main" id="{98564229-AE99-FEED-A3CA-EDE89BB4B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136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9" name="Freeform 186">
              <a:extLst>
                <a:ext uri="{FF2B5EF4-FFF2-40B4-BE49-F238E27FC236}">
                  <a16:creationId xmlns:a16="http://schemas.microsoft.com/office/drawing/2014/main" id="{B9BCDBD3-243B-1AFC-1ACF-CC4E23861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136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0" name="Freeform 187">
              <a:extLst>
                <a:ext uri="{FF2B5EF4-FFF2-40B4-BE49-F238E27FC236}">
                  <a16:creationId xmlns:a16="http://schemas.microsoft.com/office/drawing/2014/main" id="{A95F0ABC-46B0-65DC-F99F-BFBC52462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136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8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8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3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3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5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1" name="Freeform 188">
              <a:extLst>
                <a:ext uri="{FF2B5EF4-FFF2-40B4-BE49-F238E27FC236}">
                  <a16:creationId xmlns:a16="http://schemas.microsoft.com/office/drawing/2014/main" id="{80987DE5-CF1F-984C-63D6-2ADE140F8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136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8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8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3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3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5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2" name="Freeform 189">
              <a:extLst>
                <a:ext uri="{FF2B5EF4-FFF2-40B4-BE49-F238E27FC236}">
                  <a16:creationId xmlns:a16="http://schemas.microsoft.com/office/drawing/2014/main" id="{39EBB554-4FE9-6637-4311-43F4CEA8E3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13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3" name="Freeform 190">
              <a:extLst>
                <a:ext uri="{FF2B5EF4-FFF2-40B4-BE49-F238E27FC236}">
                  <a16:creationId xmlns:a16="http://schemas.microsoft.com/office/drawing/2014/main" id="{6239FF8A-1E8B-1FA6-4BAA-A18F14B24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13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4" name="Freeform 191">
              <a:extLst>
                <a:ext uri="{FF2B5EF4-FFF2-40B4-BE49-F238E27FC236}">
                  <a16:creationId xmlns:a16="http://schemas.microsoft.com/office/drawing/2014/main" id="{EA37D5A7-A8AD-543C-DAFE-806F6596C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15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4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8 w 24"/>
                <a:gd name="T27" fmla="*/ 2 h 26"/>
                <a:gd name="T28" fmla="*/ 11 w 24"/>
                <a:gd name="T29" fmla="*/ 0 h 26"/>
                <a:gd name="T30" fmla="*/ 17 w 24"/>
                <a:gd name="T31" fmla="*/ 2 h 26"/>
                <a:gd name="T32" fmla="*/ 21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5" name="Freeform 192">
              <a:extLst>
                <a:ext uri="{FF2B5EF4-FFF2-40B4-BE49-F238E27FC236}">
                  <a16:creationId xmlns:a16="http://schemas.microsoft.com/office/drawing/2014/main" id="{70818FA2-BA97-ED61-5457-C0333F722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15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4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8 w 24"/>
                <a:gd name="T27" fmla="*/ 2 h 26"/>
                <a:gd name="T28" fmla="*/ 11 w 24"/>
                <a:gd name="T29" fmla="*/ 0 h 26"/>
                <a:gd name="T30" fmla="*/ 17 w 24"/>
                <a:gd name="T31" fmla="*/ 2 h 26"/>
                <a:gd name="T32" fmla="*/ 21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6" name="Freeform 193">
              <a:extLst>
                <a:ext uri="{FF2B5EF4-FFF2-40B4-BE49-F238E27FC236}">
                  <a16:creationId xmlns:a16="http://schemas.microsoft.com/office/drawing/2014/main" id="{98E02B85-EECA-45C8-3FF4-9899A02335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15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7" name="Freeform 194">
              <a:extLst>
                <a:ext uri="{FF2B5EF4-FFF2-40B4-BE49-F238E27FC236}">
                  <a16:creationId xmlns:a16="http://schemas.microsoft.com/office/drawing/2014/main" id="{B19EB023-BAEC-1330-24DF-12182ED6B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15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8" name="Freeform 195">
              <a:extLst>
                <a:ext uri="{FF2B5EF4-FFF2-40B4-BE49-F238E27FC236}">
                  <a16:creationId xmlns:a16="http://schemas.microsoft.com/office/drawing/2014/main" id="{F58D7851-5E81-BDD3-7F3A-E1273BBA9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195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1 h 28"/>
                <a:gd name="T6" fmla="*/ 20 w 24"/>
                <a:gd name="T7" fmla="*/ 24 h 28"/>
                <a:gd name="T8" fmla="*/ 17 w 24"/>
                <a:gd name="T9" fmla="*/ 26 h 28"/>
                <a:gd name="T10" fmla="*/ 11 w 24"/>
                <a:gd name="T11" fmla="*/ 28 h 28"/>
                <a:gd name="T12" fmla="*/ 7 w 24"/>
                <a:gd name="T13" fmla="*/ 26 h 28"/>
                <a:gd name="T14" fmla="*/ 4 w 24"/>
                <a:gd name="T15" fmla="*/ 24 h 28"/>
                <a:gd name="T16" fmla="*/ 0 w 24"/>
                <a:gd name="T17" fmla="*/ 21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8 h 28"/>
                <a:gd name="T24" fmla="*/ 4 w 24"/>
                <a:gd name="T25" fmla="*/ 4 h 28"/>
                <a:gd name="T26" fmla="*/ 7 w 24"/>
                <a:gd name="T27" fmla="*/ 2 h 28"/>
                <a:gd name="T28" fmla="*/ 11 w 24"/>
                <a:gd name="T29" fmla="*/ 0 h 28"/>
                <a:gd name="T30" fmla="*/ 17 w 24"/>
                <a:gd name="T31" fmla="*/ 2 h 28"/>
                <a:gd name="T32" fmla="*/ 20 w 24"/>
                <a:gd name="T33" fmla="*/ 4 h 28"/>
                <a:gd name="T34" fmla="*/ 24 w 24"/>
                <a:gd name="T35" fmla="*/ 8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1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5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9" name="Freeform 196">
              <a:extLst>
                <a:ext uri="{FF2B5EF4-FFF2-40B4-BE49-F238E27FC236}">
                  <a16:creationId xmlns:a16="http://schemas.microsoft.com/office/drawing/2014/main" id="{3C211BD0-EACD-54CF-DC70-AECDDD58E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195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1 h 28"/>
                <a:gd name="T6" fmla="*/ 20 w 24"/>
                <a:gd name="T7" fmla="*/ 24 h 28"/>
                <a:gd name="T8" fmla="*/ 17 w 24"/>
                <a:gd name="T9" fmla="*/ 26 h 28"/>
                <a:gd name="T10" fmla="*/ 11 w 24"/>
                <a:gd name="T11" fmla="*/ 28 h 28"/>
                <a:gd name="T12" fmla="*/ 7 w 24"/>
                <a:gd name="T13" fmla="*/ 26 h 28"/>
                <a:gd name="T14" fmla="*/ 4 w 24"/>
                <a:gd name="T15" fmla="*/ 24 h 28"/>
                <a:gd name="T16" fmla="*/ 0 w 24"/>
                <a:gd name="T17" fmla="*/ 21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8 h 28"/>
                <a:gd name="T24" fmla="*/ 4 w 24"/>
                <a:gd name="T25" fmla="*/ 4 h 28"/>
                <a:gd name="T26" fmla="*/ 7 w 24"/>
                <a:gd name="T27" fmla="*/ 2 h 28"/>
                <a:gd name="T28" fmla="*/ 11 w 24"/>
                <a:gd name="T29" fmla="*/ 0 h 28"/>
                <a:gd name="T30" fmla="*/ 17 w 24"/>
                <a:gd name="T31" fmla="*/ 2 h 28"/>
                <a:gd name="T32" fmla="*/ 20 w 24"/>
                <a:gd name="T33" fmla="*/ 4 h 28"/>
                <a:gd name="T34" fmla="*/ 24 w 24"/>
                <a:gd name="T35" fmla="*/ 8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1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5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0" name="Freeform 197">
              <a:extLst>
                <a:ext uri="{FF2B5EF4-FFF2-40B4-BE49-F238E27FC236}">
                  <a16:creationId xmlns:a16="http://schemas.microsoft.com/office/drawing/2014/main" id="{B327F0D7-5865-E629-5D68-5D3D625DCA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1204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6 w 26"/>
                <a:gd name="T5" fmla="*/ 21 h 28"/>
                <a:gd name="T6" fmla="*/ 23 w 26"/>
                <a:gd name="T7" fmla="*/ 25 h 28"/>
                <a:gd name="T8" fmla="*/ 19 w 26"/>
                <a:gd name="T9" fmla="*/ 26 h 28"/>
                <a:gd name="T10" fmla="*/ 13 w 26"/>
                <a:gd name="T11" fmla="*/ 28 h 28"/>
                <a:gd name="T12" fmla="*/ 10 w 26"/>
                <a:gd name="T13" fmla="*/ 26 h 28"/>
                <a:gd name="T14" fmla="*/ 4 w 26"/>
                <a:gd name="T15" fmla="*/ 25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10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6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6" y="21"/>
                  </a:lnTo>
                  <a:lnTo>
                    <a:pt x="23" y="25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10" y="26"/>
                  </a:lnTo>
                  <a:lnTo>
                    <a:pt x="4" y="25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1" name="Freeform 198">
              <a:extLst>
                <a:ext uri="{FF2B5EF4-FFF2-40B4-BE49-F238E27FC236}">
                  <a16:creationId xmlns:a16="http://schemas.microsoft.com/office/drawing/2014/main" id="{56E8394A-1F12-BDCE-EE75-D54371389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1204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6 w 26"/>
                <a:gd name="T5" fmla="*/ 21 h 28"/>
                <a:gd name="T6" fmla="*/ 23 w 26"/>
                <a:gd name="T7" fmla="*/ 25 h 28"/>
                <a:gd name="T8" fmla="*/ 19 w 26"/>
                <a:gd name="T9" fmla="*/ 26 h 28"/>
                <a:gd name="T10" fmla="*/ 13 w 26"/>
                <a:gd name="T11" fmla="*/ 28 h 28"/>
                <a:gd name="T12" fmla="*/ 10 w 26"/>
                <a:gd name="T13" fmla="*/ 26 h 28"/>
                <a:gd name="T14" fmla="*/ 4 w 26"/>
                <a:gd name="T15" fmla="*/ 25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10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6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6" y="21"/>
                  </a:lnTo>
                  <a:lnTo>
                    <a:pt x="23" y="25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10" y="26"/>
                  </a:lnTo>
                  <a:lnTo>
                    <a:pt x="4" y="25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2" name="Freeform 199">
              <a:extLst>
                <a:ext uri="{FF2B5EF4-FFF2-40B4-BE49-F238E27FC236}">
                  <a16:creationId xmlns:a16="http://schemas.microsoft.com/office/drawing/2014/main" id="{652C6BE0-F752-F1A8-51D4-75EB47F103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648"/>
              <a:ext cx="1339" cy="394"/>
            </a:xfrm>
            <a:custGeom>
              <a:avLst/>
              <a:gdLst>
                <a:gd name="T0" fmla="*/ 0 w 1339"/>
                <a:gd name="T1" fmla="*/ 394 h 394"/>
                <a:gd name="T2" fmla="*/ 804 w 1339"/>
                <a:gd name="T3" fmla="*/ 394 h 394"/>
                <a:gd name="T4" fmla="*/ 898 w 1339"/>
                <a:gd name="T5" fmla="*/ 266 h 394"/>
                <a:gd name="T6" fmla="*/ 993 w 1339"/>
                <a:gd name="T7" fmla="*/ 394 h 394"/>
                <a:gd name="T8" fmla="*/ 1088 w 1339"/>
                <a:gd name="T9" fmla="*/ 394 h 394"/>
                <a:gd name="T10" fmla="*/ 1183 w 1339"/>
                <a:gd name="T11" fmla="*/ 260 h 394"/>
                <a:gd name="T12" fmla="*/ 1277 w 1339"/>
                <a:gd name="T13" fmla="*/ 47 h 394"/>
                <a:gd name="T14" fmla="*/ 1339 w 1339"/>
                <a:gd name="T1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9" h="394">
                  <a:moveTo>
                    <a:pt x="0" y="394"/>
                  </a:moveTo>
                  <a:lnTo>
                    <a:pt x="804" y="394"/>
                  </a:lnTo>
                  <a:lnTo>
                    <a:pt x="898" y="266"/>
                  </a:lnTo>
                  <a:lnTo>
                    <a:pt x="993" y="394"/>
                  </a:lnTo>
                  <a:lnTo>
                    <a:pt x="1088" y="394"/>
                  </a:lnTo>
                  <a:lnTo>
                    <a:pt x="1183" y="260"/>
                  </a:lnTo>
                  <a:lnTo>
                    <a:pt x="1277" y="47"/>
                  </a:lnTo>
                  <a:lnTo>
                    <a:pt x="1339" y="0"/>
                  </a:lnTo>
                </a:path>
              </a:pathLst>
            </a:custGeom>
            <a:noFill/>
            <a:ln w="11113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3" name="Freeform 200">
              <a:extLst>
                <a:ext uri="{FF2B5EF4-FFF2-40B4-BE49-F238E27FC236}">
                  <a16:creationId xmlns:a16="http://schemas.microsoft.com/office/drawing/2014/main" id="{E6012C81-F990-34BD-A052-762D9D30F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1880"/>
              <a:ext cx="901" cy="162"/>
            </a:xfrm>
            <a:custGeom>
              <a:avLst/>
              <a:gdLst>
                <a:gd name="T0" fmla="*/ 0 w 901"/>
                <a:gd name="T1" fmla="*/ 162 h 162"/>
                <a:gd name="T2" fmla="*/ 819 w 901"/>
                <a:gd name="T3" fmla="*/ 162 h 162"/>
                <a:gd name="T4" fmla="*/ 901 w 901"/>
                <a:gd name="T5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01" h="162">
                  <a:moveTo>
                    <a:pt x="0" y="162"/>
                  </a:moveTo>
                  <a:lnTo>
                    <a:pt x="819" y="162"/>
                  </a:lnTo>
                  <a:lnTo>
                    <a:pt x="901" y="0"/>
                  </a:lnTo>
                </a:path>
              </a:pathLst>
            </a:custGeom>
            <a:noFill/>
            <a:ln w="11113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4" name="Freeform 201">
              <a:extLst>
                <a:ext uri="{FF2B5EF4-FFF2-40B4-BE49-F238E27FC236}">
                  <a16:creationId xmlns:a16="http://schemas.microsoft.com/office/drawing/2014/main" id="{4FC98E87-54DC-CF8A-F8DC-B17A29036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689"/>
              <a:ext cx="1419" cy="353"/>
            </a:xfrm>
            <a:custGeom>
              <a:avLst/>
              <a:gdLst>
                <a:gd name="T0" fmla="*/ 0 w 1419"/>
                <a:gd name="T1" fmla="*/ 353 h 353"/>
                <a:gd name="T2" fmla="*/ 378 w 1419"/>
                <a:gd name="T3" fmla="*/ 353 h 353"/>
                <a:gd name="T4" fmla="*/ 471 w 1419"/>
                <a:gd name="T5" fmla="*/ 0 h 353"/>
                <a:gd name="T6" fmla="*/ 520 w 1419"/>
                <a:gd name="T7" fmla="*/ 89 h 353"/>
                <a:gd name="T8" fmla="*/ 566 w 1419"/>
                <a:gd name="T9" fmla="*/ 184 h 353"/>
                <a:gd name="T10" fmla="*/ 614 w 1419"/>
                <a:gd name="T11" fmla="*/ 221 h 353"/>
                <a:gd name="T12" fmla="*/ 709 w 1419"/>
                <a:gd name="T13" fmla="*/ 154 h 353"/>
                <a:gd name="T14" fmla="*/ 804 w 1419"/>
                <a:gd name="T15" fmla="*/ 193 h 353"/>
                <a:gd name="T16" fmla="*/ 898 w 1419"/>
                <a:gd name="T17" fmla="*/ 294 h 353"/>
                <a:gd name="T18" fmla="*/ 993 w 1419"/>
                <a:gd name="T19" fmla="*/ 247 h 353"/>
                <a:gd name="T20" fmla="*/ 1088 w 1419"/>
                <a:gd name="T21" fmla="*/ 106 h 353"/>
                <a:gd name="T22" fmla="*/ 1175 w 1419"/>
                <a:gd name="T23" fmla="*/ 125 h 353"/>
                <a:gd name="T24" fmla="*/ 1277 w 1419"/>
                <a:gd name="T25" fmla="*/ 82 h 353"/>
                <a:gd name="T26" fmla="*/ 1372 w 1419"/>
                <a:gd name="T27" fmla="*/ 43 h 353"/>
                <a:gd name="T28" fmla="*/ 1419 w 1419"/>
                <a:gd name="T29" fmla="*/ 4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19" h="353">
                  <a:moveTo>
                    <a:pt x="0" y="353"/>
                  </a:moveTo>
                  <a:lnTo>
                    <a:pt x="378" y="353"/>
                  </a:lnTo>
                  <a:lnTo>
                    <a:pt x="471" y="0"/>
                  </a:lnTo>
                  <a:lnTo>
                    <a:pt x="520" y="89"/>
                  </a:lnTo>
                  <a:lnTo>
                    <a:pt x="566" y="184"/>
                  </a:lnTo>
                  <a:lnTo>
                    <a:pt x="614" y="221"/>
                  </a:lnTo>
                  <a:lnTo>
                    <a:pt x="709" y="154"/>
                  </a:lnTo>
                  <a:lnTo>
                    <a:pt x="804" y="193"/>
                  </a:lnTo>
                  <a:lnTo>
                    <a:pt x="898" y="294"/>
                  </a:lnTo>
                  <a:lnTo>
                    <a:pt x="993" y="247"/>
                  </a:lnTo>
                  <a:lnTo>
                    <a:pt x="1088" y="106"/>
                  </a:lnTo>
                  <a:lnTo>
                    <a:pt x="1175" y="125"/>
                  </a:lnTo>
                  <a:lnTo>
                    <a:pt x="1277" y="82"/>
                  </a:lnTo>
                  <a:lnTo>
                    <a:pt x="1372" y="43"/>
                  </a:lnTo>
                  <a:lnTo>
                    <a:pt x="1419" y="48"/>
                  </a:lnTo>
                </a:path>
              </a:pathLst>
            </a:custGeom>
            <a:noFill/>
            <a:ln w="11113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5" name="Freeform 202">
              <a:extLst>
                <a:ext uri="{FF2B5EF4-FFF2-40B4-BE49-F238E27FC236}">
                  <a16:creationId xmlns:a16="http://schemas.microsoft.com/office/drawing/2014/main" id="{5743F8F0-1F99-0C85-9D70-11BB02B26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684"/>
              <a:ext cx="1339" cy="343"/>
            </a:xfrm>
            <a:custGeom>
              <a:avLst/>
              <a:gdLst>
                <a:gd name="T0" fmla="*/ 0 w 1339"/>
                <a:gd name="T1" fmla="*/ 343 h 343"/>
                <a:gd name="T2" fmla="*/ 1183 w 1339"/>
                <a:gd name="T3" fmla="*/ 343 h 343"/>
                <a:gd name="T4" fmla="*/ 1270 w 1339"/>
                <a:gd name="T5" fmla="*/ 3 h 343"/>
                <a:gd name="T6" fmla="*/ 1339 w 1339"/>
                <a:gd name="T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39" h="343">
                  <a:moveTo>
                    <a:pt x="0" y="343"/>
                  </a:moveTo>
                  <a:lnTo>
                    <a:pt x="1183" y="343"/>
                  </a:lnTo>
                  <a:lnTo>
                    <a:pt x="1270" y="3"/>
                  </a:lnTo>
                  <a:lnTo>
                    <a:pt x="1339" y="0"/>
                  </a:lnTo>
                </a:path>
              </a:pathLst>
            </a:custGeom>
            <a:noFill/>
            <a:ln w="11113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6" name="Freeform 203">
              <a:extLst>
                <a:ext uri="{FF2B5EF4-FFF2-40B4-BE49-F238E27FC236}">
                  <a16:creationId xmlns:a16="http://schemas.microsoft.com/office/drawing/2014/main" id="{E023949A-676A-CB62-6261-8C56AFCF0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739"/>
              <a:ext cx="1237" cy="288"/>
            </a:xfrm>
            <a:custGeom>
              <a:avLst/>
              <a:gdLst>
                <a:gd name="T0" fmla="*/ 0 w 1237"/>
                <a:gd name="T1" fmla="*/ 288 h 288"/>
                <a:gd name="T2" fmla="*/ 189 w 1237"/>
                <a:gd name="T3" fmla="*/ 288 h 288"/>
                <a:gd name="T4" fmla="*/ 284 w 1237"/>
                <a:gd name="T5" fmla="*/ 199 h 288"/>
                <a:gd name="T6" fmla="*/ 330 w 1237"/>
                <a:gd name="T7" fmla="*/ 153 h 288"/>
                <a:gd name="T8" fmla="*/ 378 w 1237"/>
                <a:gd name="T9" fmla="*/ 91 h 288"/>
                <a:gd name="T10" fmla="*/ 425 w 1237"/>
                <a:gd name="T11" fmla="*/ 101 h 288"/>
                <a:gd name="T12" fmla="*/ 471 w 1237"/>
                <a:gd name="T13" fmla="*/ 0 h 288"/>
                <a:gd name="T14" fmla="*/ 520 w 1237"/>
                <a:gd name="T15" fmla="*/ 39 h 288"/>
                <a:gd name="T16" fmla="*/ 566 w 1237"/>
                <a:gd name="T17" fmla="*/ 39 h 288"/>
                <a:gd name="T18" fmla="*/ 614 w 1237"/>
                <a:gd name="T19" fmla="*/ 4 h 288"/>
                <a:gd name="T20" fmla="*/ 709 w 1237"/>
                <a:gd name="T21" fmla="*/ 28 h 288"/>
                <a:gd name="T22" fmla="*/ 804 w 1237"/>
                <a:gd name="T23" fmla="*/ 26 h 288"/>
                <a:gd name="T24" fmla="*/ 906 w 1237"/>
                <a:gd name="T25" fmla="*/ 52 h 288"/>
                <a:gd name="T26" fmla="*/ 993 w 1237"/>
                <a:gd name="T27" fmla="*/ 41 h 288"/>
                <a:gd name="T28" fmla="*/ 1081 w 1237"/>
                <a:gd name="T29" fmla="*/ 15 h 288"/>
                <a:gd name="T30" fmla="*/ 1183 w 1237"/>
                <a:gd name="T31" fmla="*/ 10 h 288"/>
                <a:gd name="T32" fmla="*/ 1237 w 1237"/>
                <a:gd name="T33" fmla="*/ 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37" h="288">
                  <a:moveTo>
                    <a:pt x="0" y="288"/>
                  </a:moveTo>
                  <a:lnTo>
                    <a:pt x="189" y="288"/>
                  </a:lnTo>
                  <a:lnTo>
                    <a:pt x="284" y="199"/>
                  </a:lnTo>
                  <a:lnTo>
                    <a:pt x="330" y="153"/>
                  </a:lnTo>
                  <a:lnTo>
                    <a:pt x="378" y="91"/>
                  </a:lnTo>
                  <a:lnTo>
                    <a:pt x="425" y="101"/>
                  </a:lnTo>
                  <a:lnTo>
                    <a:pt x="471" y="0"/>
                  </a:lnTo>
                  <a:lnTo>
                    <a:pt x="520" y="39"/>
                  </a:lnTo>
                  <a:lnTo>
                    <a:pt x="566" y="39"/>
                  </a:lnTo>
                  <a:lnTo>
                    <a:pt x="614" y="4"/>
                  </a:lnTo>
                  <a:lnTo>
                    <a:pt x="709" y="28"/>
                  </a:lnTo>
                  <a:lnTo>
                    <a:pt x="804" y="26"/>
                  </a:lnTo>
                  <a:lnTo>
                    <a:pt x="906" y="52"/>
                  </a:lnTo>
                  <a:lnTo>
                    <a:pt x="993" y="41"/>
                  </a:lnTo>
                  <a:lnTo>
                    <a:pt x="1081" y="15"/>
                  </a:lnTo>
                  <a:lnTo>
                    <a:pt x="1183" y="10"/>
                  </a:lnTo>
                  <a:lnTo>
                    <a:pt x="1237" y="8"/>
                  </a:lnTo>
                </a:path>
              </a:pathLst>
            </a:custGeom>
            <a:noFill/>
            <a:ln w="11113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7" name="Freeform 204">
              <a:extLst>
                <a:ext uri="{FF2B5EF4-FFF2-40B4-BE49-F238E27FC236}">
                  <a16:creationId xmlns:a16="http://schemas.microsoft.com/office/drawing/2014/main" id="{022BC3B2-A3AB-CAFA-A288-695813D53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1656"/>
              <a:ext cx="860" cy="371"/>
            </a:xfrm>
            <a:custGeom>
              <a:avLst/>
              <a:gdLst>
                <a:gd name="T0" fmla="*/ 0 w 860"/>
                <a:gd name="T1" fmla="*/ 371 h 371"/>
                <a:gd name="T2" fmla="*/ 711 w 860"/>
                <a:gd name="T3" fmla="*/ 371 h 371"/>
                <a:gd name="T4" fmla="*/ 806 w 860"/>
                <a:gd name="T5" fmla="*/ 0 h 371"/>
                <a:gd name="T6" fmla="*/ 860 w 860"/>
                <a:gd name="T7" fmla="*/ 37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0" h="371">
                  <a:moveTo>
                    <a:pt x="0" y="371"/>
                  </a:moveTo>
                  <a:lnTo>
                    <a:pt x="711" y="371"/>
                  </a:lnTo>
                  <a:lnTo>
                    <a:pt x="806" y="0"/>
                  </a:lnTo>
                  <a:lnTo>
                    <a:pt x="860" y="37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</p:grpSp>
      <p:grpSp>
        <p:nvGrpSpPr>
          <p:cNvPr id="14" name="Group 406">
            <a:extLst>
              <a:ext uri="{FF2B5EF4-FFF2-40B4-BE49-F238E27FC236}">
                <a16:creationId xmlns:a16="http://schemas.microsoft.com/office/drawing/2014/main" id="{B13882A8-53DD-7954-717D-1455E25F2515}"/>
              </a:ext>
            </a:extLst>
          </p:cNvPr>
          <p:cNvGrpSpPr>
            <a:grpSpLocks/>
          </p:cNvGrpSpPr>
          <p:nvPr/>
        </p:nvGrpSpPr>
        <p:grpSpPr bwMode="auto">
          <a:xfrm>
            <a:off x="1771652" y="3460751"/>
            <a:ext cx="3058584" cy="889000"/>
            <a:chOff x="837" y="1635"/>
            <a:chExt cx="1445" cy="420"/>
          </a:xfrm>
        </p:grpSpPr>
        <p:sp>
          <p:nvSpPr>
            <p:cNvPr id="438" name="Freeform 206">
              <a:extLst>
                <a:ext uri="{FF2B5EF4-FFF2-40B4-BE49-F238E27FC236}">
                  <a16:creationId xmlns:a16="http://schemas.microsoft.com/office/drawing/2014/main" id="{1B971F5C-9E8F-E7C0-486C-BB3D228E1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723"/>
              <a:ext cx="850" cy="304"/>
            </a:xfrm>
            <a:custGeom>
              <a:avLst/>
              <a:gdLst>
                <a:gd name="T0" fmla="*/ 0 w 850"/>
                <a:gd name="T1" fmla="*/ 304 h 304"/>
                <a:gd name="T2" fmla="*/ 284 w 850"/>
                <a:gd name="T3" fmla="*/ 304 h 304"/>
                <a:gd name="T4" fmla="*/ 378 w 850"/>
                <a:gd name="T5" fmla="*/ 91 h 304"/>
                <a:gd name="T6" fmla="*/ 425 w 850"/>
                <a:gd name="T7" fmla="*/ 0 h 304"/>
                <a:gd name="T8" fmla="*/ 471 w 850"/>
                <a:gd name="T9" fmla="*/ 139 h 304"/>
                <a:gd name="T10" fmla="*/ 520 w 850"/>
                <a:gd name="T11" fmla="*/ 131 h 304"/>
                <a:gd name="T12" fmla="*/ 566 w 850"/>
                <a:gd name="T13" fmla="*/ 131 h 304"/>
                <a:gd name="T14" fmla="*/ 614 w 850"/>
                <a:gd name="T15" fmla="*/ 118 h 304"/>
                <a:gd name="T16" fmla="*/ 709 w 850"/>
                <a:gd name="T17" fmla="*/ 109 h 304"/>
                <a:gd name="T18" fmla="*/ 796 w 850"/>
                <a:gd name="T19" fmla="*/ 91 h 304"/>
                <a:gd name="T20" fmla="*/ 850 w 850"/>
                <a:gd name="T21" fmla="*/ 81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0" h="304">
                  <a:moveTo>
                    <a:pt x="0" y="304"/>
                  </a:moveTo>
                  <a:lnTo>
                    <a:pt x="284" y="304"/>
                  </a:lnTo>
                  <a:lnTo>
                    <a:pt x="378" y="91"/>
                  </a:lnTo>
                  <a:lnTo>
                    <a:pt x="425" y="0"/>
                  </a:lnTo>
                  <a:lnTo>
                    <a:pt x="471" y="139"/>
                  </a:lnTo>
                  <a:lnTo>
                    <a:pt x="520" y="131"/>
                  </a:lnTo>
                  <a:lnTo>
                    <a:pt x="566" y="131"/>
                  </a:lnTo>
                  <a:lnTo>
                    <a:pt x="614" y="118"/>
                  </a:lnTo>
                  <a:lnTo>
                    <a:pt x="709" y="109"/>
                  </a:lnTo>
                  <a:lnTo>
                    <a:pt x="796" y="91"/>
                  </a:lnTo>
                  <a:lnTo>
                    <a:pt x="850" y="81"/>
                  </a:lnTo>
                </a:path>
              </a:pathLst>
            </a:custGeom>
            <a:noFill/>
            <a:ln w="11113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9" name="Freeform 207">
              <a:extLst>
                <a:ext uri="{FF2B5EF4-FFF2-40B4-BE49-F238E27FC236}">
                  <a16:creationId xmlns:a16="http://schemas.microsoft.com/office/drawing/2014/main" id="{5BAAB0B7-C84C-4747-1475-7C1B64029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0" name="Freeform 208">
              <a:extLst>
                <a:ext uri="{FF2B5EF4-FFF2-40B4-BE49-F238E27FC236}">
                  <a16:creationId xmlns:a16="http://schemas.microsoft.com/office/drawing/2014/main" id="{8B0B0735-80C4-0E82-3F00-2D95C8E7C1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1" name="Freeform 209">
              <a:extLst>
                <a:ext uri="{FF2B5EF4-FFF2-40B4-BE49-F238E27FC236}">
                  <a16:creationId xmlns:a16="http://schemas.microsoft.com/office/drawing/2014/main" id="{A2493182-33C8-9D73-659B-9804EAD4ED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2" name="Freeform 210">
              <a:extLst>
                <a:ext uri="{FF2B5EF4-FFF2-40B4-BE49-F238E27FC236}">
                  <a16:creationId xmlns:a16="http://schemas.microsoft.com/office/drawing/2014/main" id="{561B088E-D5A8-0093-CD0A-0520D4A0C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3" name="Freeform 211">
              <a:extLst>
                <a:ext uri="{FF2B5EF4-FFF2-40B4-BE49-F238E27FC236}">
                  <a16:creationId xmlns:a16="http://schemas.microsoft.com/office/drawing/2014/main" id="{A5D4BCEF-4579-A484-C9DF-70F06DBC3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4" name="Freeform 212">
              <a:extLst>
                <a:ext uri="{FF2B5EF4-FFF2-40B4-BE49-F238E27FC236}">
                  <a16:creationId xmlns:a16="http://schemas.microsoft.com/office/drawing/2014/main" id="{36C43958-2C78-8BDF-D22D-78E4FD4DA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5" name="Freeform 213">
              <a:extLst>
                <a:ext uri="{FF2B5EF4-FFF2-40B4-BE49-F238E27FC236}">
                  <a16:creationId xmlns:a16="http://schemas.microsoft.com/office/drawing/2014/main" id="{F3535684-2950-BAAE-DA09-6FEE3AD62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6" name="Freeform 214">
              <a:extLst>
                <a:ext uri="{FF2B5EF4-FFF2-40B4-BE49-F238E27FC236}">
                  <a16:creationId xmlns:a16="http://schemas.microsoft.com/office/drawing/2014/main" id="{952263B1-7DDB-3123-712A-A45E6DCA04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7" name="Freeform 215">
              <a:extLst>
                <a:ext uri="{FF2B5EF4-FFF2-40B4-BE49-F238E27FC236}">
                  <a16:creationId xmlns:a16="http://schemas.microsoft.com/office/drawing/2014/main" id="{79D0C580-211B-5AC2-ED71-7B9ECF0C00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029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4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4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4 h 26"/>
                <a:gd name="T26" fmla="*/ 8 w 25"/>
                <a:gd name="T27" fmla="*/ 2 h 26"/>
                <a:gd name="T28" fmla="*/ 13 w 25"/>
                <a:gd name="T29" fmla="*/ 0 h 26"/>
                <a:gd name="T30" fmla="*/ 17 w 25"/>
                <a:gd name="T31" fmla="*/ 2 h 26"/>
                <a:gd name="T32" fmla="*/ 21 w 25"/>
                <a:gd name="T33" fmla="*/ 4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8" name="Freeform 216">
              <a:extLst>
                <a:ext uri="{FF2B5EF4-FFF2-40B4-BE49-F238E27FC236}">
                  <a16:creationId xmlns:a16="http://schemas.microsoft.com/office/drawing/2014/main" id="{80F8AA78-1E24-A596-C636-ECCD2D9DC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029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4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4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4 h 26"/>
                <a:gd name="T26" fmla="*/ 8 w 25"/>
                <a:gd name="T27" fmla="*/ 2 h 26"/>
                <a:gd name="T28" fmla="*/ 13 w 25"/>
                <a:gd name="T29" fmla="*/ 0 h 26"/>
                <a:gd name="T30" fmla="*/ 17 w 25"/>
                <a:gd name="T31" fmla="*/ 2 h 26"/>
                <a:gd name="T32" fmla="*/ 21 w 25"/>
                <a:gd name="T33" fmla="*/ 4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9" name="Freeform 217">
              <a:extLst>
                <a:ext uri="{FF2B5EF4-FFF2-40B4-BE49-F238E27FC236}">
                  <a16:creationId xmlns:a16="http://schemas.microsoft.com/office/drawing/2014/main" id="{2A7000E8-2DA8-AFDC-FE88-21EF90BB6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4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8 w 24"/>
                <a:gd name="T27" fmla="*/ 2 h 26"/>
                <a:gd name="T28" fmla="*/ 11 w 24"/>
                <a:gd name="T29" fmla="*/ 0 h 26"/>
                <a:gd name="T30" fmla="*/ 17 w 24"/>
                <a:gd name="T31" fmla="*/ 2 h 26"/>
                <a:gd name="T32" fmla="*/ 21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0" name="Freeform 218">
              <a:extLst>
                <a:ext uri="{FF2B5EF4-FFF2-40B4-BE49-F238E27FC236}">
                  <a16:creationId xmlns:a16="http://schemas.microsoft.com/office/drawing/2014/main" id="{2A264C2D-6056-F42F-AF56-2ED35F626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4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8 w 24"/>
                <a:gd name="T27" fmla="*/ 2 h 26"/>
                <a:gd name="T28" fmla="*/ 11 w 24"/>
                <a:gd name="T29" fmla="*/ 0 h 26"/>
                <a:gd name="T30" fmla="*/ 17 w 24"/>
                <a:gd name="T31" fmla="*/ 2 h 26"/>
                <a:gd name="T32" fmla="*/ 21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1" name="Freeform 219">
              <a:extLst>
                <a:ext uri="{FF2B5EF4-FFF2-40B4-BE49-F238E27FC236}">
                  <a16:creationId xmlns:a16="http://schemas.microsoft.com/office/drawing/2014/main" id="{0D28609C-9909-C35F-4850-9BB45F2B8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1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2" name="Freeform 220">
              <a:extLst>
                <a:ext uri="{FF2B5EF4-FFF2-40B4-BE49-F238E27FC236}">
                  <a16:creationId xmlns:a16="http://schemas.microsoft.com/office/drawing/2014/main" id="{F3D43A0F-5CEB-35FE-4D54-AB09C4E0FD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1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3" name="Freeform 221">
              <a:extLst>
                <a:ext uri="{FF2B5EF4-FFF2-40B4-BE49-F238E27FC236}">
                  <a16:creationId xmlns:a16="http://schemas.microsoft.com/office/drawing/2014/main" id="{2F798EEA-8B53-272F-9468-9B38BF7E3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4" name="Freeform 222">
              <a:extLst>
                <a:ext uri="{FF2B5EF4-FFF2-40B4-BE49-F238E27FC236}">
                  <a16:creationId xmlns:a16="http://schemas.microsoft.com/office/drawing/2014/main" id="{DF4F7F27-5747-9CB7-9B17-F0FCE9744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5" name="Freeform 223">
              <a:extLst>
                <a:ext uri="{FF2B5EF4-FFF2-40B4-BE49-F238E27FC236}">
                  <a16:creationId xmlns:a16="http://schemas.microsoft.com/office/drawing/2014/main" id="{F53BB706-3A96-52D4-2634-58DE14C30E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6" name="Freeform 224">
              <a:extLst>
                <a:ext uri="{FF2B5EF4-FFF2-40B4-BE49-F238E27FC236}">
                  <a16:creationId xmlns:a16="http://schemas.microsoft.com/office/drawing/2014/main" id="{082F0A70-C1FC-480B-DE35-194224D3F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7" name="Freeform 225">
              <a:extLst>
                <a:ext uri="{FF2B5EF4-FFF2-40B4-BE49-F238E27FC236}">
                  <a16:creationId xmlns:a16="http://schemas.microsoft.com/office/drawing/2014/main" id="{710DD32E-5118-CC29-161A-3025DD2EE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1901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5 w 26"/>
                <a:gd name="T5" fmla="*/ 20 h 28"/>
                <a:gd name="T6" fmla="*/ 23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5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5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8" name="Freeform 226">
              <a:extLst>
                <a:ext uri="{FF2B5EF4-FFF2-40B4-BE49-F238E27FC236}">
                  <a16:creationId xmlns:a16="http://schemas.microsoft.com/office/drawing/2014/main" id="{2F6CF47A-75A3-BB4D-03B5-8189829533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1901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5 w 26"/>
                <a:gd name="T5" fmla="*/ 20 h 28"/>
                <a:gd name="T6" fmla="*/ 23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5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5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9" name="Freeform 227">
              <a:extLst>
                <a:ext uri="{FF2B5EF4-FFF2-40B4-BE49-F238E27FC236}">
                  <a16:creationId xmlns:a16="http://schemas.microsoft.com/office/drawing/2014/main" id="{5B7B6DF2-886E-8C02-6CD3-FD839C630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0" name="Freeform 228">
              <a:extLst>
                <a:ext uri="{FF2B5EF4-FFF2-40B4-BE49-F238E27FC236}">
                  <a16:creationId xmlns:a16="http://schemas.microsoft.com/office/drawing/2014/main" id="{27793517-3FB8-AD00-A7D5-36B198BE1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1" name="Freeform 229">
              <a:extLst>
                <a:ext uri="{FF2B5EF4-FFF2-40B4-BE49-F238E27FC236}">
                  <a16:creationId xmlns:a16="http://schemas.microsoft.com/office/drawing/2014/main" id="{704044D6-2988-7C76-3B41-AC0BC6E3C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2" name="Freeform 230">
              <a:extLst>
                <a:ext uri="{FF2B5EF4-FFF2-40B4-BE49-F238E27FC236}">
                  <a16:creationId xmlns:a16="http://schemas.microsoft.com/office/drawing/2014/main" id="{271A984A-3AE5-59E5-E8D5-4850DF1D0B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3" name="Freeform 231">
              <a:extLst>
                <a:ext uri="{FF2B5EF4-FFF2-40B4-BE49-F238E27FC236}">
                  <a16:creationId xmlns:a16="http://schemas.microsoft.com/office/drawing/2014/main" id="{B949AB4C-E9F1-688E-7564-2D8458394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189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4" name="Freeform 232">
              <a:extLst>
                <a:ext uri="{FF2B5EF4-FFF2-40B4-BE49-F238E27FC236}">
                  <a16:creationId xmlns:a16="http://schemas.microsoft.com/office/drawing/2014/main" id="{94E7D0BC-B009-9086-62C5-A4A1F149D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189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5" name="Freeform 233">
              <a:extLst>
                <a:ext uri="{FF2B5EF4-FFF2-40B4-BE49-F238E27FC236}">
                  <a16:creationId xmlns:a16="http://schemas.microsoft.com/office/drawing/2014/main" id="{A92A4052-28D2-C9B6-3D0D-F7EA4D701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168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6" name="Freeform 234">
              <a:extLst>
                <a:ext uri="{FF2B5EF4-FFF2-40B4-BE49-F238E27FC236}">
                  <a16:creationId xmlns:a16="http://schemas.microsoft.com/office/drawing/2014/main" id="{A7AE3E5C-78D5-09B1-CC34-24ABC4FF8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168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7" name="Freeform 235">
              <a:extLst>
                <a:ext uri="{FF2B5EF4-FFF2-40B4-BE49-F238E27FC236}">
                  <a16:creationId xmlns:a16="http://schemas.microsoft.com/office/drawing/2014/main" id="{EE0D3034-AE70-7641-DE00-B57F60896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163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3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8" name="Freeform 236">
              <a:extLst>
                <a:ext uri="{FF2B5EF4-FFF2-40B4-BE49-F238E27FC236}">
                  <a16:creationId xmlns:a16="http://schemas.microsoft.com/office/drawing/2014/main" id="{4B09C147-FE77-15A9-563E-6363F709C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163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3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9" name="Freeform 237">
              <a:extLst>
                <a:ext uri="{FF2B5EF4-FFF2-40B4-BE49-F238E27FC236}">
                  <a16:creationId xmlns:a16="http://schemas.microsoft.com/office/drawing/2014/main" id="{E52C64A1-132F-A1AC-F89C-E57FD0C10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0" name="Freeform 238">
              <a:extLst>
                <a:ext uri="{FF2B5EF4-FFF2-40B4-BE49-F238E27FC236}">
                  <a16:creationId xmlns:a16="http://schemas.microsoft.com/office/drawing/2014/main" id="{69C05207-2C83-2E89-8E48-03D596C8E7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1" name="Freeform 239">
              <a:extLst>
                <a:ext uri="{FF2B5EF4-FFF2-40B4-BE49-F238E27FC236}">
                  <a16:creationId xmlns:a16="http://schemas.microsoft.com/office/drawing/2014/main" id="{0CDC7A20-591F-78AA-4420-61A895B4B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2" name="Freeform 240">
              <a:extLst>
                <a:ext uri="{FF2B5EF4-FFF2-40B4-BE49-F238E27FC236}">
                  <a16:creationId xmlns:a16="http://schemas.microsoft.com/office/drawing/2014/main" id="{3005F02F-3341-AAEF-4783-285D3A409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3" name="Freeform 241">
              <a:extLst>
                <a:ext uri="{FF2B5EF4-FFF2-40B4-BE49-F238E27FC236}">
                  <a16:creationId xmlns:a16="http://schemas.microsoft.com/office/drawing/2014/main" id="{AAACA662-F15A-963A-EE0B-209B468BA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4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4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4" name="Freeform 242">
              <a:extLst>
                <a:ext uri="{FF2B5EF4-FFF2-40B4-BE49-F238E27FC236}">
                  <a16:creationId xmlns:a16="http://schemas.microsoft.com/office/drawing/2014/main" id="{B5795D24-44D3-B777-41DA-267F38AAF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4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4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5" name="Freeform 243">
              <a:extLst>
                <a:ext uri="{FF2B5EF4-FFF2-40B4-BE49-F238E27FC236}">
                  <a16:creationId xmlns:a16="http://schemas.microsoft.com/office/drawing/2014/main" id="{F5A0E1FF-2515-AC86-B0AA-DA250D246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10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6" name="Freeform 244">
              <a:extLst>
                <a:ext uri="{FF2B5EF4-FFF2-40B4-BE49-F238E27FC236}">
                  <a16:creationId xmlns:a16="http://schemas.microsoft.com/office/drawing/2014/main" id="{06E521FF-0B22-49A2-03E0-21D3EAFC6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10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7" name="Freeform 245">
              <a:extLst>
                <a:ext uri="{FF2B5EF4-FFF2-40B4-BE49-F238E27FC236}">
                  <a16:creationId xmlns:a16="http://schemas.microsoft.com/office/drawing/2014/main" id="{BB3EA68D-5C95-47EA-8B44-4523286172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8" name="Freeform 246">
              <a:extLst>
                <a:ext uri="{FF2B5EF4-FFF2-40B4-BE49-F238E27FC236}">
                  <a16:creationId xmlns:a16="http://schemas.microsoft.com/office/drawing/2014/main" id="{4C71E448-805E-BC59-C0C6-CAC026CF56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9" name="Freeform 247">
              <a:extLst>
                <a:ext uri="{FF2B5EF4-FFF2-40B4-BE49-F238E27FC236}">
                  <a16:creationId xmlns:a16="http://schemas.microsoft.com/office/drawing/2014/main" id="{024BCBFE-6C42-9423-3A96-B99FE7303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0" name="Freeform 248">
              <a:extLst>
                <a:ext uri="{FF2B5EF4-FFF2-40B4-BE49-F238E27FC236}">
                  <a16:creationId xmlns:a16="http://schemas.microsoft.com/office/drawing/2014/main" id="{D7B18550-814A-9C44-880F-7DEB9F8556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1" name="Freeform 249">
              <a:extLst>
                <a:ext uri="{FF2B5EF4-FFF2-40B4-BE49-F238E27FC236}">
                  <a16:creationId xmlns:a16="http://schemas.microsoft.com/office/drawing/2014/main" id="{9284A539-DE65-10FA-AD7E-4E07A8952E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10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2" name="Freeform 250">
              <a:extLst>
                <a:ext uri="{FF2B5EF4-FFF2-40B4-BE49-F238E27FC236}">
                  <a16:creationId xmlns:a16="http://schemas.microsoft.com/office/drawing/2014/main" id="{077D73DF-6F56-1F7F-ABF8-EF5642D21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10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3" name="Freeform 251">
              <a:extLst>
                <a:ext uri="{FF2B5EF4-FFF2-40B4-BE49-F238E27FC236}">
                  <a16:creationId xmlns:a16="http://schemas.microsoft.com/office/drawing/2014/main" id="{00556BC0-69F8-75F6-DE45-920DC634C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3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4" name="Freeform 252">
              <a:extLst>
                <a:ext uri="{FF2B5EF4-FFF2-40B4-BE49-F238E27FC236}">
                  <a16:creationId xmlns:a16="http://schemas.microsoft.com/office/drawing/2014/main" id="{A2D6F0FD-C1CD-5E9A-1555-E8B114E9A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3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5" name="Freeform 253">
              <a:extLst>
                <a:ext uri="{FF2B5EF4-FFF2-40B4-BE49-F238E27FC236}">
                  <a16:creationId xmlns:a16="http://schemas.microsoft.com/office/drawing/2014/main" id="{0934A8C9-0C0D-22C7-B0DA-A89B1803D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6" name="Freeform 254">
              <a:extLst>
                <a:ext uri="{FF2B5EF4-FFF2-40B4-BE49-F238E27FC236}">
                  <a16:creationId xmlns:a16="http://schemas.microsoft.com/office/drawing/2014/main" id="{9F3A4D4E-05C3-0C95-5809-8E15CDCC6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7" name="Freeform 255">
              <a:extLst>
                <a:ext uri="{FF2B5EF4-FFF2-40B4-BE49-F238E27FC236}">
                  <a16:creationId xmlns:a16="http://schemas.microsoft.com/office/drawing/2014/main" id="{B0D8F69B-0676-7479-1D1C-C43000E43C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3" y="1866"/>
              <a:ext cx="26" cy="27"/>
            </a:xfrm>
            <a:custGeom>
              <a:avLst/>
              <a:gdLst>
                <a:gd name="T0" fmla="*/ 26 w 26"/>
                <a:gd name="T1" fmla="*/ 14 h 27"/>
                <a:gd name="T2" fmla="*/ 26 w 26"/>
                <a:gd name="T3" fmla="*/ 14 h 27"/>
                <a:gd name="T4" fmla="*/ 24 w 26"/>
                <a:gd name="T5" fmla="*/ 20 h 27"/>
                <a:gd name="T6" fmla="*/ 20 w 26"/>
                <a:gd name="T7" fmla="*/ 24 h 27"/>
                <a:gd name="T8" fmla="*/ 17 w 26"/>
                <a:gd name="T9" fmla="*/ 26 h 27"/>
                <a:gd name="T10" fmla="*/ 13 w 26"/>
                <a:gd name="T11" fmla="*/ 27 h 27"/>
                <a:gd name="T12" fmla="*/ 7 w 26"/>
                <a:gd name="T13" fmla="*/ 26 h 27"/>
                <a:gd name="T14" fmla="*/ 4 w 26"/>
                <a:gd name="T15" fmla="*/ 24 h 27"/>
                <a:gd name="T16" fmla="*/ 0 w 26"/>
                <a:gd name="T17" fmla="*/ 20 h 27"/>
                <a:gd name="T18" fmla="*/ 0 w 26"/>
                <a:gd name="T19" fmla="*/ 14 h 27"/>
                <a:gd name="T20" fmla="*/ 0 w 26"/>
                <a:gd name="T21" fmla="*/ 14 h 27"/>
                <a:gd name="T22" fmla="*/ 0 w 26"/>
                <a:gd name="T23" fmla="*/ 7 h 27"/>
                <a:gd name="T24" fmla="*/ 4 w 26"/>
                <a:gd name="T25" fmla="*/ 3 h 27"/>
                <a:gd name="T26" fmla="*/ 7 w 26"/>
                <a:gd name="T27" fmla="*/ 1 h 27"/>
                <a:gd name="T28" fmla="*/ 13 w 26"/>
                <a:gd name="T29" fmla="*/ 0 h 27"/>
                <a:gd name="T30" fmla="*/ 17 w 26"/>
                <a:gd name="T31" fmla="*/ 1 h 27"/>
                <a:gd name="T32" fmla="*/ 20 w 26"/>
                <a:gd name="T33" fmla="*/ 3 h 27"/>
                <a:gd name="T34" fmla="*/ 24 w 26"/>
                <a:gd name="T35" fmla="*/ 7 h 27"/>
                <a:gd name="T36" fmla="*/ 26 w 26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4"/>
                  </a:moveTo>
                  <a:lnTo>
                    <a:pt x="26" y="14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7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6" y="14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8" name="Freeform 256">
              <a:extLst>
                <a:ext uri="{FF2B5EF4-FFF2-40B4-BE49-F238E27FC236}">
                  <a16:creationId xmlns:a16="http://schemas.microsoft.com/office/drawing/2014/main" id="{E1407F5B-A433-D13D-8BB3-C3499A09C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3" y="1866"/>
              <a:ext cx="26" cy="27"/>
            </a:xfrm>
            <a:custGeom>
              <a:avLst/>
              <a:gdLst>
                <a:gd name="T0" fmla="*/ 26 w 26"/>
                <a:gd name="T1" fmla="*/ 14 h 27"/>
                <a:gd name="T2" fmla="*/ 26 w 26"/>
                <a:gd name="T3" fmla="*/ 14 h 27"/>
                <a:gd name="T4" fmla="*/ 24 w 26"/>
                <a:gd name="T5" fmla="*/ 20 h 27"/>
                <a:gd name="T6" fmla="*/ 20 w 26"/>
                <a:gd name="T7" fmla="*/ 24 h 27"/>
                <a:gd name="T8" fmla="*/ 17 w 26"/>
                <a:gd name="T9" fmla="*/ 26 h 27"/>
                <a:gd name="T10" fmla="*/ 13 w 26"/>
                <a:gd name="T11" fmla="*/ 27 h 27"/>
                <a:gd name="T12" fmla="*/ 7 w 26"/>
                <a:gd name="T13" fmla="*/ 26 h 27"/>
                <a:gd name="T14" fmla="*/ 4 w 26"/>
                <a:gd name="T15" fmla="*/ 24 h 27"/>
                <a:gd name="T16" fmla="*/ 0 w 26"/>
                <a:gd name="T17" fmla="*/ 20 h 27"/>
                <a:gd name="T18" fmla="*/ 0 w 26"/>
                <a:gd name="T19" fmla="*/ 14 h 27"/>
                <a:gd name="T20" fmla="*/ 0 w 26"/>
                <a:gd name="T21" fmla="*/ 14 h 27"/>
                <a:gd name="T22" fmla="*/ 0 w 26"/>
                <a:gd name="T23" fmla="*/ 7 h 27"/>
                <a:gd name="T24" fmla="*/ 4 w 26"/>
                <a:gd name="T25" fmla="*/ 3 h 27"/>
                <a:gd name="T26" fmla="*/ 7 w 26"/>
                <a:gd name="T27" fmla="*/ 1 h 27"/>
                <a:gd name="T28" fmla="*/ 13 w 26"/>
                <a:gd name="T29" fmla="*/ 0 h 27"/>
                <a:gd name="T30" fmla="*/ 17 w 26"/>
                <a:gd name="T31" fmla="*/ 1 h 27"/>
                <a:gd name="T32" fmla="*/ 20 w 26"/>
                <a:gd name="T33" fmla="*/ 3 h 27"/>
                <a:gd name="T34" fmla="*/ 24 w 26"/>
                <a:gd name="T35" fmla="*/ 7 h 27"/>
                <a:gd name="T36" fmla="*/ 26 w 26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4"/>
                  </a:moveTo>
                  <a:lnTo>
                    <a:pt x="26" y="14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7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6" y="14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9" name="Freeform 257">
              <a:extLst>
                <a:ext uri="{FF2B5EF4-FFF2-40B4-BE49-F238E27FC236}">
                  <a16:creationId xmlns:a16="http://schemas.microsoft.com/office/drawing/2014/main" id="{57B5CE68-7E6D-49CB-3884-0C595C1955C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0" name="Freeform 258">
              <a:extLst>
                <a:ext uri="{FF2B5EF4-FFF2-40B4-BE49-F238E27FC236}">
                  <a16:creationId xmlns:a16="http://schemas.microsoft.com/office/drawing/2014/main" id="{E2D3359E-7CC9-D337-BF0C-63DDA3297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1" name="Freeform 259">
              <a:extLst>
                <a:ext uri="{FF2B5EF4-FFF2-40B4-BE49-F238E27FC236}">
                  <a16:creationId xmlns:a16="http://schemas.microsoft.com/office/drawing/2014/main" id="{8440DA7D-9686-7897-A191-C4ACF4FB62F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2" name="Freeform 260">
              <a:extLst>
                <a:ext uri="{FF2B5EF4-FFF2-40B4-BE49-F238E27FC236}">
                  <a16:creationId xmlns:a16="http://schemas.microsoft.com/office/drawing/2014/main" id="{93EC2F9A-460E-6940-94A7-979363FB5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3" name="Freeform 261">
              <a:extLst>
                <a:ext uri="{FF2B5EF4-FFF2-40B4-BE49-F238E27FC236}">
                  <a16:creationId xmlns:a16="http://schemas.microsoft.com/office/drawing/2014/main" id="{5BEB0DDD-EB96-E473-9769-5B94A1D1E8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4" name="Freeform 262">
              <a:extLst>
                <a:ext uri="{FF2B5EF4-FFF2-40B4-BE49-F238E27FC236}">
                  <a16:creationId xmlns:a16="http://schemas.microsoft.com/office/drawing/2014/main" id="{B5F9D82C-47A8-04C8-3B72-7C3F9C41A9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5" name="Freeform 263">
              <a:extLst>
                <a:ext uri="{FF2B5EF4-FFF2-40B4-BE49-F238E27FC236}">
                  <a16:creationId xmlns:a16="http://schemas.microsoft.com/office/drawing/2014/main" id="{AD2772B0-6F6B-4F5C-15A4-D3F5BB834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6" name="Freeform 264">
              <a:extLst>
                <a:ext uri="{FF2B5EF4-FFF2-40B4-BE49-F238E27FC236}">
                  <a16:creationId xmlns:a16="http://schemas.microsoft.com/office/drawing/2014/main" id="{4180E3A1-0AE3-DDBC-767A-503ED8210A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7" name="Freeform 265">
              <a:extLst>
                <a:ext uri="{FF2B5EF4-FFF2-40B4-BE49-F238E27FC236}">
                  <a16:creationId xmlns:a16="http://schemas.microsoft.com/office/drawing/2014/main" id="{560B9F40-2456-21DF-7937-45340E662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029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4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4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4 h 26"/>
                <a:gd name="T26" fmla="*/ 8 w 25"/>
                <a:gd name="T27" fmla="*/ 2 h 26"/>
                <a:gd name="T28" fmla="*/ 13 w 25"/>
                <a:gd name="T29" fmla="*/ 0 h 26"/>
                <a:gd name="T30" fmla="*/ 17 w 25"/>
                <a:gd name="T31" fmla="*/ 2 h 26"/>
                <a:gd name="T32" fmla="*/ 21 w 25"/>
                <a:gd name="T33" fmla="*/ 4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8" name="Freeform 266">
              <a:extLst>
                <a:ext uri="{FF2B5EF4-FFF2-40B4-BE49-F238E27FC236}">
                  <a16:creationId xmlns:a16="http://schemas.microsoft.com/office/drawing/2014/main" id="{54720973-3EAA-A606-F8B6-F81EE65A6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029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4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4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4 h 26"/>
                <a:gd name="T26" fmla="*/ 8 w 25"/>
                <a:gd name="T27" fmla="*/ 2 h 26"/>
                <a:gd name="T28" fmla="*/ 13 w 25"/>
                <a:gd name="T29" fmla="*/ 0 h 26"/>
                <a:gd name="T30" fmla="*/ 17 w 25"/>
                <a:gd name="T31" fmla="*/ 2 h 26"/>
                <a:gd name="T32" fmla="*/ 21 w 25"/>
                <a:gd name="T33" fmla="*/ 4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9" name="Freeform 267">
              <a:extLst>
                <a:ext uri="{FF2B5EF4-FFF2-40B4-BE49-F238E27FC236}">
                  <a16:creationId xmlns:a16="http://schemas.microsoft.com/office/drawing/2014/main" id="{4A9AD21E-9616-B997-0549-D16F1CCCE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676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1 h 28"/>
                <a:gd name="T6" fmla="*/ 21 w 24"/>
                <a:gd name="T7" fmla="*/ 24 h 28"/>
                <a:gd name="T8" fmla="*/ 17 w 24"/>
                <a:gd name="T9" fmla="*/ 26 h 28"/>
                <a:gd name="T10" fmla="*/ 11 w 24"/>
                <a:gd name="T11" fmla="*/ 28 h 28"/>
                <a:gd name="T12" fmla="*/ 8 w 24"/>
                <a:gd name="T13" fmla="*/ 26 h 28"/>
                <a:gd name="T14" fmla="*/ 4 w 24"/>
                <a:gd name="T15" fmla="*/ 24 h 28"/>
                <a:gd name="T16" fmla="*/ 0 w 24"/>
                <a:gd name="T17" fmla="*/ 21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8 h 28"/>
                <a:gd name="T24" fmla="*/ 4 w 24"/>
                <a:gd name="T25" fmla="*/ 4 h 28"/>
                <a:gd name="T26" fmla="*/ 8 w 24"/>
                <a:gd name="T27" fmla="*/ 2 h 28"/>
                <a:gd name="T28" fmla="*/ 11 w 24"/>
                <a:gd name="T29" fmla="*/ 0 h 28"/>
                <a:gd name="T30" fmla="*/ 17 w 24"/>
                <a:gd name="T31" fmla="*/ 2 h 28"/>
                <a:gd name="T32" fmla="*/ 21 w 24"/>
                <a:gd name="T33" fmla="*/ 4 h 28"/>
                <a:gd name="T34" fmla="*/ 24 w 24"/>
                <a:gd name="T35" fmla="*/ 8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1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0" name="Freeform 268">
              <a:extLst>
                <a:ext uri="{FF2B5EF4-FFF2-40B4-BE49-F238E27FC236}">
                  <a16:creationId xmlns:a16="http://schemas.microsoft.com/office/drawing/2014/main" id="{C428A72F-CA25-F340-9371-8E1D2AAEC7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676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1 h 28"/>
                <a:gd name="T6" fmla="*/ 21 w 24"/>
                <a:gd name="T7" fmla="*/ 24 h 28"/>
                <a:gd name="T8" fmla="*/ 17 w 24"/>
                <a:gd name="T9" fmla="*/ 26 h 28"/>
                <a:gd name="T10" fmla="*/ 11 w 24"/>
                <a:gd name="T11" fmla="*/ 28 h 28"/>
                <a:gd name="T12" fmla="*/ 8 w 24"/>
                <a:gd name="T13" fmla="*/ 26 h 28"/>
                <a:gd name="T14" fmla="*/ 4 w 24"/>
                <a:gd name="T15" fmla="*/ 24 h 28"/>
                <a:gd name="T16" fmla="*/ 0 w 24"/>
                <a:gd name="T17" fmla="*/ 21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8 h 28"/>
                <a:gd name="T24" fmla="*/ 4 w 24"/>
                <a:gd name="T25" fmla="*/ 4 h 28"/>
                <a:gd name="T26" fmla="*/ 8 w 24"/>
                <a:gd name="T27" fmla="*/ 2 h 28"/>
                <a:gd name="T28" fmla="*/ 11 w 24"/>
                <a:gd name="T29" fmla="*/ 0 h 28"/>
                <a:gd name="T30" fmla="*/ 17 w 24"/>
                <a:gd name="T31" fmla="*/ 2 h 28"/>
                <a:gd name="T32" fmla="*/ 21 w 24"/>
                <a:gd name="T33" fmla="*/ 4 h 28"/>
                <a:gd name="T34" fmla="*/ 24 w 24"/>
                <a:gd name="T35" fmla="*/ 8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1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1" name="Freeform 269">
              <a:extLst>
                <a:ext uri="{FF2B5EF4-FFF2-40B4-BE49-F238E27FC236}">
                  <a16:creationId xmlns:a16="http://schemas.microsoft.com/office/drawing/2014/main" id="{22872E9C-359D-BED0-C904-36278E9C6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76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2" name="Freeform 270">
              <a:extLst>
                <a:ext uri="{FF2B5EF4-FFF2-40B4-BE49-F238E27FC236}">
                  <a16:creationId xmlns:a16="http://schemas.microsoft.com/office/drawing/2014/main" id="{B81AB716-8845-E7B2-381F-29A5A23572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76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3" name="Freeform 271">
              <a:extLst>
                <a:ext uri="{FF2B5EF4-FFF2-40B4-BE49-F238E27FC236}">
                  <a16:creationId xmlns:a16="http://schemas.microsoft.com/office/drawing/2014/main" id="{CD1387D8-1C4D-A5B0-3179-A34DE0149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76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4" name="Freeform 272">
              <a:extLst>
                <a:ext uri="{FF2B5EF4-FFF2-40B4-BE49-F238E27FC236}">
                  <a16:creationId xmlns:a16="http://schemas.microsoft.com/office/drawing/2014/main" id="{16A9921F-4A9F-1348-F940-994E9C7A8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76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5" name="Freeform 273">
              <a:extLst>
                <a:ext uri="{FF2B5EF4-FFF2-40B4-BE49-F238E27FC236}">
                  <a16:creationId xmlns:a16="http://schemas.microsoft.com/office/drawing/2014/main" id="{A96F2E8D-A892-EFC8-7E47-924CD4598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860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6" name="Freeform 274">
              <a:extLst>
                <a:ext uri="{FF2B5EF4-FFF2-40B4-BE49-F238E27FC236}">
                  <a16:creationId xmlns:a16="http://schemas.microsoft.com/office/drawing/2014/main" id="{DD789100-53CB-EC93-D00F-7BFBB97C6A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860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7" name="Freeform 275">
              <a:extLst>
                <a:ext uri="{FF2B5EF4-FFF2-40B4-BE49-F238E27FC236}">
                  <a16:creationId xmlns:a16="http://schemas.microsoft.com/office/drawing/2014/main" id="{0CB6CA32-B3D6-97F1-FB0A-D42FFD52E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1897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19 h 28"/>
                <a:gd name="T6" fmla="*/ 23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19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8" name="Freeform 276">
              <a:extLst>
                <a:ext uri="{FF2B5EF4-FFF2-40B4-BE49-F238E27FC236}">
                  <a16:creationId xmlns:a16="http://schemas.microsoft.com/office/drawing/2014/main" id="{B3E930FA-FBFA-1084-0696-57DE6E8515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1897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19 h 28"/>
                <a:gd name="T6" fmla="*/ 23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19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9" name="Freeform 277">
              <a:extLst>
                <a:ext uri="{FF2B5EF4-FFF2-40B4-BE49-F238E27FC236}">
                  <a16:creationId xmlns:a16="http://schemas.microsoft.com/office/drawing/2014/main" id="{755668F7-CA9A-5F52-533B-2B1BB7CAF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830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0" name="Freeform 278">
              <a:extLst>
                <a:ext uri="{FF2B5EF4-FFF2-40B4-BE49-F238E27FC236}">
                  <a16:creationId xmlns:a16="http://schemas.microsoft.com/office/drawing/2014/main" id="{C5C013B8-BFB9-1CCC-1A32-42017F86A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830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1" name="Freeform 279">
              <a:extLst>
                <a:ext uri="{FF2B5EF4-FFF2-40B4-BE49-F238E27FC236}">
                  <a16:creationId xmlns:a16="http://schemas.microsoft.com/office/drawing/2014/main" id="{6856B9A3-D9AD-3EF2-0DAD-9C7F411B8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1869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2" name="Freeform 280">
              <a:extLst>
                <a:ext uri="{FF2B5EF4-FFF2-40B4-BE49-F238E27FC236}">
                  <a16:creationId xmlns:a16="http://schemas.microsoft.com/office/drawing/2014/main" id="{5E1C6BF1-AC50-DC44-7A83-312A4901B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1869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3" name="Freeform 281">
              <a:extLst>
                <a:ext uri="{FF2B5EF4-FFF2-40B4-BE49-F238E27FC236}">
                  <a16:creationId xmlns:a16="http://schemas.microsoft.com/office/drawing/2014/main" id="{81783518-6FED-EA5F-29C3-D47FA8EE7F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197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4" name="Freeform 282">
              <a:extLst>
                <a:ext uri="{FF2B5EF4-FFF2-40B4-BE49-F238E27FC236}">
                  <a16:creationId xmlns:a16="http://schemas.microsoft.com/office/drawing/2014/main" id="{A40C90F7-2DFF-F89D-7BA1-ED4016121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197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5" name="Freeform 283">
              <a:extLst>
                <a:ext uri="{FF2B5EF4-FFF2-40B4-BE49-F238E27FC236}">
                  <a16:creationId xmlns:a16="http://schemas.microsoft.com/office/drawing/2014/main" id="{D06397C2-0DDD-20A9-41EC-97D9D0FED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192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6" name="Freeform 284">
              <a:extLst>
                <a:ext uri="{FF2B5EF4-FFF2-40B4-BE49-F238E27FC236}">
                  <a16:creationId xmlns:a16="http://schemas.microsoft.com/office/drawing/2014/main" id="{83592AB5-3E4F-3486-687F-D58BE700E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192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7" name="Freeform 285">
              <a:extLst>
                <a:ext uri="{FF2B5EF4-FFF2-40B4-BE49-F238E27FC236}">
                  <a16:creationId xmlns:a16="http://schemas.microsoft.com/office/drawing/2014/main" id="{3F6245FD-5C4B-50BF-04A4-ABCC38B2E8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178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8" name="Freeform 286">
              <a:extLst>
                <a:ext uri="{FF2B5EF4-FFF2-40B4-BE49-F238E27FC236}">
                  <a16:creationId xmlns:a16="http://schemas.microsoft.com/office/drawing/2014/main" id="{3C0EEE57-DB56-A973-BF7E-9C17A0B4A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178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9" name="Freeform 287">
              <a:extLst>
                <a:ext uri="{FF2B5EF4-FFF2-40B4-BE49-F238E27FC236}">
                  <a16:creationId xmlns:a16="http://schemas.microsoft.com/office/drawing/2014/main" id="{F09510BC-835F-F824-E236-6D65A909E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2" y="180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0" name="Freeform 288">
              <a:extLst>
                <a:ext uri="{FF2B5EF4-FFF2-40B4-BE49-F238E27FC236}">
                  <a16:creationId xmlns:a16="http://schemas.microsoft.com/office/drawing/2014/main" id="{504CB3F3-1DA7-DA75-4568-059B9ABA0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2" y="180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1" name="Freeform 289">
              <a:extLst>
                <a:ext uri="{FF2B5EF4-FFF2-40B4-BE49-F238E27FC236}">
                  <a16:creationId xmlns:a16="http://schemas.microsoft.com/office/drawing/2014/main" id="{0A355EC9-4263-7638-0AE4-5333A340D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175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2" name="Freeform 290">
              <a:extLst>
                <a:ext uri="{FF2B5EF4-FFF2-40B4-BE49-F238E27FC236}">
                  <a16:creationId xmlns:a16="http://schemas.microsoft.com/office/drawing/2014/main" id="{1EC50ACB-391E-663D-7109-93728BE7E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175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3" name="Freeform 291">
              <a:extLst>
                <a:ext uri="{FF2B5EF4-FFF2-40B4-BE49-F238E27FC236}">
                  <a16:creationId xmlns:a16="http://schemas.microsoft.com/office/drawing/2014/main" id="{D2C42D00-E296-B539-F635-DF3E654B9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171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4" name="Freeform 292">
              <a:extLst>
                <a:ext uri="{FF2B5EF4-FFF2-40B4-BE49-F238E27FC236}">
                  <a16:creationId xmlns:a16="http://schemas.microsoft.com/office/drawing/2014/main" id="{8C9E0470-CDDA-6386-708C-8A3ECB4C3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171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5" name="Freeform 293">
              <a:extLst>
                <a:ext uri="{FF2B5EF4-FFF2-40B4-BE49-F238E27FC236}">
                  <a16:creationId xmlns:a16="http://schemas.microsoft.com/office/drawing/2014/main" id="{30DAA436-4547-2184-7D5B-5294812EE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6" y="172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5 w 26"/>
                <a:gd name="T15" fmla="*/ 25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5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5" y="25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5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6" name="Freeform 294">
              <a:extLst>
                <a:ext uri="{FF2B5EF4-FFF2-40B4-BE49-F238E27FC236}">
                  <a16:creationId xmlns:a16="http://schemas.microsoft.com/office/drawing/2014/main" id="{6EA5D001-45B2-22C8-3212-FBA06670A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6" y="172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5 w 26"/>
                <a:gd name="T15" fmla="*/ 25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5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5" y="25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5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7" name="Freeform 295">
              <a:extLst>
                <a:ext uri="{FF2B5EF4-FFF2-40B4-BE49-F238E27FC236}">
                  <a16:creationId xmlns:a16="http://schemas.microsoft.com/office/drawing/2014/main" id="{951B26A0-4CF9-364C-EE6F-0CA1D11B6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8" name="Freeform 296">
              <a:extLst>
                <a:ext uri="{FF2B5EF4-FFF2-40B4-BE49-F238E27FC236}">
                  <a16:creationId xmlns:a16="http://schemas.microsoft.com/office/drawing/2014/main" id="{8D7F6AEE-E111-FAF2-EB99-6D4B1F9B4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9" name="Freeform 297">
              <a:extLst>
                <a:ext uri="{FF2B5EF4-FFF2-40B4-BE49-F238E27FC236}">
                  <a16:creationId xmlns:a16="http://schemas.microsoft.com/office/drawing/2014/main" id="{F65F8676-FA32-6847-DE57-41EB28582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0" name="Freeform 298">
              <a:extLst>
                <a:ext uri="{FF2B5EF4-FFF2-40B4-BE49-F238E27FC236}">
                  <a16:creationId xmlns:a16="http://schemas.microsoft.com/office/drawing/2014/main" id="{640EAAEF-8A34-9452-7F40-DB448527E1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1" name="Freeform 299">
              <a:extLst>
                <a:ext uri="{FF2B5EF4-FFF2-40B4-BE49-F238E27FC236}">
                  <a16:creationId xmlns:a16="http://schemas.microsoft.com/office/drawing/2014/main" id="{EE8A4A47-8273-798A-F0DE-257A3BDD6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2" name="Freeform 300">
              <a:extLst>
                <a:ext uri="{FF2B5EF4-FFF2-40B4-BE49-F238E27FC236}">
                  <a16:creationId xmlns:a16="http://schemas.microsoft.com/office/drawing/2014/main" id="{4BB378AF-08D5-2847-B9F5-98843E43DE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3" name="Freeform 301">
              <a:extLst>
                <a:ext uri="{FF2B5EF4-FFF2-40B4-BE49-F238E27FC236}">
                  <a16:creationId xmlns:a16="http://schemas.microsoft.com/office/drawing/2014/main" id="{05977220-509A-22CD-CB97-63C94BC80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4" name="Freeform 302">
              <a:extLst>
                <a:ext uri="{FF2B5EF4-FFF2-40B4-BE49-F238E27FC236}">
                  <a16:creationId xmlns:a16="http://schemas.microsoft.com/office/drawing/2014/main" id="{4ECF7B3B-F87F-FC9C-5AD2-F8A44F9DD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5" name="Freeform 303">
              <a:extLst>
                <a:ext uri="{FF2B5EF4-FFF2-40B4-BE49-F238E27FC236}">
                  <a16:creationId xmlns:a16="http://schemas.microsoft.com/office/drawing/2014/main" id="{36E91035-3274-AA28-9E9C-D5F689602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6" name="Freeform 304">
              <a:extLst>
                <a:ext uri="{FF2B5EF4-FFF2-40B4-BE49-F238E27FC236}">
                  <a16:creationId xmlns:a16="http://schemas.microsoft.com/office/drawing/2014/main" id="{59FE53A4-264D-4A71-8DEE-272E3494F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7" name="Freeform 305">
              <a:extLst>
                <a:ext uri="{FF2B5EF4-FFF2-40B4-BE49-F238E27FC236}">
                  <a16:creationId xmlns:a16="http://schemas.microsoft.com/office/drawing/2014/main" id="{E1B02B12-0561-D53C-9A94-E490353985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014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8" name="Freeform 306">
              <a:extLst>
                <a:ext uri="{FF2B5EF4-FFF2-40B4-BE49-F238E27FC236}">
                  <a16:creationId xmlns:a16="http://schemas.microsoft.com/office/drawing/2014/main" id="{771EE929-F126-227F-EB7C-63D5FE964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014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9" name="Freeform 307">
              <a:extLst>
                <a:ext uri="{FF2B5EF4-FFF2-40B4-BE49-F238E27FC236}">
                  <a16:creationId xmlns:a16="http://schemas.microsoft.com/office/drawing/2014/main" id="{3FD730C6-EF7D-3E9F-3628-8DF83440E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0" name="Freeform 308">
              <a:extLst>
                <a:ext uri="{FF2B5EF4-FFF2-40B4-BE49-F238E27FC236}">
                  <a16:creationId xmlns:a16="http://schemas.microsoft.com/office/drawing/2014/main" id="{8809B8B9-00FA-EE26-A24B-F181C78960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1" name="Freeform 309">
              <a:extLst>
                <a:ext uri="{FF2B5EF4-FFF2-40B4-BE49-F238E27FC236}">
                  <a16:creationId xmlns:a16="http://schemas.microsoft.com/office/drawing/2014/main" id="{2140F090-2A2B-C5FC-B8F6-B25F3AAEE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2" name="Freeform 310">
              <a:extLst>
                <a:ext uri="{FF2B5EF4-FFF2-40B4-BE49-F238E27FC236}">
                  <a16:creationId xmlns:a16="http://schemas.microsoft.com/office/drawing/2014/main" id="{E547147D-E50F-0E82-62D2-6A85BD9E2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3" name="Freeform 311">
              <a:extLst>
                <a:ext uri="{FF2B5EF4-FFF2-40B4-BE49-F238E27FC236}">
                  <a16:creationId xmlns:a16="http://schemas.microsoft.com/office/drawing/2014/main" id="{DDC12B23-F0C7-24CB-3EE8-051B5BBFC0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4" name="Freeform 312">
              <a:extLst>
                <a:ext uri="{FF2B5EF4-FFF2-40B4-BE49-F238E27FC236}">
                  <a16:creationId xmlns:a16="http://schemas.microsoft.com/office/drawing/2014/main" id="{988063F9-2063-C910-DFB3-43D88583C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5" name="Freeform 313">
              <a:extLst>
                <a:ext uri="{FF2B5EF4-FFF2-40B4-BE49-F238E27FC236}">
                  <a16:creationId xmlns:a16="http://schemas.microsoft.com/office/drawing/2014/main" id="{A798CF20-1B2F-B31B-0007-5A5894C2A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6" name="Freeform 314">
              <a:extLst>
                <a:ext uri="{FF2B5EF4-FFF2-40B4-BE49-F238E27FC236}">
                  <a16:creationId xmlns:a16="http://schemas.microsoft.com/office/drawing/2014/main" id="{559E4A09-5DE0-C5D0-327C-05486F5100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7" name="Freeform 315">
              <a:extLst>
                <a:ext uri="{FF2B5EF4-FFF2-40B4-BE49-F238E27FC236}">
                  <a16:creationId xmlns:a16="http://schemas.microsoft.com/office/drawing/2014/main" id="{C9D594D6-BC4E-8F1A-F445-D83CD8358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5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8" name="Freeform 316">
              <a:extLst>
                <a:ext uri="{FF2B5EF4-FFF2-40B4-BE49-F238E27FC236}">
                  <a16:creationId xmlns:a16="http://schemas.microsoft.com/office/drawing/2014/main" id="{58D91F02-E405-37B7-3BAA-8BB029247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5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9" name="Freeform 317">
              <a:extLst>
                <a:ext uri="{FF2B5EF4-FFF2-40B4-BE49-F238E27FC236}">
                  <a16:creationId xmlns:a16="http://schemas.microsoft.com/office/drawing/2014/main" id="{957A94DA-BA2A-7E6E-FEDF-2FAE0C968E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0" name="Freeform 318">
              <a:extLst>
                <a:ext uri="{FF2B5EF4-FFF2-40B4-BE49-F238E27FC236}">
                  <a16:creationId xmlns:a16="http://schemas.microsoft.com/office/drawing/2014/main" id="{F0DC87AF-35DB-4031-8FFB-DDB7D30958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1" name="Freeform 319">
              <a:extLst>
                <a:ext uri="{FF2B5EF4-FFF2-40B4-BE49-F238E27FC236}">
                  <a16:creationId xmlns:a16="http://schemas.microsoft.com/office/drawing/2014/main" id="{21ED6022-AA17-139D-2386-B671989C9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2" name="Freeform 320">
              <a:extLst>
                <a:ext uri="{FF2B5EF4-FFF2-40B4-BE49-F238E27FC236}">
                  <a16:creationId xmlns:a16="http://schemas.microsoft.com/office/drawing/2014/main" id="{41440D1B-D772-E9EB-7AE0-11176A113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3" name="Freeform 321">
              <a:extLst>
                <a:ext uri="{FF2B5EF4-FFF2-40B4-BE49-F238E27FC236}">
                  <a16:creationId xmlns:a16="http://schemas.microsoft.com/office/drawing/2014/main" id="{1876A87F-2E90-6AE1-9F49-502F61490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4" name="Freeform 322">
              <a:extLst>
                <a:ext uri="{FF2B5EF4-FFF2-40B4-BE49-F238E27FC236}">
                  <a16:creationId xmlns:a16="http://schemas.microsoft.com/office/drawing/2014/main" id="{D0256EFD-7D80-1B68-9E4B-85823D3A0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5" name="Freeform 323">
              <a:extLst>
                <a:ext uri="{FF2B5EF4-FFF2-40B4-BE49-F238E27FC236}">
                  <a16:creationId xmlns:a16="http://schemas.microsoft.com/office/drawing/2014/main" id="{DDAD74F5-6FE9-6167-3985-0331337CB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7" y="167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6" name="Freeform 324">
              <a:extLst>
                <a:ext uri="{FF2B5EF4-FFF2-40B4-BE49-F238E27FC236}">
                  <a16:creationId xmlns:a16="http://schemas.microsoft.com/office/drawing/2014/main" id="{25A12B41-56BE-D840-C939-11C81AE35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7" y="167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7" name="Freeform 325">
              <a:extLst>
                <a:ext uri="{FF2B5EF4-FFF2-40B4-BE49-F238E27FC236}">
                  <a16:creationId xmlns:a16="http://schemas.microsoft.com/office/drawing/2014/main" id="{20DD2A8E-70B5-A08F-DC1F-0830B34F7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167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1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8" name="Freeform 326">
              <a:extLst>
                <a:ext uri="{FF2B5EF4-FFF2-40B4-BE49-F238E27FC236}">
                  <a16:creationId xmlns:a16="http://schemas.microsoft.com/office/drawing/2014/main" id="{4EB4E3A7-E3D8-AE99-B713-96AAEFE6A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167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1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9" name="Freeform 327">
              <a:extLst>
                <a:ext uri="{FF2B5EF4-FFF2-40B4-BE49-F238E27FC236}">
                  <a16:creationId xmlns:a16="http://schemas.microsoft.com/office/drawing/2014/main" id="{60F1AE12-808D-7876-9BEF-2B4C8B46D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0" name="Freeform 328">
              <a:extLst>
                <a:ext uri="{FF2B5EF4-FFF2-40B4-BE49-F238E27FC236}">
                  <a16:creationId xmlns:a16="http://schemas.microsoft.com/office/drawing/2014/main" id="{304396F5-08B8-C9AF-33F7-A70667790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1" name="Freeform 329">
              <a:extLst>
                <a:ext uri="{FF2B5EF4-FFF2-40B4-BE49-F238E27FC236}">
                  <a16:creationId xmlns:a16="http://schemas.microsoft.com/office/drawing/2014/main" id="{4F6313B4-158D-3ADF-5FE1-B9D3D9F35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2" name="Freeform 330">
              <a:extLst>
                <a:ext uri="{FF2B5EF4-FFF2-40B4-BE49-F238E27FC236}">
                  <a16:creationId xmlns:a16="http://schemas.microsoft.com/office/drawing/2014/main" id="{AD7B88A6-34C4-E49B-9C5C-F492B6E03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3" name="Freeform 331">
              <a:extLst>
                <a:ext uri="{FF2B5EF4-FFF2-40B4-BE49-F238E27FC236}">
                  <a16:creationId xmlns:a16="http://schemas.microsoft.com/office/drawing/2014/main" id="{3985EADC-C443-582A-26FA-70FB35C3F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4" name="Freeform 332">
              <a:extLst>
                <a:ext uri="{FF2B5EF4-FFF2-40B4-BE49-F238E27FC236}">
                  <a16:creationId xmlns:a16="http://schemas.microsoft.com/office/drawing/2014/main" id="{D5F30220-105B-969E-A28C-C4FBDE4D2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5" name="Freeform 333">
              <a:extLst>
                <a:ext uri="{FF2B5EF4-FFF2-40B4-BE49-F238E27FC236}">
                  <a16:creationId xmlns:a16="http://schemas.microsoft.com/office/drawing/2014/main" id="{BB1D9194-E3B2-D603-5F94-46A6C62A79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923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1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1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8 h 28"/>
                <a:gd name="T24" fmla="*/ 3 w 24"/>
                <a:gd name="T25" fmla="*/ 4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4 h 28"/>
                <a:gd name="T34" fmla="*/ 24 w 24"/>
                <a:gd name="T35" fmla="*/ 8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1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5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6" name="Freeform 334">
              <a:extLst>
                <a:ext uri="{FF2B5EF4-FFF2-40B4-BE49-F238E27FC236}">
                  <a16:creationId xmlns:a16="http://schemas.microsoft.com/office/drawing/2014/main" id="{4659E9EF-00AE-CA81-A928-8E99962BBB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923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1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1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8 h 28"/>
                <a:gd name="T24" fmla="*/ 3 w 24"/>
                <a:gd name="T25" fmla="*/ 4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4 h 28"/>
                <a:gd name="T34" fmla="*/ 24 w 24"/>
                <a:gd name="T35" fmla="*/ 8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1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5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7" name="Freeform 335">
              <a:extLst>
                <a:ext uri="{FF2B5EF4-FFF2-40B4-BE49-F238E27FC236}">
                  <a16:creationId xmlns:a16="http://schemas.microsoft.com/office/drawing/2014/main" id="{D08E7240-8DB7-D664-5389-FD00A70758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87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1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1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8" name="Freeform 336">
              <a:extLst>
                <a:ext uri="{FF2B5EF4-FFF2-40B4-BE49-F238E27FC236}">
                  <a16:creationId xmlns:a16="http://schemas.microsoft.com/office/drawing/2014/main" id="{F3A2DC8E-699E-C605-EEEA-87A2803CD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87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1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1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9" name="Freeform 337">
              <a:extLst>
                <a:ext uri="{FF2B5EF4-FFF2-40B4-BE49-F238E27FC236}">
                  <a16:creationId xmlns:a16="http://schemas.microsoft.com/office/drawing/2014/main" id="{FD0E6F72-AC50-AEFF-7245-B48DA3513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815"/>
              <a:ext cx="25" cy="28"/>
            </a:xfrm>
            <a:custGeom>
              <a:avLst/>
              <a:gdLst>
                <a:gd name="T0" fmla="*/ 25 w 25"/>
                <a:gd name="T1" fmla="*/ 15 h 28"/>
                <a:gd name="T2" fmla="*/ 25 w 25"/>
                <a:gd name="T3" fmla="*/ 15 h 28"/>
                <a:gd name="T4" fmla="*/ 25 w 25"/>
                <a:gd name="T5" fmla="*/ 21 h 28"/>
                <a:gd name="T6" fmla="*/ 21 w 25"/>
                <a:gd name="T7" fmla="*/ 25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5 h 28"/>
                <a:gd name="T16" fmla="*/ 0 w 25"/>
                <a:gd name="T17" fmla="*/ 21 h 28"/>
                <a:gd name="T18" fmla="*/ 0 w 25"/>
                <a:gd name="T19" fmla="*/ 15 h 28"/>
                <a:gd name="T20" fmla="*/ 0 w 25"/>
                <a:gd name="T21" fmla="*/ 15 h 28"/>
                <a:gd name="T22" fmla="*/ 0 w 25"/>
                <a:gd name="T23" fmla="*/ 8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8 h 28"/>
                <a:gd name="T36" fmla="*/ 25 w 25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5"/>
                  </a:moveTo>
                  <a:lnTo>
                    <a:pt x="25" y="15"/>
                  </a:lnTo>
                  <a:lnTo>
                    <a:pt x="25" y="21"/>
                  </a:lnTo>
                  <a:lnTo>
                    <a:pt x="21" y="25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5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0" name="Freeform 338">
              <a:extLst>
                <a:ext uri="{FF2B5EF4-FFF2-40B4-BE49-F238E27FC236}">
                  <a16:creationId xmlns:a16="http://schemas.microsoft.com/office/drawing/2014/main" id="{C25F89B7-2883-426F-3D74-887BD4D72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815"/>
              <a:ext cx="25" cy="28"/>
            </a:xfrm>
            <a:custGeom>
              <a:avLst/>
              <a:gdLst>
                <a:gd name="T0" fmla="*/ 25 w 25"/>
                <a:gd name="T1" fmla="*/ 15 h 28"/>
                <a:gd name="T2" fmla="*/ 25 w 25"/>
                <a:gd name="T3" fmla="*/ 15 h 28"/>
                <a:gd name="T4" fmla="*/ 25 w 25"/>
                <a:gd name="T5" fmla="*/ 21 h 28"/>
                <a:gd name="T6" fmla="*/ 21 w 25"/>
                <a:gd name="T7" fmla="*/ 25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5 h 28"/>
                <a:gd name="T16" fmla="*/ 0 w 25"/>
                <a:gd name="T17" fmla="*/ 21 h 28"/>
                <a:gd name="T18" fmla="*/ 0 w 25"/>
                <a:gd name="T19" fmla="*/ 15 h 28"/>
                <a:gd name="T20" fmla="*/ 0 w 25"/>
                <a:gd name="T21" fmla="*/ 15 h 28"/>
                <a:gd name="T22" fmla="*/ 0 w 25"/>
                <a:gd name="T23" fmla="*/ 8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8 h 28"/>
                <a:gd name="T36" fmla="*/ 25 w 25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5"/>
                  </a:moveTo>
                  <a:lnTo>
                    <a:pt x="25" y="15"/>
                  </a:lnTo>
                  <a:lnTo>
                    <a:pt x="25" y="21"/>
                  </a:lnTo>
                  <a:lnTo>
                    <a:pt x="21" y="25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5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1" name="Freeform 339">
              <a:extLst>
                <a:ext uri="{FF2B5EF4-FFF2-40B4-BE49-F238E27FC236}">
                  <a16:creationId xmlns:a16="http://schemas.microsoft.com/office/drawing/2014/main" id="{FBA4980A-E4DA-01BD-2F3B-57BDFC700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82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2" name="Freeform 340">
              <a:extLst>
                <a:ext uri="{FF2B5EF4-FFF2-40B4-BE49-F238E27FC236}">
                  <a16:creationId xmlns:a16="http://schemas.microsoft.com/office/drawing/2014/main" id="{9CC739C5-92AB-5BEF-A4A9-11A321E278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82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3" name="Freeform 341">
              <a:extLst>
                <a:ext uri="{FF2B5EF4-FFF2-40B4-BE49-F238E27FC236}">
                  <a16:creationId xmlns:a16="http://schemas.microsoft.com/office/drawing/2014/main" id="{F2504A19-B466-DE83-111A-8753DC4B3D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82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4" name="Freeform 342">
              <a:extLst>
                <a:ext uri="{FF2B5EF4-FFF2-40B4-BE49-F238E27FC236}">
                  <a16:creationId xmlns:a16="http://schemas.microsoft.com/office/drawing/2014/main" id="{35C1DC9B-7EE8-4DA3-8700-1A1FE076F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82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5" name="Freeform 343">
              <a:extLst>
                <a:ext uri="{FF2B5EF4-FFF2-40B4-BE49-F238E27FC236}">
                  <a16:creationId xmlns:a16="http://schemas.microsoft.com/office/drawing/2014/main" id="{52813C62-45E4-4DC6-ACB5-9E3980C46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726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3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3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6" name="Freeform 344">
              <a:extLst>
                <a:ext uri="{FF2B5EF4-FFF2-40B4-BE49-F238E27FC236}">
                  <a16:creationId xmlns:a16="http://schemas.microsoft.com/office/drawing/2014/main" id="{D231CB7C-843B-4EF5-D789-4E0EC969F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726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3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3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7" name="Freeform 345">
              <a:extLst>
                <a:ext uri="{FF2B5EF4-FFF2-40B4-BE49-F238E27FC236}">
                  <a16:creationId xmlns:a16="http://schemas.microsoft.com/office/drawing/2014/main" id="{B65C8E6F-EB3E-F0C1-4752-AEB1BC3248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765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1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1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8" name="Freeform 346">
              <a:extLst>
                <a:ext uri="{FF2B5EF4-FFF2-40B4-BE49-F238E27FC236}">
                  <a16:creationId xmlns:a16="http://schemas.microsoft.com/office/drawing/2014/main" id="{4535EC43-C916-192B-5C16-50D2321377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765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1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1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9" name="Freeform 347">
              <a:extLst>
                <a:ext uri="{FF2B5EF4-FFF2-40B4-BE49-F238E27FC236}">
                  <a16:creationId xmlns:a16="http://schemas.microsoft.com/office/drawing/2014/main" id="{C2E86453-D869-A504-AB45-55A5D3791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765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3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0" name="Freeform 348">
              <a:extLst>
                <a:ext uri="{FF2B5EF4-FFF2-40B4-BE49-F238E27FC236}">
                  <a16:creationId xmlns:a16="http://schemas.microsoft.com/office/drawing/2014/main" id="{29264040-6A59-BFBF-7419-354F4F363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765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3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1" name="Freeform 349">
              <a:extLst>
                <a:ext uri="{FF2B5EF4-FFF2-40B4-BE49-F238E27FC236}">
                  <a16:creationId xmlns:a16="http://schemas.microsoft.com/office/drawing/2014/main" id="{57C43184-17FB-6B32-33E2-5F56AD038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173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2" name="Freeform 350">
              <a:extLst>
                <a:ext uri="{FF2B5EF4-FFF2-40B4-BE49-F238E27FC236}">
                  <a16:creationId xmlns:a16="http://schemas.microsoft.com/office/drawing/2014/main" id="{957D6E1B-89D4-720A-ECC9-78D5468C1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173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3" name="Freeform 351">
              <a:extLst>
                <a:ext uri="{FF2B5EF4-FFF2-40B4-BE49-F238E27FC236}">
                  <a16:creationId xmlns:a16="http://schemas.microsoft.com/office/drawing/2014/main" id="{0B0B50D7-6094-E4A5-34DC-A703F7BD3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754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4" name="Freeform 352">
              <a:extLst>
                <a:ext uri="{FF2B5EF4-FFF2-40B4-BE49-F238E27FC236}">
                  <a16:creationId xmlns:a16="http://schemas.microsoft.com/office/drawing/2014/main" id="{E80835AD-8534-A641-317D-7D3C7D524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754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5" name="Freeform 353">
              <a:extLst>
                <a:ext uri="{FF2B5EF4-FFF2-40B4-BE49-F238E27FC236}">
                  <a16:creationId xmlns:a16="http://schemas.microsoft.com/office/drawing/2014/main" id="{E82177A4-96A1-6FED-324A-BB46351D6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175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6" name="Freeform 354">
              <a:extLst>
                <a:ext uri="{FF2B5EF4-FFF2-40B4-BE49-F238E27FC236}">
                  <a16:creationId xmlns:a16="http://schemas.microsoft.com/office/drawing/2014/main" id="{B2D17A10-16FB-462C-A0CC-9B34AD65B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175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7" name="Freeform 355">
              <a:extLst>
                <a:ext uri="{FF2B5EF4-FFF2-40B4-BE49-F238E27FC236}">
                  <a16:creationId xmlns:a16="http://schemas.microsoft.com/office/drawing/2014/main" id="{82CDDED3-6E4C-F473-D1F4-D3AD7A4F9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3" y="177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3 h 26"/>
                <a:gd name="T8" fmla="*/ 17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8" name="Freeform 356">
              <a:extLst>
                <a:ext uri="{FF2B5EF4-FFF2-40B4-BE49-F238E27FC236}">
                  <a16:creationId xmlns:a16="http://schemas.microsoft.com/office/drawing/2014/main" id="{A36A38BA-5FA9-7FC1-7BCB-C6F7AC0DF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3" y="177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3 h 26"/>
                <a:gd name="T8" fmla="*/ 17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9" name="Freeform 357">
              <a:extLst>
                <a:ext uri="{FF2B5EF4-FFF2-40B4-BE49-F238E27FC236}">
                  <a16:creationId xmlns:a16="http://schemas.microsoft.com/office/drawing/2014/main" id="{652C5AE5-BA78-F9C5-0B5F-F9383B1E3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1765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2 w 26"/>
                <a:gd name="T23" fmla="*/ 8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0" name="Freeform 358">
              <a:extLst>
                <a:ext uri="{FF2B5EF4-FFF2-40B4-BE49-F238E27FC236}">
                  <a16:creationId xmlns:a16="http://schemas.microsoft.com/office/drawing/2014/main" id="{E313A0C2-BFA7-9224-8D36-2FBAB988A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1765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2 w 26"/>
                <a:gd name="T23" fmla="*/ 8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1" name="Freeform 359">
              <a:extLst>
                <a:ext uri="{FF2B5EF4-FFF2-40B4-BE49-F238E27FC236}">
                  <a16:creationId xmlns:a16="http://schemas.microsoft.com/office/drawing/2014/main" id="{4D0D34E8-7E40-F045-6778-F13EF6D19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7" y="1741"/>
              <a:ext cx="27" cy="26"/>
            </a:xfrm>
            <a:custGeom>
              <a:avLst/>
              <a:gdLst>
                <a:gd name="T0" fmla="*/ 27 w 27"/>
                <a:gd name="T1" fmla="*/ 13 h 26"/>
                <a:gd name="T2" fmla="*/ 27 w 27"/>
                <a:gd name="T3" fmla="*/ 13 h 26"/>
                <a:gd name="T4" fmla="*/ 27 w 27"/>
                <a:gd name="T5" fmla="*/ 19 h 26"/>
                <a:gd name="T6" fmla="*/ 23 w 27"/>
                <a:gd name="T7" fmla="*/ 24 h 26"/>
                <a:gd name="T8" fmla="*/ 19 w 27"/>
                <a:gd name="T9" fmla="*/ 26 h 26"/>
                <a:gd name="T10" fmla="*/ 14 w 27"/>
                <a:gd name="T11" fmla="*/ 26 h 26"/>
                <a:gd name="T12" fmla="*/ 10 w 27"/>
                <a:gd name="T13" fmla="*/ 26 h 26"/>
                <a:gd name="T14" fmla="*/ 4 w 27"/>
                <a:gd name="T15" fmla="*/ 24 h 26"/>
                <a:gd name="T16" fmla="*/ 2 w 27"/>
                <a:gd name="T17" fmla="*/ 19 h 26"/>
                <a:gd name="T18" fmla="*/ 0 w 27"/>
                <a:gd name="T19" fmla="*/ 13 h 26"/>
                <a:gd name="T20" fmla="*/ 0 w 27"/>
                <a:gd name="T21" fmla="*/ 13 h 26"/>
                <a:gd name="T22" fmla="*/ 2 w 27"/>
                <a:gd name="T23" fmla="*/ 8 h 26"/>
                <a:gd name="T24" fmla="*/ 4 w 27"/>
                <a:gd name="T25" fmla="*/ 4 h 26"/>
                <a:gd name="T26" fmla="*/ 10 w 27"/>
                <a:gd name="T27" fmla="*/ 2 h 26"/>
                <a:gd name="T28" fmla="*/ 14 w 27"/>
                <a:gd name="T29" fmla="*/ 0 h 26"/>
                <a:gd name="T30" fmla="*/ 19 w 27"/>
                <a:gd name="T31" fmla="*/ 2 h 26"/>
                <a:gd name="T32" fmla="*/ 23 w 27"/>
                <a:gd name="T33" fmla="*/ 4 h 26"/>
                <a:gd name="T34" fmla="*/ 27 w 27"/>
                <a:gd name="T35" fmla="*/ 8 h 26"/>
                <a:gd name="T36" fmla="*/ 27 w 27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6">
                  <a:moveTo>
                    <a:pt x="27" y="13"/>
                  </a:moveTo>
                  <a:lnTo>
                    <a:pt x="27" y="13"/>
                  </a:lnTo>
                  <a:lnTo>
                    <a:pt x="27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4" y="26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4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7" y="8"/>
                  </a:lnTo>
                  <a:lnTo>
                    <a:pt x="27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2" name="Freeform 360">
              <a:extLst>
                <a:ext uri="{FF2B5EF4-FFF2-40B4-BE49-F238E27FC236}">
                  <a16:creationId xmlns:a16="http://schemas.microsoft.com/office/drawing/2014/main" id="{21FB96E2-8484-2DCF-A32E-3B4EF769E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7" y="1741"/>
              <a:ext cx="27" cy="26"/>
            </a:xfrm>
            <a:custGeom>
              <a:avLst/>
              <a:gdLst>
                <a:gd name="T0" fmla="*/ 27 w 27"/>
                <a:gd name="T1" fmla="*/ 13 h 26"/>
                <a:gd name="T2" fmla="*/ 27 w 27"/>
                <a:gd name="T3" fmla="*/ 13 h 26"/>
                <a:gd name="T4" fmla="*/ 27 w 27"/>
                <a:gd name="T5" fmla="*/ 19 h 26"/>
                <a:gd name="T6" fmla="*/ 23 w 27"/>
                <a:gd name="T7" fmla="*/ 24 h 26"/>
                <a:gd name="T8" fmla="*/ 19 w 27"/>
                <a:gd name="T9" fmla="*/ 26 h 26"/>
                <a:gd name="T10" fmla="*/ 14 w 27"/>
                <a:gd name="T11" fmla="*/ 26 h 26"/>
                <a:gd name="T12" fmla="*/ 10 w 27"/>
                <a:gd name="T13" fmla="*/ 26 h 26"/>
                <a:gd name="T14" fmla="*/ 4 w 27"/>
                <a:gd name="T15" fmla="*/ 24 h 26"/>
                <a:gd name="T16" fmla="*/ 2 w 27"/>
                <a:gd name="T17" fmla="*/ 19 h 26"/>
                <a:gd name="T18" fmla="*/ 0 w 27"/>
                <a:gd name="T19" fmla="*/ 13 h 26"/>
                <a:gd name="T20" fmla="*/ 0 w 27"/>
                <a:gd name="T21" fmla="*/ 13 h 26"/>
                <a:gd name="T22" fmla="*/ 2 w 27"/>
                <a:gd name="T23" fmla="*/ 8 h 26"/>
                <a:gd name="T24" fmla="*/ 4 w 27"/>
                <a:gd name="T25" fmla="*/ 4 h 26"/>
                <a:gd name="T26" fmla="*/ 10 w 27"/>
                <a:gd name="T27" fmla="*/ 2 h 26"/>
                <a:gd name="T28" fmla="*/ 14 w 27"/>
                <a:gd name="T29" fmla="*/ 0 h 26"/>
                <a:gd name="T30" fmla="*/ 19 w 27"/>
                <a:gd name="T31" fmla="*/ 2 h 26"/>
                <a:gd name="T32" fmla="*/ 23 w 27"/>
                <a:gd name="T33" fmla="*/ 4 h 26"/>
                <a:gd name="T34" fmla="*/ 27 w 27"/>
                <a:gd name="T35" fmla="*/ 8 h 26"/>
                <a:gd name="T36" fmla="*/ 27 w 27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6">
                  <a:moveTo>
                    <a:pt x="27" y="13"/>
                  </a:moveTo>
                  <a:lnTo>
                    <a:pt x="27" y="13"/>
                  </a:lnTo>
                  <a:lnTo>
                    <a:pt x="27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4" y="26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4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7" y="8"/>
                  </a:lnTo>
                  <a:lnTo>
                    <a:pt x="27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3" name="Freeform 361">
              <a:extLst>
                <a:ext uri="{FF2B5EF4-FFF2-40B4-BE49-F238E27FC236}">
                  <a16:creationId xmlns:a16="http://schemas.microsoft.com/office/drawing/2014/main" id="{256B5FFF-AA08-6091-52C1-D412059931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1736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4" name="Freeform 362">
              <a:extLst>
                <a:ext uri="{FF2B5EF4-FFF2-40B4-BE49-F238E27FC236}">
                  <a16:creationId xmlns:a16="http://schemas.microsoft.com/office/drawing/2014/main" id="{C1B7199C-DB2F-8804-AE71-A3B4C72130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1736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5" name="Freeform 363">
              <a:extLst>
                <a:ext uri="{FF2B5EF4-FFF2-40B4-BE49-F238E27FC236}">
                  <a16:creationId xmlns:a16="http://schemas.microsoft.com/office/drawing/2014/main" id="{DFAA407B-4C50-D303-FB94-5D88B4C698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4" y="1732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0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1 w 26"/>
                <a:gd name="T17" fmla="*/ 20 h 28"/>
                <a:gd name="T18" fmla="*/ 0 w 26"/>
                <a:gd name="T19" fmla="*/ 15 h 28"/>
                <a:gd name="T20" fmla="*/ 0 w 26"/>
                <a:gd name="T21" fmla="*/ 15 h 28"/>
                <a:gd name="T22" fmla="*/ 1 w 26"/>
                <a:gd name="T23" fmla="*/ 7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7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6" name="Freeform 364">
              <a:extLst>
                <a:ext uri="{FF2B5EF4-FFF2-40B4-BE49-F238E27FC236}">
                  <a16:creationId xmlns:a16="http://schemas.microsoft.com/office/drawing/2014/main" id="{9D6B48A7-E179-3E51-7A98-2C0E9D4BD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4" y="1732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0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1 w 26"/>
                <a:gd name="T17" fmla="*/ 20 h 28"/>
                <a:gd name="T18" fmla="*/ 0 w 26"/>
                <a:gd name="T19" fmla="*/ 15 h 28"/>
                <a:gd name="T20" fmla="*/ 0 w 26"/>
                <a:gd name="T21" fmla="*/ 15 h 28"/>
                <a:gd name="T22" fmla="*/ 1 w 26"/>
                <a:gd name="T23" fmla="*/ 7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7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5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7" name="Freeform 365">
              <a:extLst>
                <a:ext uri="{FF2B5EF4-FFF2-40B4-BE49-F238E27FC236}">
                  <a16:creationId xmlns:a16="http://schemas.microsoft.com/office/drawing/2014/main" id="{D3C45B7C-3586-8B00-A676-B3D5281E1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8" name="Freeform 366">
              <a:extLst>
                <a:ext uri="{FF2B5EF4-FFF2-40B4-BE49-F238E27FC236}">
                  <a16:creationId xmlns:a16="http://schemas.microsoft.com/office/drawing/2014/main" id="{5A5C968D-D851-7BFC-ED44-25324C444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9" name="Freeform 367">
              <a:extLst>
                <a:ext uri="{FF2B5EF4-FFF2-40B4-BE49-F238E27FC236}">
                  <a16:creationId xmlns:a16="http://schemas.microsoft.com/office/drawing/2014/main" id="{A65A7D42-43B6-BD00-14C0-0D0A47FA6A3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0" name="Freeform 368">
              <a:extLst>
                <a:ext uri="{FF2B5EF4-FFF2-40B4-BE49-F238E27FC236}">
                  <a16:creationId xmlns:a16="http://schemas.microsoft.com/office/drawing/2014/main" id="{AC7FFE8C-EB8F-A421-DDB8-092D20ED1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1" name="Freeform 369">
              <a:extLst>
                <a:ext uri="{FF2B5EF4-FFF2-40B4-BE49-F238E27FC236}">
                  <a16:creationId xmlns:a16="http://schemas.microsoft.com/office/drawing/2014/main" id="{8AB93B83-66B6-4B4F-2615-34097E8CD3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2" name="Freeform 370">
              <a:extLst>
                <a:ext uri="{FF2B5EF4-FFF2-40B4-BE49-F238E27FC236}">
                  <a16:creationId xmlns:a16="http://schemas.microsoft.com/office/drawing/2014/main" id="{80443FCD-1C21-BF6A-0DFD-1F60B549D8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3" name="Freeform 371">
              <a:extLst>
                <a:ext uri="{FF2B5EF4-FFF2-40B4-BE49-F238E27FC236}">
                  <a16:creationId xmlns:a16="http://schemas.microsoft.com/office/drawing/2014/main" id="{E54A4F49-3CE1-525F-A5A4-97B26D60A8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4" name="Freeform 372">
              <a:extLst>
                <a:ext uri="{FF2B5EF4-FFF2-40B4-BE49-F238E27FC236}">
                  <a16:creationId xmlns:a16="http://schemas.microsoft.com/office/drawing/2014/main" id="{BF492FC2-5BE2-9EF1-211A-0B29FCDE5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5" name="Freeform 373">
              <a:extLst>
                <a:ext uri="{FF2B5EF4-FFF2-40B4-BE49-F238E27FC236}">
                  <a16:creationId xmlns:a16="http://schemas.microsoft.com/office/drawing/2014/main" id="{C5FB59C2-8F1E-F19E-A22E-0D2ACFF05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6" name="Freeform 374">
              <a:extLst>
                <a:ext uri="{FF2B5EF4-FFF2-40B4-BE49-F238E27FC236}">
                  <a16:creationId xmlns:a16="http://schemas.microsoft.com/office/drawing/2014/main" id="{BBC8BFEE-44B9-4FA1-9A12-A1CD82922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7" name="Freeform 375">
              <a:extLst>
                <a:ext uri="{FF2B5EF4-FFF2-40B4-BE49-F238E27FC236}">
                  <a16:creationId xmlns:a16="http://schemas.microsoft.com/office/drawing/2014/main" id="{EF8BF41A-C05A-56E4-F47A-94C6D9AA1C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8" name="Freeform 376">
              <a:extLst>
                <a:ext uri="{FF2B5EF4-FFF2-40B4-BE49-F238E27FC236}">
                  <a16:creationId xmlns:a16="http://schemas.microsoft.com/office/drawing/2014/main" id="{1580542B-FB94-EE76-7018-FC47449E2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9" name="Freeform 377">
              <a:extLst>
                <a:ext uri="{FF2B5EF4-FFF2-40B4-BE49-F238E27FC236}">
                  <a16:creationId xmlns:a16="http://schemas.microsoft.com/office/drawing/2014/main" id="{C9D67AFC-A20D-1121-659E-C6AB5F589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0" name="Freeform 378">
              <a:extLst>
                <a:ext uri="{FF2B5EF4-FFF2-40B4-BE49-F238E27FC236}">
                  <a16:creationId xmlns:a16="http://schemas.microsoft.com/office/drawing/2014/main" id="{4B5594C1-173C-9606-0784-27396A75B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1" name="Freeform 379">
              <a:extLst>
                <a:ext uri="{FF2B5EF4-FFF2-40B4-BE49-F238E27FC236}">
                  <a16:creationId xmlns:a16="http://schemas.microsoft.com/office/drawing/2014/main" id="{AD09B691-8CA1-621A-0451-5F93D02C3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3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2" name="Freeform 380">
              <a:extLst>
                <a:ext uri="{FF2B5EF4-FFF2-40B4-BE49-F238E27FC236}">
                  <a16:creationId xmlns:a16="http://schemas.microsoft.com/office/drawing/2014/main" id="{73AC0BE0-DEF7-4D11-E99C-4EA1B6230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3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3" name="Freeform 381">
              <a:extLst>
                <a:ext uri="{FF2B5EF4-FFF2-40B4-BE49-F238E27FC236}">
                  <a16:creationId xmlns:a16="http://schemas.microsoft.com/office/drawing/2014/main" id="{981D913C-C1EB-691B-AFD8-3A44C1B48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8" y="164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4" name="Freeform 382">
              <a:extLst>
                <a:ext uri="{FF2B5EF4-FFF2-40B4-BE49-F238E27FC236}">
                  <a16:creationId xmlns:a16="http://schemas.microsoft.com/office/drawing/2014/main" id="{F938F544-CA34-3BC1-3481-FE6F23D9A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8" y="164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5" name="Freeform 383">
              <a:extLst>
                <a:ext uri="{FF2B5EF4-FFF2-40B4-BE49-F238E27FC236}">
                  <a16:creationId xmlns:a16="http://schemas.microsoft.com/office/drawing/2014/main" id="{5F5DE82F-CF73-CB5A-7438-FC1600AD7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2" y="168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6" name="Freeform 384">
              <a:extLst>
                <a:ext uri="{FF2B5EF4-FFF2-40B4-BE49-F238E27FC236}">
                  <a16:creationId xmlns:a16="http://schemas.microsoft.com/office/drawing/2014/main" id="{F1C7ECBE-938C-86AE-703D-8A628AC67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2" y="168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7" name="Freeform 385">
              <a:extLst>
                <a:ext uri="{FF2B5EF4-FFF2-40B4-BE49-F238E27FC236}">
                  <a16:creationId xmlns:a16="http://schemas.microsoft.com/office/drawing/2014/main" id="{1E80A3A9-F354-BA1E-54B6-8B5233DEE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8" name="Freeform 386">
              <a:extLst>
                <a:ext uri="{FF2B5EF4-FFF2-40B4-BE49-F238E27FC236}">
                  <a16:creationId xmlns:a16="http://schemas.microsoft.com/office/drawing/2014/main" id="{F4F3A947-C73E-DEF5-978F-89D2E140E7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9" name="Freeform 387">
              <a:extLst>
                <a:ext uri="{FF2B5EF4-FFF2-40B4-BE49-F238E27FC236}">
                  <a16:creationId xmlns:a16="http://schemas.microsoft.com/office/drawing/2014/main" id="{8CDDC65E-0E2E-E962-631F-133432B3C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0" name="Freeform 388">
              <a:extLst>
                <a:ext uri="{FF2B5EF4-FFF2-40B4-BE49-F238E27FC236}">
                  <a16:creationId xmlns:a16="http://schemas.microsoft.com/office/drawing/2014/main" id="{F9791457-6C4C-A2C1-CFB5-BE1663D02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1" name="Freeform 389">
              <a:extLst>
                <a:ext uri="{FF2B5EF4-FFF2-40B4-BE49-F238E27FC236}">
                  <a16:creationId xmlns:a16="http://schemas.microsoft.com/office/drawing/2014/main" id="{DB36AD79-963D-8370-6EE8-1C81504A3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2" name="Freeform 390">
              <a:extLst>
                <a:ext uri="{FF2B5EF4-FFF2-40B4-BE49-F238E27FC236}">
                  <a16:creationId xmlns:a16="http://schemas.microsoft.com/office/drawing/2014/main" id="{2343B067-D390-B090-E051-4CA9E0E67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3" name="Freeform 391">
              <a:extLst>
                <a:ext uri="{FF2B5EF4-FFF2-40B4-BE49-F238E27FC236}">
                  <a16:creationId xmlns:a16="http://schemas.microsoft.com/office/drawing/2014/main" id="{D583CB40-7AAF-90FB-8EF6-F4D583775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4" name="Freeform 392">
              <a:extLst>
                <a:ext uri="{FF2B5EF4-FFF2-40B4-BE49-F238E27FC236}">
                  <a16:creationId xmlns:a16="http://schemas.microsoft.com/office/drawing/2014/main" id="{29717E54-D517-3F3A-963C-6501815226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5" name="Freeform 393">
              <a:extLst>
                <a:ext uri="{FF2B5EF4-FFF2-40B4-BE49-F238E27FC236}">
                  <a16:creationId xmlns:a16="http://schemas.microsoft.com/office/drawing/2014/main" id="{B8F03AA3-8B71-CD3D-16DE-F086BDD4A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6" name="Freeform 394">
              <a:extLst>
                <a:ext uri="{FF2B5EF4-FFF2-40B4-BE49-F238E27FC236}">
                  <a16:creationId xmlns:a16="http://schemas.microsoft.com/office/drawing/2014/main" id="{1794F04A-D86A-C2AF-7F8D-806324C4F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7" name="Freeform 395">
              <a:extLst>
                <a:ext uri="{FF2B5EF4-FFF2-40B4-BE49-F238E27FC236}">
                  <a16:creationId xmlns:a16="http://schemas.microsoft.com/office/drawing/2014/main" id="{8E40BE20-610D-7F08-2EDD-A4A7939E3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801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8 h 26"/>
                <a:gd name="T6" fmla="*/ 21 w 25"/>
                <a:gd name="T7" fmla="*/ 22 h 26"/>
                <a:gd name="T8" fmla="*/ 17 w 25"/>
                <a:gd name="T9" fmla="*/ 24 h 26"/>
                <a:gd name="T10" fmla="*/ 13 w 25"/>
                <a:gd name="T11" fmla="*/ 26 h 26"/>
                <a:gd name="T12" fmla="*/ 8 w 25"/>
                <a:gd name="T13" fmla="*/ 24 h 26"/>
                <a:gd name="T14" fmla="*/ 4 w 25"/>
                <a:gd name="T15" fmla="*/ 22 h 26"/>
                <a:gd name="T16" fmla="*/ 0 w 25"/>
                <a:gd name="T17" fmla="*/ 18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1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1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8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1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1"/>
                  </a:lnTo>
                  <a:lnTo>
                    <a:pt x="25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8" name="Freeform 396">
              <a:extLst>
                <a:ext uri="{FF2B5EF4-FFF2-40B4-BE49-F238E27FC236}">
                  <a16:creationId xmlns:a16="http://schemas.microsoft.com/office/drawing/2014/main" id="{ED2F5BA7-500A-39A9-9B8D-544E99EDD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801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8 h 26"/>
                <a:gd name="T6" fmla="*/ 21 w 25"/>
                <a:gd name="T7" fmla="*/ 22 h 26"/>
                <a:gd name="T8" fmla="*/ 17 w 25"/>
                <a:gd name="T9" fmla="*/ 24 h 26"/>
                <a:gd name="T10" fmla="*/ 13 w 25"/>
                <a:gd name="T11" fmla="*/ 26 h 26"/>
                <a:gd name="T12" fmla="*/ 8 w 25"/>
                <a:gd name="T13" fmla="*/ 24 h 26"/>
                <a:gd name="T14" fmla="*/ 4 w 25"/>
                <a:gd name="T15" fmla="*/ 22 h 26"/>
                <a:gd name="T16" fmla="*/ 0 w 25"/>
                <a:gd name="T17" fmla="*/ 18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1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1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8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1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1"/>
                  </a:lnTo>
                  <a:lnTo>
                    <a:pt x="25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9" name="Freeform 397">
              <a:extLst>
                <a:ext uri="{FF2B5EF4-FFF2-40B4-BE49-F238E27FC236}">
                  <a16:creationId xmlns:a16="http://schemas.microsoft.com/office/drawing/2014/main" id="{65D7FD4F-9960-D8F9-A564-5199C8B31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71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0" name="Freeform 398">
              <a:extLst>
                <a:ext uri="{FF2B5EF4-FFF2-40B4-BE49-F238E27FC236}">
                  <a16:creationId xmlns:a16="http://schemas.microsoft.com/office/drawing/2014/main" id="{4CE0C17A-D16D-49AC-F471-863EB329DE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71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1" name="Freeform 399">
              <a:extLst>
                <a:ext uri="{FF2B5EF4-FFF2-40B4-BE49-F238E27FC236}">
                  <a16:creationId xmlns:a16="http://schemas.microsoft.com/office/drawing/2014/main" id="{479D05F3-7A91-5726-E965-18FEC3A67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84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2" name="Freeform 400">
              <a:extLst>
                <a:ext uri="{FF2B5EF4-FFF2-40B4-BE49-F238E27FC236}">
                  <a16:creationId xmlns:a16="http://schemas.microsoft.com/office/drawing/2014/main" id="{405EE940-6948-CD72-8F3D-A881975C56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84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3" name="Freeform 401">
              <a:extLst>
                <a:ext uri="{FF2B5EF4-FFF2-40B4-BE49-F238E27FC236}">
                  <a16:creationId xmlns:a16="http://schemas.microsoft.com/office/drawing/2014/main" id="{3562372D-1BE1-7153-6AE6-965AEC50FA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84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5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4" name="Freeform 402">
              <a:extLst>
                <a:ext uri="{FF2B5EF4-FFF2-40B4-BE49-F238E27FC236}">
                  <a16:creationId xmlns:a16="http://schemas.microsoft.com/office/drawing/2014/main" id="{7A67B9B4-54C3-28F4-376C-07063C5B0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84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5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5" name="Freeform 403">
              <a:extLst>
                <a:ext uri="{FF2B5EF4-FFF2-40B4-BE49-F238E27FC236}">
                  <a16:creationId xmlns:a16="http://schemas.microsoft.com/office/drawing/2014/main" id="{A6C7EEAC-4086-6C75-20F3-713B424C4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84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3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6" name="Freeform 404">
              <a:extLst>
                <a:ext uri="{FF2B5EF4-FFF2-40B4-BE49-F238E27FC236}">
                  <a16:creationId xmlns:a16="http://schemas.microsoft.com/office/drawing/2014/main" id="{2BC5A030-4655-8319-C248-F35D8E0C4A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84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3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7" name="Freeform 405">
              <a:extLst>
                <a:ext uri="{FF2B5EF4-FFF2-40B4-BE49-F238E27FC236}">
                  <a16:creationId xmlns:a16="http://schemas.microsoft.com/office/drawing/2014/main" id="{2C79FC60-B320-3560-B651-168B99A679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1827"/>
              <a:ext cx="26" cy="27"/>
            </a:xfrm>
            <a:custGeom>
              <a:avLst/>
              <a:gdLst>
                <a:gd name="T0" fmla="*/ 26 w 26"/>
                <a:gd name="T1" fmla="*/ 14 h 27"/>
                <a:gd name="T2" fmla="*/ 26 w 26"/>
                <a:gd name="T3" fmla="*/ 14 h 27"/>
                <a:gd name="T4" fmla="*/ 24 w 26"/>
                <a:gd name="T5" fmla="*/ 20 h 27"/>
                <a:gd name="T6" fmla="*/ 23 w 26"/>
                <a:gd name="T7" fmla="*/ 24 h 27"/>
                <a:gd name="T8" fmla="*/ 19 w 26"/>
                <a:gd name="T9" fmla="*/ 26 h 27"/>
                <a:gd name="T10" fmla="*/ 13 w 26"/>
                <a:gd name="T11" fmla="*/ 27 h 27"/>
                <a:gd name="T12" fmla="*/ 8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4 h 27"/>
                <a:gd name="T20" fmla="*/ 0 w 26"/>
                <a:gd name="T21" fmla="*/ 14 h 27"/>
                <a:gd name="T22" fmla="*/ 2 w 26"/>
                <a:gd name="T23" fmla="*/ 7 h 27"/>
                <a:gd name="T24" fmla="*/ 4 w 26"/>
                <a:gd name="T25" fmla="*/ 3 h 27"/>
                <a:gd name="T26" fmla="*/ 8 w 26"/>
                <a:gd name="T27" fmla="*/ 1 h 27"/>
                <a:gd name="T28" fmla="*/ 13 w 26"/>
                <a:gd name="T29" fmla="*/ 0 h 27"/>
                <a:gd name="T30" fmla="*/ 19 w 26"/>
                <a:gd name="T31" fmla="*/ 1 h 27"/>
                <a:gd name="T32" fmla="*/ 23 w 26"/>
                <a:gd name="T33" fmla="*/ 3 h 27"/>
                <a:gd name="T34" fmla="*/ 24 w 26"/>
                <a:gd name="T35" fmla="*/ 7 h 27"/>
                <a:gd name="T36" fmla="*/ 26 w 26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4"/>
                  </a:moveTo>
                  <a:lnTo>
                    <a:pt x="26" y="14"/>
                  </a:lnTo>
                  <a:lnTo>
                    <a:pt x="24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7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4" y="7"/>
                  </a:lnTo>
                  <a:lnTo>
                    <a:pt x="26" y="14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</p:grpSp>
      <p:grpSp>
        <p:nvGrpSpPr>
          <p:cNvPr id="15" name="Group 607">
            <a:extLst>
              <a:ext uri="{FF2B5EF4-FFF2-40B4-BE49-F238E27FC236}">
                <a16:creationId xmlns:a16="http://schemas.microsoft.com/office/drawing/2014/main" id="{97BBE9E9-64F7-3933-FBBF-FBD54A387F26}"/>
              </a:ext>
            </a:extLst>
          </p:cNvPr>
          <p:cNvGrpSpPr>
            <a:grpSpLocks/>
          </p:cNvGrpSpPr>
          <p:nvPr/>
        </p:nvGrpSpPr>
        <p:grpSpPr bwMode="auto">
          <a:xfrm>
            <a:off x="1771652" y="3790951"/>
            <a:ext cx="5463117" cy="1962150"/>
            <a:chOff x="837" y="1791"/>
            <a:chExt cx="2581" cy="927"/>
          </a:xfrm>
        </p:grpSpPr>
        <p:sp>
          <p:nvSpPr>
            <p:cNvPr id="238" name="Freeform 407">
              <a:extLst>
                <a:ext uri="{FF2B5EF4-FFF2-40B4-BE49-F238E27FC236}">
                  <a16:creationId xmlns:a16="http://schemas.microsoft.com/office/drawing/2014/main" id="{BC24B1D6-B65E-A4AA-E542-B0DF2B946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1827"/>
              <a:ext cx="26" cy="27"/>
            </a:xfrm>
            <a:custGeom>
              <a:avLst/>
              <a:gdLst>
                <a:gd name="T0" fmla="*/ 26 w 26"/>
                <a:gd name="T1" fmla="*/ 14 h 27"/>
                <a:gd name="T2" fmla="*/ 26 w 26"/>
                <a:gd name="T3" fmla="*/ 14 h 27"/>
                <a:gd name="T4" fmla="*/ 24 w 26"/>
                <a:gd name="T5" fmla="*/ 20 h 27"/>
                <a:gd name="T6" fmla="*/ 23 w 26"/>
                <a:gd name="T7" fmla="*/ 24 h 27"/>
                <a:gd name="T8" fmla="*/ 19 w 26"/>
                <a:gd name="T9" fmla="*/ 26 h 27"/>
                <a:gd name="T10" fmla="*/ 13 w 26"/>
                <a:gd name="T11" fmla="*/ 27 h 27"/>
                <a:gd name="T12" fmla="*/ 8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4 h 27"/>
                <a:gd name="T20" fmla="*/ 0 w 26"/>
                <a:gd name="T21" fmla="*/ 14 h 27"/>
                <a:gd name="T22" fmla="*/ 2 w 26"/>
                <a:gd name="T23" fmla="*/ 7 h 27"/>
                <a:gd name="T24" fmla="*/ 4 w 26"/>
                <a:gd name="T25" fmla="*/ 3 h 27"/>
                <a:gd name="T26" fmla="*/ 8 w 26"/>
                <a:gd name="T27" fmla="*/ 1 h 27"/>
                <a:gd name="T28" fmla="*/ 13 w 26"/>
                <a:gd name="T29" fmla="*/ 0 h 27"/>
                <a:gd name="T30" fmla="*/ 19 w 26"/>
                <a:gd name="T31" fmla="*/ 1 h 27"/>
                <a:gd name="T32" fmla="*/ 23 w 26"/>
                <a:gd name="T33" fmla="*/ 3 h 27"/>
                <a:gd name="T34" fmla="*/ 24 w 26"/>
                <a:gd name="T35" fmla="*/ 7 h 27"/>
                <a:gd name="T36" fmla="*/ 26 w 26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4"/>
                  </a:moveTo>
                  <a:lnTo>
                    <a:pt x="26" y="14"/>
                  </a:lnTo>
                  <a:lnTo>
                    <a:pt x="24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7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4" y="7"/>
                  </a:lnTo>
                  <a:lnTo>
                    <a:pt x="26" y="14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39" name="Freeform 408">
              <a:extLst>
                <a:ext uri="{FF2B5EF4-FFF2-40B4-BE49-F238E27FC236}">
                  <a16:creationId xmlns:a16="http://schemas.microsoft.com/office/drawing/2014/main" id="{405F94EB-DC87-3ADD-A1CA-63C991F3C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81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0" name="Freeform 409">
              <a:extLst>
                <a:ext uri="{FF2B5EF4-FFF2-40B4-BE49-F238E27FC236}">
                  <a16:creationId xmlns:a16="http://schemas.microsoft.com/office/drawing/2014/main" id="{0BBC2083-C5EA-334F-2E8B-1F28FEC28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81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1" name="Freeform 410">
              <a:extLst>
                <a:ext uri="{FF2B5EF4-FFF2-40B4-BE49-F238E27FC236}">
                  <a16:creationId xmlns:a16="http://schemas.microsoft.com/office/drawing/2014/main" id="{68DBBBC7-D6DC-294A-5AD7-4D3B2B6EF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3" y="180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6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6 w 26"/>
                <a:gd name="T25" fmla="*/ 3 h 26"/>
                <a:gd name="T26" fmla="*/ 10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6" y="3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2" name="Freeform 411">
              <a:extLst>
                <a:ext uri="{FF2B5EF4-FFF2-40B4-BE49-F238E27FC236}">
                  <a16:creationId xmlns:a16="http://schemas.microsoft.com/office/drawing/2014/main" id="{4577007B-C4C0-7CBA-DEC2-04E069D84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3" y="180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6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6 w 26"/>
                <a:gd name="T25" fmla="*/ 3 h 26"/>
                <a:gd name="T26" fmla="*/ 10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6" y="3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3" name="Freeform 412">
              <a:extLst>
                <a:ext uri="{FF2B5EF4-FFF2-40B4-BE49-F238E27FC236}">
                  <a16:creationId xmlns:a16="http://schemas.microsoft.com/office/drawing/2014/main" id="{69D967C1-AEBE-C9EF-2E3F-4B78C9B44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7" y="179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3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6 w 26"/>
                <a:gd name="T15" fmla="*/ 23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6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3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6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6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4" name="Freeform 413">
              <a:extLst>
                <a:ext uri="{FF2B5EF4-FFF2-40B4-BE49-F238E27FC236}">
                  <a16:creationId xmlns:a16="http://schemas.microsoft.com/office/drawing/2014/main" id="{75A53DB6-8F52-9E96-484D-0FA732C28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7" y="179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3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6 w 26"/>
                <a:gd name="T15" fmla="*/ 23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6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3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6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6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5" name="Freeform 414">
              <a:extLst>
                <a:ext uri="{FF2B5EF4-FFF2-40B4-BE49-F238E27FC236}">
                  <a16:creationId xmlns:a16="http://schemas.microsoft.com/office/drawing/2014/main" id="{72AD5988-F1FE-379B-62AF-1EC45F3A1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592"/>
              <a:ext cx="2555" cy="113"/>
            </a:xfrm>
            <a:custGeom>
              <a:avLst/>
              <a:gdLst>
                <a:gd name="T0" fmla="*/ 0 w 2555"/>
                <a:gd name="T1" fmla="*/ 113 h 113"/>
                <a:gd name="T2" fmla="*/ 378 w 2555"/>
                <a:gd name="T3" fmla="*/ 113 h 113"/>
                <a:gd name="T4" fmla="*/ 471 w 2555"/>
                <a:gd name="T5" fmla="*/ 48 h 113"/>
                <a:gd name="T6" fmla="*/ 520 w 2555"/>
                <a:gd name="T7" fmla="*/ 50 h 113"/>
                <a:gd name="T8" fmla="*/ 566 w 2555"/>
                <a:gd name="T9" fmla="*/ 113 h 113"/>
                <a:gd name="T10" fmla="*/ 709 w 2555"/>
                <a:gd name="T11" fmla="*/ 113 h 113"/>
                <a:gd name="T12" fmla="*/ 804 w 2555"/>
                <a:gd name="T13" fmla="*/ 0 h 113"/>
                <a:gd name="T14" fmla="*/ 898 w 2555"/>
                <a:gd name="T15" fmla="*/ 113 h 113"/>
                <a:gd name="T16" fmla="*/ 993 w 2555"/>
                <a:gd name="T17" fmla="*/ 113 h 113"/>
                <a:gd name="T18" fmla="*/ 1088 w 2555"/>
                <a:gd name="T19" fmla="*/ 98 h 113"/>
                <a:gd name="T20" fmla="*/ 2555 w 2555"/>
                <a:gd name="T21" fmla="*/ 98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55" h="113">
                  <a:moveTo>
                    <a:pt x="0" y="113"/>
                  </a:moveTo>
                  <a:lnTo>
                    <a:pt x="378" y="113"/>
                  </a:lnTo>
                  <a:lnTo>
                    <a:pt x="471" y="48"/>
                  </a:lnTo>
                  <a:lnTo>
                    <a:pt x="520" y="50"/>
                  </a:lnTo>
                  <a:lnTo>
                    <a:pt x="566" y="113"/>
                  </a:lnTo>
                  <a:lnTo>
                    <a:pt x="709" y="113"/>
                  </a:lnTo>
                  <a:lnTo>
                    <a:pt x="804" y="0"/>
                  </a:lnTo>
                  <a:lnTo>
                    <a:pt x="898" y="113"/>
                  </a:lnTo>
                  <a:lnTo>
                    <a:pt x="993" y="113"/>
                  </a:lnTo>
                  <a:lnTo>
                    <a:pt x="1088" y="98"/>
                  </a:lnTo>
                  <a:lnTo>
                    <a:pt x="2555" y="98"/>
                  </a:lnTo>
                </a:path>
              </a:pathLst>
            </a:custGeom>
            <a:noFill/>
            <a:ln w="11113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6" name="Freeform 415">
              <a:extLst>
                <a:ext uri="{FF2B5EF4-FFF2-40B4-BE49-F238E27FC236}">
                  <a16:creationId xmlns:a16="http://schemas.microsoft.com/office/drawing/2014/main" id="{F554A23A-5C63-6415-11E3-97FB8CCA57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560"/>
              <a:ext cx="2555" cy="130"/>
            </a:xfrm>
            <a:custGeom>
              <a:avLst/>
              <a:gdLst>
                <a:gd name="T0" fmla="*/ 0 w 2555"/>
                <a:gd name="T1" fmla="*/ 130 h 130"/>
                <a:gd name="T2" fmla="*/ 709 w 2555"/>
                <a:gd name="T3" fmla="*/ 130 h 130"/>
                <a:gd name="T4" fmla="*/ 804 w 2555"/>
                <a:gd name="T5" fmla="*/ 7 h 130"/>
                <a:gd name="T6" fmla="*/ 911 w 2555"/>
                <a:gd name="T7" fmla="*/ 130 h 130"/>
                <a:gd name="T8" fmla="*/ 2122 w 2555"/>
                <a:gd name="T9" fmla="*/ 130 h 130"/>
                <a:gd name="T10" fmla="*/ 2225 w 2555"/>
                <a:gd name="T11" fmla="*/ 0 h 130"/>
                <a:gd name="T12" fmla="*/ 2319 w 2555"/>
                <a:gd name="T13" fmla="*/ 130 h 130"/>
                <a:gd name="T14" fmla="*/ 2555 w 2555"/>
                <a:gd name="T15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55" h="130">
                  <a:moveTo>
                    <a:pt x="0" y="130"/>
                  </a:moveTo>
                  <a:lnTo>
                    <a:pt x="709" y="130"/>
                  </a:lnTo>
                  <a:lnTo>
                    <a:pt x="804" y="7"/>
                  </a:lnTo>
                  <a:lnTo>
                    <a:pt x="911" y="130"/>
                  </a:lnTo>
                  <a:lnTo>
                    <a:pt x="2122" y="130"/>
                  </a:lnTo>
                  <a:lnTo>
                    <a:pt x="2225" y="0"/>
                  </a:lnTo>
                  <a:lnTo>
                    <a:pt x="2319" y="130"/>
                  </a:lnTo>
                  <a:lnTo>
                    <a:pt x="2555" y="13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7" name="Freeform 416">
              <a:extLst>
                <a:ext uri="{FF2B5EF4-FFF2-40B4-BE49-F238E27FC236}">
                  <a16:creationId xmlns:a16="http://schemas.microsoft.com/office/drawing/2014/main" id="{9DBCFF10-03F2-DCB3-EDA6-9CD5C0AE3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449"/>
              <a:ext cx="2082" cy="241"/>
            </a:xfrm>
            <a:custGeom>
              <a:avLst/>
              <a:gdLst>
                <a:gd name="T0" fmla="*/ 0 w 2082"/>
                <a:gd name="T1" fmla="*/ 241 h 241"/>
                <a:gd name="T2" fmla="*/ 189 w 2082"/>
                <a:gd name="T3" fmla="*/ 241 h 241"/>
                <a:gd name="T4" fmla="*/ 284 w 2082"/>
                <a:gd name="T5" fmla="*/ 76 h 241"/>
                <a:gd name="T6" fmla="*/ 330 w 2082"/>
                <a:gd name="T7" fmla="*/ 44 h 241"/>
                <a:gd name="T8" fmla="*/ 378 w 2082"/>
                <a:gd name="T9" fmla="*/ 81 h 241"/>
                <a:gd name="T10" fmla="*/ 425 w 2082"/>
                <a:gd name="T11" fmla="*/ 241 h 241"/>
                <a:gd name="T12" fmla="*/ 614 w 2082"/>
                <a:gd name="T13" fmla="*/ 241 h 241"/>
                <a:gd name="T14" fmla="*/ 709 w 2082"/>
                <a:gd name="T15" fmla="*/ 169 h 241"/>
                <a:gd name="T16" fmla="*/ 804 w 2082"/>
                <a:gd name="T17" fmla="*/ 144 h 241"/>
                <a:gd name="T18" fmla="*/ 898 w 2082"/>
                <a:gd name="T19" fmla="*/ 152 h 241"/>
                <a:gd name="T20" fmla="*/ 993 w 2082"/>
                <a:gd name="T21" fmla="*/ 113 h 241"/>
                <a:gd name="T22" fmla="*/ 1088 w 2082"/>
                <a:gd name="T23" fmla="*/ 85 h 241"/>
                <a:gd name="T24" fmla="*/ 1183 w 2082"/>
                <a:gd name="T25" fmla="*/ 91 h 241"/>
                <a:gd name="T26" fmla="*/ 1277 w 2082"/>
                <a:gd name="T27" fmla="*/ 241 h 241"/>
                <a:gd name="T28" fmla="*/ 1372 w 2082"/>
                <a:gd name="T29" fmla="*/ 113 h 241"/>
                <a:gd name="T30" fmla="*/ 1467 w 2082"/>
                <a:gd name="T31" fmla="*/ 105 h 241"/>
                <a:gd name="T32" fmla="*/ 1562 w 2082"/>
                <a:gd name="T33" fmla="*/ 0 h 241"/>
                <a:gd name="T34" fmla="*/ 1656 w 2082"/>
                <a:gd name="T35" fmla="*/ 83 h 241"/>
                <a:gd name="T36" fmla="*/ 1751 w 2082"/>
                <a:gd name="T37" fmla="*/ 104 h 241"/>
                <a:gd name="T38" fmla="*/ 1846 w 2082"/>
                <a:gd name="T39" fmla="*/ 74 h 241"/>
                <a:gd name="T40" fmla="*/ 1940 w 2082"/>
                <a:gd name="T41" fmla="*/ 76 h 241"/>
                <a:gd name="T42" fmla="*/ 2035 w 2082"/>
                <a:gd name="T43" fmla="*/ 59 h 241"/>
                <a:gd name="T44" fmla="*/ 2082 w 2082"/>
                <a:gd name="T45" fmla="*/ 4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82" h="241">
                  <a:moveTo>
                    <a:pt x="0" y="241"/>
                  </a:moveTo>
                  <a:lnTo>
                    <a:pt x="189" y="241"/>
                  </a:lnTo>
                  <a:lnTo>
                    <a:pt x="284" y="76"/>
                  </a:lnTo>
                  <a:lnTo>
                    <a:pt x="330" y="44"/>
                  </a:lnTo>
                  <a:lnTo>
                    <a:pt x="378" y="81"/>
                  </a:lnTo>
                  <a:lnTo>
                    <a:pt x="425" y="241"/>
                  </a:lnTo>
                  <a:lnTo>
                    <a:pt x="614" y="241"/>
                  </a:lnTo>
                  <a:lnTo>
                    <a:pt x="709" y="169"/>
                  </a:lnTo>
                  <a:lnTo>
                    <a:pt x="804" y="144"/>
                  </a:lnTo>
                  <a:lnTo>
                    <a:pt x="898" y="152"/>
                  </a:lnTo>
                  <a:lnTo>
                    <a:pt x="993" y="113"/>
                  </a:lnTo>
                  <a:lnTo>
                    <a:pt x="1088" y="85"/>
                  </a:lnTo>
                  <a:lnTo>
                    <a:pt x="1183" y="91"/>
                  </a:lnTo>
                  <a:lnTo>
                    <a:pt x="1277" y="241"/>
                  </a:lnTo>
                  <a:lnTo>
                    <a:pt x="1372" y="113"/>
                  </a:lnTo>
                  <a:lnTo>
                    <a:pt x="1467" y="105"/>
                  </a:lnTo>
                  <a:lnTo>
                    <a:pt x="1562" y="0"/>
                  </a:lnTo>
                  <a:lnTo>
                    <a:pt x="1656" y="83"/>
                  </a:lnTo>
                  <a:lnTo>
                    <a:pt x="1751" y="104"/>
                  </a:lnTo>
                  <a:lnTo>
                    <a:pt x="1846" y="74"/>
                  </a:lnTo>
                  <a:lnTo>
                    <a:pt x="1940" y="76"/>
                  </a:lnTo>
                  <a:lnTo>
                    <a:pt x="2035" y="59"/>
                  </a:lnTo>
                  <a:lnTo>
                    <a:pt x="2082" y="44"/>
                  </a:lnTo>
                </a:path>
              </a:pathLst>
            </a:custGeom>
            <a:noFill/>
            <a:ln w="11113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8" name="Freeform 417">
              <a:extLst>
                <a:ext uri="{FF2B5EF4-FFF2-40B4-BE49-F238E27FC236}">
                  <a16:creationId xmlns:a16="http://schemas.microsoft.com/office/drawing/2014/main" id="{DE08B77D-B562-4294-3EB5-0A58E91FAC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514"/>
              <a:ext cx="2522" cy="176"/>
            </a:xfrm>
            <a:custGeom>
              <a:avLst/>
              <a:gdLst>
                <a:gd name="T0" fmla="*/ 0 w 2522"/>
                <a:gd name="T1" fmla="*/ 176 h 176"/>
                <a:gd name="T2" fmla="*/ 811 w 2522"/>
                <a:gd name="T3" fmla="*/ 176 h 176"/>
                <a:gd name="T4" fmla="*/ 898 w 2522"/>
                <a:gd name="T5" fmla="*/ 53 h 176"/>
                <a:gd name="T6" fmla="*/ 993 w 2522"/>
                <a:gd name="T7" fmla="*/ 176 h 176"/>
                <a:gd name="T8" fmla="*/ 1277 w 2522"/>
                <a:gd name="T9" fmla="*/ 176 h 176"/>
                <a:gd name="T10" fmla="*/ 1372 w 2522"/>
                <a:gd name="T11" fmla="*/ 48 h 176"/>
                <a:gd name="T12" fmla="*/ 1467 w 2522"/>
                <a:gd name="T13" fmla="*/ 31 h 176"/>
                <a:gd name="T14" fmla="*/ 1562 w 2522"/>
                <a:gd name="T15" fmla="*/ 40 h 176"/>
                <a:gd name="T16" fmla="*/ 1656 w 2522"/>
                <a:gd name="T17" fmla="*/ 176 h 176"/>
                <a:gd name="T18" fmla="*/ 1751 w 2522"/>
                <a:gd name="T19" fmla="*/ 176 h 176"/>
                <a:gd name="T20" fmla="*/ 1846 w 2522"/>
                <a:gd name="T21" fmla="*/ 74 h 176"/>
                <a:gd name="T22" fmla="*/ 1940 w 2522"/>
                <a:gd name="T23" fmla="*/ 72 h 176"/>
                <a:gd name="T24" fmla="*/ 1987 w 2522"/>
                <a:gd name="T25" fmla="*/ 52 h 176"/>
                <a:gd name="T26" fmla="*/ 2035 w 2522"/>
                <a:gd name="T27" fmla="*/ 74 h 176"/>
                <a:gd name="T28" fmla="*/ 2130 w 2522"/>
                <a:gd name="T29" fmla="*/ 78 h 176"/>
                <a:gd name="T30" fmla="*/ 2225 w 2522"/>
                <a:gd name="T31" fmla="*/ 0 h 176"/>
                <a:gd name="T32" fmla="*/ 2319 w 2522"/>
                <a:gd name="T33" fmla="*/ 66 h 176"/>
                <a:gd name="T34" fmla="*/ 2414 w 2522"/>
                <a:gd name="T35" fmla="*/ 55 h 176"/>
                <a:gd name="T36" fmla="*/ 2522 w 2522"/>
                <a:gd name="T37" fmla="*/ 5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2" h="176">
                  <a:moveTo>
                    <a:pt x="0" y="176"/>
                  </a:moveTo>
                  <a:lnTo>
                    <a:pt x="811" y="176"/>
                  </a:lnTo>
                  <a:lnTo>
                    <a:pt x="898" y="53"/>
                  </a:lnTo>
                  <a:lnTo>
                    <a:pt x="993" y="176"/>
                  </a:lnTo>
                  <a:lnTo>
                    <a:pt x="1277" y="176"/>
                  </a:lnTo>
                  <a:lnTo>
                    <a:pt x="1372" y="48"/>
                  </a:lnTo>
                  <a:lnTo>
                    <a:pt x="1467" y="31"/>
                  </a:lnTo>
                  <a:lnTo>
                    <a:pt x="1562" y="40"/>
                  </a:lnTo>
                  <a:lnTo>
                    <a:pt x="1656" y="176"/>
                  </a:lnTo>
                  <a:lnTo>
                    <a:pt x="1751" y="176"/>
                  </a:lnTo>
                  <a:lnTo>
                    <a:pt x="1846" y="74"/>
                  </a:lnTo>
                  <a:lnTo>
                    <a:pt x="1940" y="72"/>
                  </a:lnTo>
                  <a:lnTo>
                    <a:pt x="1987" y="52"/>
                  </a:lnTo>
                  <a:lnTo>
                    <a:pt x="2035" y="74"/>
                  </a:lnTo>
                  <a:lnTo>
                    <a:pt x="2130" y="78"/>
                  </a:lnTo>
                  <a:lnTo>
                    <a:pt x="2225" y="0"/>
                  </a:lnTo>
                  <a:lnTo>
                    <a:pt x="2319" y="66"/>
                  </a:lnTo>
                  <a:lnTo>
                    <a:pt x="2414" y="55"/>
                  </a:lnTo>
                  <a:lnTo>
                    <a:pt x="2522" y="52"/>
                  </a:lnTo>
                </a:path>
              </a:pathLst>
            </a:custGeom>
            <a:noFill/>
            <a:ln w="11113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9" name="Freeform 418">
              <a:extLst>
                <a:ext uri="{FF2B5EF4-FFF2-40B4-BE49-F238E27FC236}">
                  <a16:creationId xmlns:a16="http://schemas.microsoft.com/office/drawing/2014/main" id="{DED52D8F-C37C-86AE-15DE-2F282CC08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410"/>
              <a:ext cx="2230" cy="280"/>
            </a:xfrm>
            <a:custGeom>
              <a:avLst/>
              <a:gdLst>
                <a:gd name="T0" fmla="*/ 0 w 2230"/>
                <a:gd name="T1" fmla="*/ 280 h 280"/>
                <a:gd name="T2" fmla="*/ 378 w 2230"/>
                <a:gd name="T3" fmla="*/ 280 h 280"/>
                <a:gd name="T4" fmla="*/ 471 w 2230"/>
                <a:gd name="T5" fmla="*/ 135 h 280"/>
                <a:gd name="T6" fmla="*/ 520 w 2230"/>
                <a:gd name="T7" fmla="*/ 115 h 280"/>
                <a:gd name="T8" fmla="*/ 566 w 2230"/>
                <a:gd name="T9" fmla="*/ 53 h 280"/>
                <a:gd name="T10" fmla="*/ 614 w 2230"/>
                <a:gd name="T11" fmla="*/ 280 h 280"/>
                <a:gd name="T12" fmla="*/ 709 w 2230"/>
                <a:gd name="T13" fmla="*/ 280 h 280"/>
                <a:gd name="T14" fmla="*/ 804 w 2230"/>
                <a:gd name="T15" fmla="*/ 52 h 280"/>
                <a:gd name="T16" fmla="*/ 898 w 2230"/>
                <a:gd name="T17" fmla="*/ 0 h 280"/>
                <a:gd name="T18" fmla="*/ 993 w 2230"/>
                <a:gd name="T19" fmla="*/ 89 h 280"/>
                <a:gd name="T20" fmla="*/ 1088 w 2230"/>
                <a:gd name="T21" fmla="*/ 102 h 280"/>
                <a:gd name="T22" fmla="*/ 1183 w 2230"/>
                <a:gd name="T23" fmla="*/ 280 h 280"/>
                <a:gd name="T24" fmla="*/ 1277 w 2230"/>
                <a:gd name="T25" fmla="*/ 74 h 280"/>
                <a:gd name="T26" fmla="*/ 1372 w 2230"/>
                <a:gd name="T27" fmla="*/ 46 h 280"/>
                <a:gd name="T28" fmla="*/ 1467 w 2230"/>
                <a:gd name="T29" fmla="*/ 35 h 280"/>
                <a:gd name="T30" fmla="*/ 1562 w 2230"/>
                <a:gd name="T31" fmla="*/ 35 h 280"/>
                <a:gd name="T32" fmla="*/ 1656 w 2230"/>
                <a:gd name="T33" fmla="*/ 89 h 280"/>
                <a:gd name="T34" fmla="*/ 1751 w 2230"/>
                <a:gd name="T35" fmla="*/ 135 h 280"/>
                <a:gd name="T36" fmla="*/ 1846 w 2230"/>
                <a:gd name="T37" fmla="*/ 100 h 280"/>
                <a:gd name="T38" fmla="*/ 1940 w 2230"/>
                <a:gd name="T39" fmla="*/ 107 h 280"/>
                <a:gd name="T40" fmla="*/ 1987 w 2230"/>
                <a:gd name="T41" fmla="*/ 109 h 280"/>
                <a:gd name="T42" fmla="*/ 2035 w 2230"/>
                <a:gd name="T43" fmla="*/ 85 h 280"/>
                <a:gd name="T44" fmla="*/ 2135 w 2230"/>
                <a:gd name="T45" fmla="*/ 81 h 280"/>
                <a:gd name="T46" fmla="*/ 2230 w 2230"/>
                <a:gd name="T47" fmla="*/ 74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30" h="280">
                  <a:moveTo>
                    <a:pt x="0" y="280"/>
                  </a:moveTo>
                  <a:lnTo>
                    <a:pt x="378" y="280"/>
                  </a:lnTo>
                  <a:lnTo>
                    <a:pt x="471" y="135"/>
                  </a:lnTo>
                  <a:lnTo>
                    <a:pt x="520" y="115"/>
                  </a:lnTo>
                  <a:lnTo>
                    <a:pt x="566" y="53"/>
                  </a:lnTo>
                  <a:lnTo>
                    <a:pt x="614" y="280"/>
                  </a:lnTo>
                  <a:lnTo>
                    <a:pt x="709" y="280"/>
                  </a:lnTo>
                  <a:lnTo>
                    <a:pt x="804" y="52"/>
                  </a:lnTo>
                  <a:lnTo>
                    <a:pt x="898" y="0"/>
                  </a:lnTo>
                  <a:lnTo>
                    <a:pt x="993" y="89"/>
                  </a:lnTo>
                  <a:lnTo>
                    <a:pt x="1088" y="102"/>
                  </a:lnTo>
                  <a:lnTo>
                    <a:pt x="1183" y="280"/>
                  </a:lnTo>
                  <a:lnTo>
                    <a:pt x="1277" y="74"/>
                  </a:lnTo>
                  <a:lnTo>
                    <a:pt x="1372" y="46"/>
                  </a:lnTo>
                  <a:lnTo>
                    <a:pt x="1467" y="35"/>
                  </a:lnTo>
                  <a:lnTo>
                    <a:pt x="1562" y="35"/>
                  </a:lnTo>
                  <a:lnTo>
                    <a:pt x="1656" y="89"/>
                  </a:lnTo>
                  <a:lnTo>
                    <a:pt x="1751" y="135"/>
                  </a:lnTo>
                  <a:lnTo>
                    <a:pt x="1846" y="100"/>
                  </a:lnTo>
                  <a:lnTo>
                    <a:pt x="1940" y="107"/>
                  </a:lnTo>
                  <a:lnTo>
                    <a:pt x="1987" y="109"/>
                  </a:lnTo>
                  <a:lnTo>
                    <a:pt x="2035" y="85"/>
                  </a:lnTo>
                  <a:lnTo>
                    <a:pt x="2135" y="81"/>
                  </a:lnTo>
                  <a:lnTo>
                    <a:pt x="2230" y="74"/>
                  </a:lnTo>
                </a:path>
              </a:pathLst>
            </a:custGeom>
            <a:noFill/>
            <a:ln w="11113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0" name="Freeform 419">
              <a:extLst>
                <a:ext uri="{FF2B5EF4-FFF2-40B4-BE49-F238E27FC236}">
                  <a16:creationId xmlns:a16="http://schemas.microsoft.com/office/drawing/2014/main" id="{8B84C3D0-53FA-A3A5-6C07-3599846BE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348"/>
              <a:ext cx="2035" cy="342"/>
            </a:xfrm>
            <a:custGeom>
              <a:avLst/>
              <a:gdLst>
                <a:gd name="T0" fmla="*/ 0 w 2035"/>
                <a:gd name="T1" fmla="*/ 342 h 342"/>
                <a:gd name="T2" fmla="*/ 471 w 2035"/>
                <a:gd name="T3" fmla="*/ 342 h 342"/>
                <a:gd name="T4" fmla="*/ 566 w 2035"/>
                <a:gd name="T5" fmla="*/ 78 h 342"/>
                <a:gd name="T6" fmla="*/ 614 w 2035"/>
                <a:gd name="T7" fmla="*/ 0 h 342"/>
                <a:gd name="T8" fmla="*/ 709 w 2035"/>
                <a:gd name="T9" fmla="*/ 236 h 342"/>
                <a:gd name="T10" fmla="*/ 796 w 2035"/>
                <a:gd name="T11" fmla="*/ 262 h 342"/>
                <a:gd name="T12" fmla="*/ 898 w 2035"/>
                <a:gd name="T13" fmla="*/ 342 h 342"/>
                <a:gd name="T14" fmla="*/ 986 w 2035"/>
                <a:gd name="T15" fmla="*/ 342 h 342"/>
                <a:gd name="T16" fmla="*/ 1088 w 2035"/>
                <a:gd name="T17" fmla="*/ 234 h 342"/>
                <a:gd name="T18" fmla="*/ 1183 w 2035"/>
                <a:gd name="T19" fmla="*/ 342 h 342"/>
                <a:gd name="T20" fmla="*/ 2035 w 2035"/>
                <a:gd name="T21" fmla="*/ 34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35" h="342">
                  <a:moveTo>
                    <a:pt x="0" y="342"/>
                  </a:moveTo>
                  <a:lnTo>
                    <a:pt x="471" y="342"/>
                  </a:lnTo>
                  <a:lnTo>
                    <a:pt x="566" y="78"/>
                  </a:lnTo>
                  <a:lnTo>
                    <a:pt x="614" y="0"/>
                  </a:lnTo>
                  <a:lnTo>
                    <a:pt x="709" y="236"/>
                  </a:lnTo>
                  <a:lnTo>
                    <a:pt x="796" y="262"/>
                  </a:lnTo>
                  <a:lnTo>
                    <a:pt x="898" y="342"/>
                  </a:lnTo>
                  <a:lnTo>
                    <a:pt x="986" y="342"/>
                  </a:lnTo>
                  <a:lnTo>
                    <a:pt x="1088" y="234"/>
                  </a:lnTo>
                  <a:lnTo>
                    <a:pt x="1183" y="342"/>
                  </a:lnTo>
                  <a:lnTo>
                    <a:pt x="2035" y="342"/>
                  </a:lnTo>
                </a:path>
              </a:pathLst>
            </a:custGeom>
            <a:noFill/>
            <a:ln w="11113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1" name="Freeform 420">
              <a:extLst>
                <a:ext uri="{FF2B5EF4-FFF2-40B4-BE49-F238E27FC236}">
                  <a16:creationId xmlns:a16="http://schemas.microsoft.com/office/drawing/2014/main" id="{EC5BBB8F-0773-10C2-C4D2-2F1A87CE5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2" name="Freeform 421">
              <a:extLst>
                <a:ext uri="{FF2B5EF4-FFF2-40B4-BE49-F238E27FC236}">
                  <a16:creationId xmlns:a16="http://schemas.microsoft.com/office/drawing/2014/main" id="{5E8FA420-24A9-4F54-8CDB-C1B497C865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3" name="Freeform 422">
              <a:extLst>
                <a:ext uri="{FF2B5EF4-FFF2-40B4-BE49-F238E27FC236}">
                  <a16:creationId xmlns:a16="http://schemas.microsoft.com/office/drawing/2014/main" id="{A97B6243-A396-15A4-0764-67E37BB31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4" name="Freeform 423">
              <a:extLst>
                <a:ext uri="{FF2B5EF4-FFF2-40B4-BE49-F238E27FC236}">
                  <a16:creationId xmlns:a16="http://schemas.microsoft.com/office/drawing/2014/main" id="{56D9B7A6-8192-4BC2-D395-9D9252D05D9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5" name="Freeform 424">
              <a:extLst>
                <a:ext uri="{FF2B5EF4-FFF2-40B4-BE49-F238E27FC236}">
                  <a16:creationId xmlns:a16="http://schemas.microsoft.com/office/drawing/2014/main" id="{BFF43714-DA64-03F4-DDB8-1DB469C92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92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6" name="Freeform 425">
              <a:extLst>
                <a:ext uri="{FF2B5EF4-FFF2-40B4-BE49-F238E27FC236}">
                  <a16:creationId xmlns:a16="http://schemas.microsoft.com/office/drawing/2014/main" id="{D0304A72-F7D1-241C-7292-8778634FD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92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7" name="Freeform 426">
              <a:extLst>
                <a:ext uri="{FF2B5EF4-FFF2-40B4-BE49-F238E27FC236}">
                  <a16:creationId xmlns:a16="http://schemas.microsoft.com/office/drawing/2014/main" id="{5E8EE80D-CEC1-3006-F570-D997409AB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692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8" name="Freeform 427">
              <a:extLst>
                <a:ext uri="{FF2B5EF4-FFF2-40B4-BE49-F238E27FC236}">
                  <a16:creationId xmlns:a16="http://schemas.microsoft.com/office/drawing/2014/main" id="{0DC0A63F-8BBE-41D1-651B-22CAD4943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692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9" name="Freeform 428">
              <a:extLst>
                <a:ext uri="{FF2B5EF4-FFF2-40B4-BE49-F238E27FC236}">
                  <a16:creationId xmlns:a16="http://schemas.microsoft.com/office/drawing/2014/main" id="{3A03C07E-A09A-82CB-AE48-B876568DA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692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8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8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0" name="Freeform 429">
              <a:extLst>
                <a:ext uri="{FF2B5EF4-FFF2-40B4-BE49-F238E27FC236}">
                  <a16:creationId xmlns:a16="http://schemas.microsoft.com/office/drawing/2014/main" id="{CB34D702-7232-18CC-183C-EB0588AA9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692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8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8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1" name="Freeform 430">
              <a:extLst>
                <a:ext uri="{FF2B5EF4-FFF2-40B4-BE49-F238E27FC236}">
                  <a16:creationId xmlns:a16="http://schemas.microsoft.com/office/drawing/2014/main" id="{DFB01B13-49CC-6AAF-ACE0-9AECBFD51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27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0 h 28"/>
                <a:gd name="T6" fmla="*/ 21 w 24"/>
                <a:gd name="T7" fmla="*/ 24 h 28"/>
                <a:gd name="T8" fmla="*/ 17 w 24"/>
                <a:gd name="T9" fmla="*/ 26 h 28"/>
                <a:gd name="T10" fmla="*/ 11 w 24"/>
                <a:gd name="T11" fmla="*/ 28 h 28"/>
                <a:gd name="T12" fmla="*/ 8 w 24"/>
                <a:gd name="T13" fmla="*/ 26 h 28"/>
                <a:gd name="T14" fmla="*/ 4 w 24"/>
                <a:gd name="T15" fmla="*/ 24 h 28"/>
                <a:gd name="T16" fmla="*/ 0 w 24"/>
                <a:gd name="T17" fmla="*/ 20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7 h 28"/>
                <a:gd name="T24" fmla="*/ 4 w 24"/>
                <a:gd name="T25" fmla="*/ 4 h 28"/>
                <a:gd name="T26" fmla="*/ 8 w 24"/>
                <a:gd name="T27" fmla="*/ 2 h 28"/>
                <a:gd name="T28" fmla="*/ 11 w 24"/>
                <a:gd name="T29" fmla="*/ 0 h 28"/>
                <a:gd name="T30" fmla="*/ 17 w 24"/>
                <a:gd name="T31" fmla="*/ 2 h 28"/>
                <a:gd name="T32" fmla="*/ 21 w 24"/>
                <a:gd name="T33" fmla="*/ 4 h 28"/>
                <a:gd name="T34" fmla="*/ 24 w 24"/>
                <a:gd name="T35" fmla="*/ 7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2" name="Freeform 431">
              <a:extLst>
                <a:ext uri="{FF2B5EF4-FFF2-40B4-BE49-F238E27FC236}">
                  <a16:creationId xmlns:a16="http://schemas.microsoft.com/office/drawing/2014/main" id="{B79C271C-4375-4D11-115D-FB5A8380C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27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0 h 28"/>
                <a:gd name="T6" fmla="*/ 21 w 24"/>
                <a:gd name="T7" fmla="*/ 24 h 28"/>
                <a:gd name="T8" fmla="*/ 17 w 24"/>
                <a:gd name="T9" fmla="*/ 26 h 28"/>
                <a:gd name="T10" fmla="*/ 11 w 24"/>
                <a:gd name="T11" fmla="*/ 28 h 28"/>
                <a:gd name="T12" fmla="*/ 8 w 24"/>
                <a:gd name="T13" fmla="*/ 26 h 28"/>
                <a:gd name="T14" fmla="*/ 4 w 24"/>
                <a:gd name="T15" fmla="*/ 24 h 28"/>
                <a:gd name="T16" fmla="*/ 0 w 24"/>
                <a:gd name="T17" fmla="*/ 20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7 h 28"/>
                <a:gd name="T24" fmla="*/ 4 w 24"/>
                <a:gd name="T25" fmla="*/ 4 h 28"/>
                <a:gd name="T26" fmla="*/ 8 w 24"/>
                <a:gd name="T27" fmla="*/ 2 h 28"/>
                <a:gd name="T28" fmla="*/ 11 w 24"/>
                <a:gd name="T29" fmla="*/ 0 h 28"/>
                <a:gd name="T30" fmla="*/ 17 w 24"/>
                <a:gd name="T31" fmla="*/ 2 h 28"/>
                <a:gd name="T32" fmla="*/ 21 w 24"/>
                <a:gd name="T33" fmla="*/ 4 h 28"/>
                <a:gd name="T34" fmla="*/ 24 w 24"/>
                <a:gd name="T35" fmla="*/ 7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3" name="Freeform 432">
              <a:extLst>
                <a:ext uri="{FF2B5EF4-FFF2-40B4-BE49-F238E27FC236}">
                  <a16:creationId xmlns:a16="http://schemas.microsoft.com/office/drawing/2014/main" id="{6271C16B-4AC0-6289-9B5B-7DF998811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26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4" name="Freeform 433">
              <a:extLst>
                <a:ext uri="{FF2B5EF4-FFF2-40B4-BE49-F238E27FC236}">
                  <a16:creationId xmlns:a16="http://schemas.microsoft.com/office/drawing/2014/main" id="{83D38C4A-F0AF-7E5E-A3A0-087BA94558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26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5" name="Freeform 434">
              <a:extLst>
                <a:ext uri="{FF2B5EF4-FFF2-40B4-BE49-F238E27FC236}">
                  <a16:creationId xmlns:a16="http://schemas.microsoft.com/office/drawing/2014/main" id="{FB3796CC-8B55-DA8F-DF88-20663E6F1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692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6" name="Freeform 435">
              <a:extLst>
                <a:ext uri="{FF2B5EF4-FFF2-40B4-BE49-F238E27FC236}">
                  <a16:creationId xmlns:a16="http://schemas.microsoft.com/office/drawing/2014/main" id="{5001D181-710F-A219-27B0-69CD99C42C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692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7" name="Freeform 436">
              <a:extLst>
                <a:ext uri="{FF2B5EF4-FFF2-40B4-BE49-F238E27FC236}">
                  <a16:creationId xmlns:a16="http://schemas.microsoft.com/office/drawing/2014/main" id="{589C6249-53C6-B6B0-AA4F-5186784DD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8" name="Freeform 437">
              <a:extLst>
                <a:ext uri="{FF2B5EF4-FFF2-40B4-BE49-F238E27FC236}">
                  <a16:creationId xmlns:a16="http://schemas.microsoft.com/office/drawing/2014/main" id="{76881391-2916-F03F-54D6-5160E4E4C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9" name="Freeform 438">
              <a:extLst>
                <a:ext uri="{FF2B5EF4-FFF2-40B4-BE49-F238E27FC236}">
                  <a16:creationId xmlns:a16="http://schemas.microsoft.com/office/drawing/2014/main" id="{1E086C7E-E2F1-7837-A8E9-929397B09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0" name="Freeform 439">
              <a:extLst>
                <a:ext uri="{FF2B5EF4-FFF2-40B4-BE49-F238E27FC236}">
                  <a16:creationId xmlns:a16="http://schemas.microsoft.com/office/drawing/2014/main" id="{180A8B82-C09E-D334-DC72-EA340A8D3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1" name="Freeform 440">
              <a:extLst>
                <a:ext uri="{FF2B5EF4-FFF2-40B4-BE49-F238E27FC236}">
                  <a16:creationId xmlns:a16="http://schemas.microsoft.com/office/drawing/2014/main" id="{F28D6410-4499-00F9-B703-97B88E0E7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57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2" name="Freeform 441">
              <a:extLst>
                <a:ext uri="{FF2B5EF4-FFF2-40B4-BE49-F238E27FC236}">
                  <a16:creationId xmlns:a16="http://schemas.microsoft.com/office/drawing/2014/main" id="{B8891185-EB7A-B701-ED8E-E70C81D92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57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3" name="Freeform 442">
              <a:extLst>
                <a:ext uri="{FF2B5EF4-FFF2-40B4-BE49-F238E27FC236}">
                  <a16:creationId xmlns:a16="http://schemas.microsoft.com/office/drawing/2014/main" id="{FE1946AC-A9F1-900D-C550-B213FF0F08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4" name="Freeform 443">
              <a:extLst>
                <a:ext uri="{FF2B5EF4-FFF2-40B4-BE49-F238E27FC236}">
                  <a16:creationId xmlns:a16="http://schemas.microsoft.com/office/drawing/2014/main" id="{68142B9D-A63A-C629-A0A1-456FDF6BC4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5" name="Freeform 444">
              <a:extLst>
                <a:ext uri="{FF2B5EF4-FFF2-40B4-BE49-F238E27FC236}">
                  <a16:creationId xmlns:a16="http://schemas.microsoft.com/office/drawing/2014/main" id="{87D437F3-61B0-0ED0-072B-0257937CA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6" name="Freeform 445">
              <a:extLst>
                <a:ext uri="{FF2B5EF4-FFF2-40B4-BE49-F238E27FC236}">
                  <a16:creationId xmlns:a16="http://schemas.microsoft.com/office/drawing/2014/main" id="{70680600-BA60-E74C-D70F-5FFB11EFE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7" name="Freeform 446">
              <a:extLst>
                <a:ext uri="{FF2B5EF4-FFF2-40B4-BE49-F238E27FC236}">
                  <a16:creationId xmlns:a16="http://schemas.microsoft.com/office/drawing/2014/main" id="{C14A719B-1EF9-BAD6-1081-63422BB3D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8" name="Freeform 447">
              <a:extLst>
                <a:ext uri="{FF2B5EF4-FFF2-40B4-BE49-F238E27FC236}">
                  <a16:creationId xmlns:a16="http://schemas.microsoft.com/office/drawing/2014/main" id="{851B982B-289F-8736-EC00-B517DB84E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9" name="Freeform 448">
              <a:extLst>
                <a:ext uri="{FF2B5EF4-FFF2-40B4-BE49-F238E27FC236}">
                  <a16:creationId xmlns:a16="http://schemas.microsoft.com/office/drawing/2014/main" id="{DCB755B8-EA63-23B1-73C9-A7633ADD87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0" name="Freeform 449">
              <a:extLst>
                <a:ext uri="{FF2B5EF4-FFF2-40B4-BE49-F238E27FC236}">
                  <a16:creationId xmlns:a16="http://schemas.microsoft.com/office/drawing/2014/main" id="{FDDA31DF-9E4A-B2F9-1ABB-93CEE4F55B7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1" name="Freeform 450">
              <a:extLst>
                <a:ext uri="{FF2B5EF4-FFF2-40B4-BE49-F238E27FC236}">
                  <a16:creationId xmlns:a16="http://schemas.microsoft.com/office/drawing/2014/main" id="{13002363-90AF-0ED3-EEEC-7CA47197A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2" name="Freeform 451">
              <a:extLst>
                <a:ext uri="{FF2B5EF4-FFF2-40B4-BE49-F238E27FC236}">
                  <a16:creationId xmlns:a16="http://schemas.microsoft.com/office/drawing/2014/main" id="{B9A01A1C-5996-E977-F162-CA870B7B43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3" name="Freeform 452">
              <a:extLst>
                <a:ext uri="{FF2B5EF4-FFF2-40B4-BE49-F238E27FC236}">
                  <a16:creationId xmlns:a16="http://schemas.microsoft.com/office/drawing/2014/main" id="{3EDD5630-A23F-3786-500F-6E174FC7D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4" name="Freeform 453">
              <a:extLst>
                <a:ext uri="{FF2B5EF4-FFF2-40B4-BE49-F238E27FC236}">
                  <a16:creationId xmlns:a16="http://schemas.microsoft.com/office/drawing/2014/main" id="{D24814AE-6023-76BE-B9EA-43A77D58FE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5" name="Freeform 454">
              <a:extLst>
                <a:ext uri="{FF2B5EF4-FFF2-40B4-BE49-F238E27FC236}">
                  <a16:creationId xmlns:a16="http://schemas.microsoft.com/office/drawing/2014/main" id="{D3A34DBB-7424-A26F-B76B-22E553CEA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6" name="Freeform 455">
              <a:extLst>
                <a:ext uri="{FF2B5EF4-FFF2-40B4-BE49-F238E27FC236}">
                  <a16:creationId xmlns:a16="http://schemas.microsoft.com/office/drawing/2014/main" id="{8EF44A57-DD6F-12E2-CA1F-17D1BC474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7" name="Freeform 456">
              <a:extLst>
                <a:ext uri="{FF2B5EF4-FFF2-40B4-BE49-F238E27FC236}">
                  <a16:creationId xmlns:a16="http://schemas.microsoft.com/office/drawing/2014/main" id="{7830DD07-E6FC-DC3B-5E0B-FCEB589179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8" name="Freeform 457">
              <a:extLst>
                <a:ext uri="{FF2B5EF4-FFF2-40B4-BE49-F238E27FC236}">
                  <a16:creationId xmlns:a16="http://schemas.microsoft.com/office/drawing/2014/main" id="{34C7B05A-7811-0D1A-7EC0-54E9FA6C34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9" name="Freeform 458">
              <a:extLst>
                <a:ext uri="{FF2B5EF4-FFF2-40B4-BE49-F238E27FC236}">
                  <a16:creationId xmlns:a16="http://schemas.microsoft.com/office/drawing/2014/main" id="{3B8C7744-7321-1264-6364-D46FADB7B2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0" name="Freeform 459">
              <a:extLst>
                <a:ext uri="{FF2B5EF4-FFF2-40B4-BE49-F238E27FC236}">
                  <a16:creationId xmlns:a16="http://schemas.microsoft.com/office/drawing/2014/main" id="{87129124-463F-0379-0CF8-DBB704339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1" name="Freeform 460">
              <a:extLst>
                <a:ext uri="{FF2B5EF4-FFF2-40B4-BE49-F238E27FC236}">
                  <a16:creationId xmlns:a16="http://schemas.microsoft.com/office/drawing/2014/main" id="{E38C1E6D-AC90-B290-755A-BC417782B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2" name="Freeform 461">
              <a:extLst>
                <a:ext uri="{FF2B5EF4-FFF2-40B4-BE49-F238E27FC236}">
                  <a16:creationId xmlns:a16="http://schemas.microsoft.com/office/drawing/2014/main" id="{612ACF8B-8D9A-28FD-07CE-4AC6707C7C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3" name="Freeform 462">
              <a:extLst>
                <a:ext uri="{FF2B5EF4-FFF2-40B4-BE49-F238E27FC236}">
                  <a16:creationId xmlns:a16="http://schemas.microsoft.com/office/drawing/2014/main" id="{7EF18563-BFE3-CBA4-6295-2BD0066EB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4" name="Freeform 463">
              <a:extLst>
                <a:ext uri="{FF2B5EF4-FFF2-40B4-BE49-F238E27FC236}">
                  <a16:creationId xmlns:a16="http://schemas.microsoft.com/office/drawing/2014/main" id="{F465A9AA-DF74-A50D-8BAA-9C079803E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5" name="Freeform 464">
              <a:extLst>
                <a:ext uri="{FF2B5EF4-FFF2-40B4-BE49-F238E27FC236}">
                  <a16:creationId xmlns:a16="http://schemas.microsoft.com/office/drawing/2014/main" id="{DD25CDEA-A2B1-9F51-9E15-00F5F66DE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6" name="Freeform 465">
              <a:extLst>
                <a:ext uri="{FF2B5EF4-FFF2-40B4-BE49-F238E27FC236}">
                  <a16:creationId xmlns:a16="http://schemas.microsoft.com/office/drawing/2014/main" id="{4497C3A8-F2CA-E1E7-0484-FAEEF0C7D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7" name="Freeform 466">
              <a:extLst>
                <a:ext uri="{FF2B5EF4-FFF2-40B4-BE49-F238E27FC236}">
                  <a16:creationId xmlns:a16="http://schemas.microsoft.com/office/drawing/2014/main" id="{573B8E44-8D33-98B2-DA58-7EBB466DE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8" name="Freeform 467">
              <a:extLst>
                <a:ext uri="{FF2B5EF4-FFF2-40B4-BE49-F238E27FC236}">
                  <a16:creationId xmlns:a16="http://schemas.microsoft.com/office/drawing/2014/main" id="{D7448504-4701-504B-EFE0-CD935E43B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9" name="Freeform 468">
              <a:extLst>
                <a:ext uri="{FF2B5EF4-FFF2-40B4-BE49-F238E27FC236}">
                  <a16:creationId xmlns:a16="http://schemas.microsoft.com/office/drawing/2014/main" id="{D89A185F-1402-48B9-2007-C2A7F614D7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0" name="Freeform 469">
              <a:extLst>
                <a:ext uri="{FF2B5EF4-FFF2-40B4-BE49-F238E27FC236}">
                  <a16:creationId xmlns:a16="http://schemas.microsoft.com/office/drawing/2014/main" id="{8054C98C-74A6-A2B0-AC03-5788A2982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1" name="Freeform 470">
              <a:extLst>
                <a:ext uri="{FF2B5EF4-FFF2-40B4-BE49-F238E27FC236}">
                  <a16:creationId xmlns:a16="http://schemas.microsoft.com/office/drawing/2014/main" id="{C3B22328-F192-A8C7-D84C-112B2FEC3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2" name="Freeform 471">
              <a:extLst>
                <a:ext uri="{FF2B5EF4-FFF2-40B4-BE49-F238E27FC236}">
                  <a16:creationId xmlns:a16="http://schemas.microsoft.com/office/drawing/2014/main" id="{2B74065A-F60A-AE05-27DD-5833B58F1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3" name="Freeform 472">
              <a:extLst>
                <a:ext uri="{FF2B5EF4-FFF2-40B4-BE49-F238E27FC236}">
                  <a16:creationId xmlns:a16="http://schemas.microsoft.com/office/drawing/2014/main" id="{813E26DD-2217-385B-8844-3C887182D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4" name="Freeform 473">
              <a:extLst>
                <a:ext uri="{FF2B5EF4-FFF2-40B4-BE49-F238E27FC236}">
                  <a16:creationId xmlns:a16="http://schemas.microsoft.com/office/drawing/2014/main" id="{DC8C88B6-9D6C-295D-B655-7B37E20A4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5" name="Freeform 474">
              <a:extLst>
                <a:ext uri="{FF2B5EF4-FFF2-40B4-BE49-F238E27FC236}">
                  <a16:creationId xmlns:a16="http://schemas.microsoft.com/office/drawing/2014/main" id="{4A658F75-620B-A73D-C3C6-1839E8A23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6" name="Freeform 475">
              <a:extLst>
                <a:ext uri="{FF2B5EF4-FFF2-40B4-BE49-F238E27FC236}">
                  <a16:creationId xmlns:a16="http://schemas.microsoft.com/office/drawing/2014/main" id="{1E6028F6-4547-DF04-1927-3CCA7D721B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7" name="Freeform 476">
              <a:extLst>
                <a:ext uri="{FF2B5EF4-FFF2-40B4-BE49-F238E27FC236}">
                  <a16:creationId xmlns:a16="http://schemas.microsoft.com/office/drawing/2014/main" id="{46A18D62-AE9B-7AA7-5210-60CB46E79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8" name="Freeform 477">
              <a:extLst>
                <a:ext uri="{FF2B5EF4-FFF2-40B4-BE49-F238E27FC236}">
                  <a16:creationId xmlns:a16="http://schemas.microsoft.com/office/drawing/2014/main" id="{F34E663B-CEF2-6F28-6EF3-A9CEE3FDE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9" name="Freeform 478">
              <a:extLst>
                <a:ext uri="{FF2B5EF4-FFF2-40B4-BE49-F238E27FC236}">
                  <a16:creationId xmlns:a16="http://schemas.microsoft.com/office/drawing/2014/main" id="{C5643E98-7311-8B62-33EA-5E52F4A24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0" name="Freeform 479">
              <a:extLst>
                <a:ext uri="{FF2B5EF4-FFF2-40B4-BE49-F238E27FC236}">
                  <a16:creationId xmlns:a16="http://schemas.microsoft.com/office/drawing/2014/main" id="{40550A1B-E8F3-D246-AC05-0CF7AAE61F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1" name="Freeform 480">
              <a:extLst>
                <a:ext uri="{FF2B5EF4-FFF2-40B4-BE49-F238E27FC236}">
                  <a16:creationId xmlns:a16="http://schemas.microsoft.com/office/drawing/2014/main" id="{B3EC98C7-F2AE-0EA6-069A-3CB320D15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2" name="Freeform 481">
              <a:extLst>
                <a:ext uri="{FF2B5EF4-FFF2-40B4-BE49-F238E27FC236}">
                  <a16:creationId xmlns:a16="http://schemas.microsoft.com/office/drawing/2014/main" id="{5468BC92-C9F3-821C-CDD5-20998F5DD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3" name="Freeform 482">
              <a:extLst>
                <a:ext uri="{FF2B5EF4-FFF2-40B4-BE49-F238E27FC236}">
                  <a16:creationId xmlns:a16="http://schemas.microsoft.com/office/drawing/2014/main" id="{6E9ACC6A-359E-CFE5-BED7-397F4CE5BA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4" name="Freeform 483">
              <a:extLst>
                <a:ext uri="{FF2B5EF4-FFF2-40B4-BE49-F238E27FC236}">
                  <a16:creationId xmlns:a16="http://schemas.microsoft.com/office/drawing/2014/main" id="{657C78F2-C8C1-0DBD-4149-6B9CEC8EB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5" name="Freeform 484">
              <a:extLst>
                <a:ext uri="{FF2B5EF4-FFF2-40B4-BE49-F238E27FC236}">
                  <a16:creationId xmlns:a16="http://schemas.microsoft.com/office/drawing/2014/main" id="{5D649274-AF32-2A3D-9D8B-CE729129C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6" name="Freeform 485">
              <a:extLst>
                <a:ext uri="{FF2B5EF4-FFF2-40B4-BE49-F238E27FC236}">
                  <a16:creationId xmlns:a16="http://schemas.microsoft.com/office/drawing/2014/main" id="{A162D779-F8B1-692D-7A71-8B3D0995DE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7" name="Freeform 486">
              <a:extLst>
                <a:ext uri="{FF2B5EF4-FFF2-40B4-BE49-F238E27FC236}">
                  <a16:creationId xmlns:a16="http://schemas.microsoft.com/office/drawing/2014/main" id="{2E0D4D2F-BD3D-F3B1-48A9-6FFCDDEED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8" name="Freeform 487">
              <a:extLst>
                <a:ext uri="{FF2B5EF4-FFF2-40B4-BE49-F238E27FC236}">
                  <a16:creationId xmlns:a16="http://schemas.microsoft.com/office/drawing/2014/main" id="{A6E395DA-0865-425E-F6B3-FB1BFA675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9" name="Freeform 488">
              <a:extLst>
                <a:ext uri="{FF2B5EF4-FFF2-40B4-BE49-F238E27FC236}">
                  <a16:creationId xmlns:a16="http://schemas.microsoft.com/office/drawing/2014/main" id="{25B25E87-49B9-F512-250C-5EBB2AD31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0" name="Freeform 489">
              <a:extLst>
                <a:ext uri="{FF2B5EF4-FFF2-40B4-BE49-F238E27FC236}">
                  <a16:creationId xmlns:a16="http://schemas.microsoft.com/office/drawing/2014/main" id="{A5CE9642-B743-E501-913B-1217F05BEF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1" name="Freeform 490">
              <a:extLst>
                <a:ext uri="{FF2B5EF4-FFF2-40B4-BE49-F238E27FC236}">
                  <a16:creationId xmlns:a16="http://schemas.microsoft.com/office/drawing/2014/main" id="{893D8249-2F65-8CD5-1BC5-7EBB2C6D8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2" name="Freeform 491">
              <a:extLst>
                <a:ext uri="{FF2B5EF4-FFF2-40B4-BE49-F238E27FC236}">
                  <a16:creationId xmlns:a16="http://schemas.microsoft.com/office/drawing/2014/main" id="{FD61F4E7-E775-4190-9F57-92CAF9AB8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3" name="Freeform 492">
              <a:extLst>
                <a:ext uri="{FF2B5EF4-FFF2-40B4-BE49-F238E27FC236}">
                  <a16:creationId xmlns:a16="http://schemas.microsoft.com/office/drawing/2014/main" id="{3990A8AC-F071-8CF9-C806-9C07257FC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677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2 h 26"/>
                <a:gd name="T8" fmla="*/ 17 w 25"/>
                <a:gd name="T9" fmla="*/ 24 h 26"/>
                <a:gd name="T10" fmla="*/ 13 w 25"/>
                <a:gd name="T11" fmla="*/ 26 h 26"/>
                <a:gd name="T12" fmla="*/ 8 w 25"/>
                <a:gd name="T13" fmla="*/ 24 h 26"/>
                <a:gd name="T14" fmla="*/ 4 w 25"/>
                <a:gd name="T15" fmla="*/ 22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2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2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5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4" name="Freeform 493">
              <a:extLst>
                <a:ext uri="{FF2B5EF4-FFF2-40B4-BE49-F238E27FC236}">
                  <a16:creationId xmlns:a16="http://schemas.microsoft.com/office/drawing/2014/main" id="{B9692752-F486-712D-49DF-BD516252B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677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2 h 26"/>
                <a:gd name="T8" fmla="*/ 17 w 25"/>
                <a:gd name="T9" fmla="*/ 24 h 26"/>
                <a:gd name="T10" fmla="*/ 13 w 25"/>
                <a:gd name="T11" fmla="*/ 26 h 26"/>
                <a:gd name="T12" fmla="*/ 8 w 25"/>
                <a:gd name="T13" fmla="*/ 24 h 26"/>
                <a:gd name="T14" fmla="*/ 4 w 25"/>
                <a:gd name="T15" fmla="*/ 22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2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2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5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5" name="Freeform 494">
              <a:extLst>
                <a:ext uri="{FF2B5EF4-FFF2-40B4-BE49-F238E27FC236}">
                  <a16:creationId xmlns:a16="http://schemas.microsoft.com/office/drawing/2014/main" id="{A95AFC84-4888-D3D5-CCB1-E2D7CF9C3D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6" name="Freeform 495">
              <a:extLst>
                <a:ext uri="{FF2B5EF4-FFF2-40B4-BE49-F238E27FC236}">
                  <a16:creationId xmlns:a16="http://schemas.microsoft.com/office/drawing/2014/main" id="{6300E6E6-B5B0-A2E3-9FB8-D1D914654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7" name="Freeform 496">
              <a:extLst>
                <a:ext uri="{FF2B5EF4-FFF2-40B4-BE49-F238E27FC236}">
                  <a16:creationId xmlns:a16="http://schemas.microsoft.com/office/drawing/2014/main" id="{52E3B6A4-76B6-2B07-0BBE-7F182BF9E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8" name="Freeform 497">
              <a:extLst>
                <a:ext uri="{FF2B5EF4-FFF2-40B4-BE49-F238E27FC236}">
                  <a16:creationId xmlns:a16="http://schemas.microsoft.com/office/drawing/2014/main" id="{23ACF079-D529-FA3A-2BF0-BB0DCFD90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9" name="Freeform 498">
              <a:extLst>
                <a:ext uri="{FF2B5EF4-FFF2-40B4-BE49-F238E27FC236}">
                  <a16:creationId xmlns:a16="http://schemas.microsoft.com/office/drawing/2014/main" id="{B33B0A4F-353F-E3FE-98FB-ED61267768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0" name="Freeform 499">
              <a:extLst>
                <a:ext uri="{FF2B5EF4-FFF2-40B4-BE49-F238E27FC236}">
                  <a16:creationId xmlns:a16="http://schemas.microsoft.com/office/drawing/2014/main" id="{DDABCD14-F3A7-D11F-ADA4-D4811844A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1" name="Freeform 500">
              <a:extLst>
                <a:ext uri="{FF2B5EF4-FFF2-40B4-BE49-F238E27FC236}">
                  <a16:creationId xmlns:a16="http://schemas.microsoft.com/office/drawing/2014/main" id="{0A8CC19C-0392-F0E7-2917-CBCF49538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2" name="Freeform 501">
              <a:extLst>
                <a:ext uri="{FF2B5EF4-FFF2-40B4-BE49-F238E27FC236}">
                  <a16:creationId xmlns:a16="http://schemas.microsoft.com/office/drawing/2014/main" id="{F599C608-00B5-1AA6-C77E-3E98BD1F7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3" name="Freeform 502">
              <a:extLst>
                <a:ext uri="{FF2B5EF4-FFF2-40B4-BE49-F238E27FC236}">
                  <a16:creationId xmlns:a16="http://schemas.microsoft.com/office/drawing/2014/main" id="{5CC5E460-EBFE-61A3-D525-DB469A45BD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55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4" name="Freeform 503">
              <a:extLst>
                <a:ext uri="{FF2B5EF4-FFF2-40B4-BE49-F238E27FC236}">
                  <a16:creationId xmlns:a16="http://schemas.microsoft.com/office/drawing/2014/main" id="{0A4F3180-74FF-14AF-4F27-E46B6D093A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55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5" name="Freeform 504">
              <a:extLst>
                <a:ext uri="{FF2B5EF4-FFF2-40B4-BE49-F238E27FC236}">
                  <a16:creationId xmlns:a16="http://schemas.microsoft.com/office/drawing/2014/main" id="{746039CE-2FD1-1943-9E05-16ACD8814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10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10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6" name="Freeform 505">
              <a:extLst>
                <a:ext uri="{FF2B5EF4-FFF2-40B4-BE49-F238E27FC236}">
                  <a16:creationId xmlns:a16="http://schemas.microsoft.com/office/drawing/2014/main" id="{94CA88C6-32F5-787D-5686-6674D7C563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10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10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7" name="Freeform 506">
              <a:extLst>
                <a:ext uri="{FF2B5EF4-FFF2-40B4-BE49-F238E27FC236}">
                  <a16:creationId xmlns:a16="http://schemas.microsoft.com/office/drawing/2014/main" id="{D2EE98DA-FD6A-A285-5080-3B767A1AB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8" name="Freeform 507">
              <a:extLst>
                <a:ext uri="{FF2B5EF4-FFF2-40B4-BE49-F238E27FC236}">
                  <a16:creationId xmlns:a16="http://schemas.microsoft.com/office/drawing/2014/main" id="{673BBB8A-6DAC-58CF-95D8-1D106D4CF2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9" name="Freeform 508">
              <a:extLst>
                <a:ext uri="{FF2B5EF4-FFF2-40B4-BE49-F238E27FC236}">
                  <a16:creationId xmlns:a16="http://schemas.microsoft.com/office/drawing/2014/main" id="{F6D03853-2FFC-3259-B069-B10C8B8ACD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0" name="Freeform 509">
              <a:extLst>
                <a:ext uri="{FF2B5EF4-FFF2-40B4-BE49-F238E27FC236}">
                  <a16:creationId xmlns:a16="http://schemas.microsoft.com/office/drawing/2014/main" id="{9D28F558-08C4-9A7D-B8DB-663DE1D61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1" name="Freeform 510">
              <a:extLst>
                <a:ext uri="{FF2B5EF4-FFF2-40B4-BE49-F238E27FC236}">
                  <a16:creationId xmlns:a16="http://schemas.microsoft.com/office/drawing/2014/main" id="{49DA493C-100C-DBEB-8AE9-A82070731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2" name="Freeform 511">
              <a:extLst>
                <a:ext uri="{FF2B5EF4-FFF2-40B4-BE49-F238E27FC236}">
                  <a16:creationId xmlns:a16="http://schemas.microsoft.com/office/drawing/2014/main" id="{827D7F50-4DF9-C1CF-D24B-018DFE5B72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3" name="Freeform 512">
              <a:extLst>
                <a:ext uri="{FF2B5EF4-FFF2-40B4-BE49-F238E27FC236}">
                  <a16:creationId xmlns:a16="http://schemas.microsoft.com/office/drawing/2014/main" id="{372B9FBD-4272-2D9A-CBCA-4181256E4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4" name="Freeform 513">
              <a:extLst>
                <a:ext uri="{FF2B5EF4-FFF2-40B4-BE49-F238E27FC236}">
                  <a16:creationId xmlns:a16="http://schemas.microsoft.com/office/drawing/2014/main" id="{82D301C6-C1A9-12B0-4252-1F093C6797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5" name="Freeform 514">
              <a:extLst>
                <a:ext uri="{FF2B5EF4-FFF2-40B4-BE49-F238E27FC236}">
                  <a16:creationId xmlns:a16="http://schemas.microsoft.com/office/drawing/2014/main" id="{D8A8AF61-685D-CDB4-39E4-9F5DB4C27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6" name="Freeform 515">
              <a:extLst>
                <a:ext uri="{FF2B5EF4-FFF2-40B4-BE49-F238E27FC236}">
                  <a16:creationId xmlns:a16="http://schemas.microsoft.com/office/drawing/2014/main" id="{84041351-4EA9-3697-4990-B08D097F77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7" name="Freeform 516">
              <a:extLst>
                <a:ext uri="{FF2B5EF4-FFF2-40B4-BE49-F238E27FC236}">
                  <a16:creationId xmlns:a16="http://schemas.microsoft.com/office/drawing/2014/main" id="{C203FBD3-289A-03E2-7979-F81E6BEFC9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8" name="Freeform 517">
              <a:extLst>
                <a:ext uri="{FF2B5EF4-FFF2-40B4-BE49-F238E27FC236}">
                  <a16:creationId xmlns:a16="http://schemas.microsoft.com/office/drawing/2014/main" id="{740126FE-5BAB-6CFA-465F-EFE0A9438F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9" name="Freeform 518">
              <a:extLst>
                <a:ext uri="{FF2B5EF4-FFF2-40B4-BE49-F238E27FC236}">
                  <a16:creationId xmlns:a16="http://schemas.microsoft.com/office/drawing/2014/main" id="{7960DA1A-49B9-4628-72EB-2D1BAF2EA5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0" name="Freeform 519">
              <a:extLst>
                <a:ext uri="{FF2B5EF4-FFF2-40B4-BE49-F238E27FC236}">
                  <a16:creationId xmlns:a16="http://schemas.microsoft.com/office/drawing/2014/main" id="{93295BE0-BA51-6A74-8942-2D9B7A5F8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1" name="Freeform 520">
              <a:extLst>
                <a:ext uri="{FF2B5EF4-FFF2-40B4-BE49-F238E27FC236}">
                  <a16:creationId xmlns:a16="http://schemas.microsoft.com/office/drawing/2014/main" id="{79A4B792-0A87-3857-347C-EA3B443C0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2" name="Freeform 521">
              <a:extLst>
                <a:ext uri="{FF2B5EF4-FFF2-40B4-BE49-F238E27FC236}">
                  <a16:creationId xmlns:a16="http://schemas.microsoft.com/office/drawing/2014/main" id="{2288FBF8-1467-C43F-934A-134A261F2F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3" name="Freeform 522">
              <a:extLst>
                <a:ext uri="{FF2B5EF4-FFF2-40B4-BE49-F238E27FC236}">
                  <a16:creationId xmlns:a16="http://schemas.microsoft.com/office/drawing/2014/main" id="{958B5062-912C-D9B8-0BEB-E3E1C6600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4" name="Freeform 523">
              <a:extLst>
                <a:ext uri="{FF2B5EF4-FFF2-40B4-BE49-F238E27FC236}">
                  <a16:creationId xmlns:a16="http://schemas.microsoft.com/office/drawing/2014/main" id="{6626C3E2-7C52-F741-649F-F6AF46D574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5" name="Freeform 524">
              <a:extLst>
                <a:ext uri="{FF2B5EF4-FFF2-40B4-BE49-F238E27FC236}">
                  <a16:creationId xmlns:a16="http://schemas.microsoft.com/office/drawing/2014/main" id="{B9BDC35C-2994-F402-4DAA-0AF2E224E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6" name="Freeform 525">
              <a:extLst>
                <a:ext uri="{FF2B5EF4-FFF2-40B4-BE49-F238E27FC236}">
                  <a16:creationId xmlns:a16="http://schemas.microsoft.com/office/drawing/2014/main" id="{1F43D3CF-99E3-BB11-D050-0287C3748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7" name="Freeform 526">
              <a:extLst>
                <a:ext uri="{FF2B5EF4-FFF2-40B4-BE49-F238E27FC236}">
                  <a16:creationId xmlns:a16="http://schemas.microsoft.com/office/drawing/2014/main" id="{7CAD12E1-9DB0-1431-C98E-73251436D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8" name="Freeform 527">
              <a:extLst>
                <a:ext uri="{FF2B5EF4-FFF2-40B4-BE49-F238E27FC236}">
                  <a16:creationId xmlns:a16="http://schemas.microsoft.com/office/drawing/2014/main" id="{3751D7BB-650B-9E97-7E7A-7D450543A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9" name="Freeform 528">
              <a:extLst>
                <a:ext uri="{FF2B5EF4-FFF2-40B4-BE49-F238E27FC236}">
                  <a16:creationId xmlns:a16="http://schemas.microsoft.com/office/drawing/2014/main" id="{CF8EC0C4-266D-80B6-BC8F-9BB8C2B539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5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5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5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5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0" name="Freeform 529">
              <a:extLst>
                <a:ext uri="{FF2B5EF4-FFF2-40B4-BE49-F238E27FC236}">
                  <a16:creationId xmlns:a16="http://schemas.microsoft.com/office/drawing/2014/main" id="{A5230387-A534-F248-FF40-EE3C3AB13E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5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5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5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5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1" name="Freeform 530">
              <a:extLst>
                <a:ext uri="{FF2B5EF4-FFF2-40B4-BE49-F238E27FC236}">
                  <a16:creationId xmlns:a16="http://schemas.microsoft.com/office/drawing/2014/main" id="{E2CC825E-A5B9-054F-3D90-3898F8936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2" name="Freeform 531">
              <a:extLst>
                <a:ext uri="{FF2B5EF4-FFF2-40B4-BE49-F238E27FC236}">
                  <a16:creationId xmlns:a16="http://schemas.microsoft.com/office/drawing/2014/main" id="{D7FDBDE7-31B3-C77E-A4AB-7AFDE16A7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3" name="Freeform 532">
              <a:extLst>
                <a:ext uri="{FF2B5EF4-FFF2-40B4-BE49-F238E27FC236}">
                  <a16:creationId xmlns:a16="http://schemas.microsoft.com/office/drawing/2014/main" id="{1E63C50E-E13A-CDB9-27D1-DB2C6FAAD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10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10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4" name="Freeform 533">
              <a:extLst>
                <a:ext uri="{FF2B5EF4-FFF2-40B4-BE49-F238E27FC236}">
                  <a16:creationId xmlns:a16="http://schemas.microsoft.com/office/drawing/2014/main" id="{0F8BEB18-AFD7-B67C-37C5-ACF88CC99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10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10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5" name="Freeform 534">
              <a:extLst>
                <a:ext uri="{FF2B5EF4-FFF2-40B4-BE49-F238E27FC236}">
                  <a16:creationId xmlns:a16="http://schemas.microsoft.com/office/drawing/2014/main" id="{6ED67E17-B672-9475-13D2-9401801C1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" y="254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6" name="Freeform 535">
              <a:extLst>
                <a:ext uri="{FF2B5EF4-FFF2-40B4-BE49-F238E27FC236}">
                  <a16:creationId xmlns:a16="http://schemas.microsoft.com/office/drawing/2014/main" id="{3FE42701-180B-5A1D-4394-8BBD2A3DEB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" y="254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7" name="Freeform 536">
              <a:extLst>
                <a:ext uri="{FF2B5EF4-FFF2-40B4-BE49-F238E27FC236}">
                  <a16:creationId xmlns:a16="http://schemas.microsoft.com/office/drawing/2014/main" id="{7AC5F415-08B5-7BBA-E838-F26BE5F28E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8" name="Freeform 537">
              <a:extLst>
                <a:ext uri="{FF2B5EF4-FFF2-40B4-BE49-F238E27FC236}">
                  <a16:creationId xmlns:a16="http://schemas.microsoft.com/office/drawing/2014/main" id="{9BF416AD-01DE-283D-AB08-A58D0ED84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9" name="Freeform 538">
              <a:extLst>
                <a:ext uri="{FF2B5EF4-FFF2-40B4-BE49-F238E27FC236}">
                  <a16:creationId xmlns:a16="http://schemas.microsoft.com/office/drawing/2014/main" id="{18B80CB8-6259-A538-0141-C7FB60930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0" name="Freeform 539">
              <a:extLst>
                <a:ext uri="{FF2B5EF4-FFF2-40B4-BE49-F238E27FC236}">
                  <a16:creationId xmlns:a16="http://schemas.microsoft.com/office/drawing/2014/main" id="{7FF8A9A2-9521-6501-E16F-CDB6619349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1" name="Freeform 540">
              <a:extLst>
                <a:ext uri="{FF2B5EF4-FFF2-40B4-BE49-F238E27FC236}">
                  <a16:creationId xmlns:a16="http://schemas.microsoft.com/office/drawing/2014/main" id="{001B8C7E-DF31-3D9F-BB1F-97A609516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2" name="Freeform 541">
              <a:extLst>
                <a:ext uri="{FF2B5EF4-FFF2-40B4-BE49-F238E27FC236}">
                  <a16:creationId xmlns:a16="http://schemas.microsoft.com/office/drawing/2014/main" id="{983FC3DB-50AD-475D-8905-81E3F8170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3" name="Freeform 542">
              <a:extLst>
                <a:ext uri="{FF2B5EF4-FFF2-40B4-BE49-F238E27FC236}">
                  <a16:creationId xmlns:a16="http://schemas.microsoft.com/office/drawing/2014/main" id="{97A30CA2-B11D-1717-301C-96ED248E6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4" name="Freeform 543">
              <a:extLst>
                <a:ext uri="{FF2B5EF4-FFF2-40B4-BE49-F238E27FC236}">
                  <a16:creationId xmlns:a16="http://schemas.microsoft.com/office/drawing/2014/main" id="{9F7676BE-8C35-653D-3212-668BD6C0B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5" name="Freeform 544">
              <a:extLst>
                <a:ext uri="{FF2B5EF4-FFF2-40B4-BE49-F238E27FC236}">
                  <a16:creationId xmlns:a16="http://schemas.microsoft.com/office/drawing/2014/main" id="{EBD4885B-CE6B-E8EE-CA72-893CE9488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6" name="Freeform 545">
              <a:extLst>
                <a:ext uri="{FF2B5EF4-FFF2-40B4-BE49-F238E27FC236}">
                  <a16:creationId xmlns:a16="http://schemas.microsoft.com/office/drawing/2014/main" id="{B92EAF68-CD08-7675-61FD-AB1B4653F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7" name="Freeform 546">
              <a:extLst>
                <a:ext uri="{FF2B5EF4-FFF2-40B4-BE49-F238E27FC236}">
                  <a16:creationId xmlns:a16="http://schemas.microsoft.com/office/drawing/2014/main" id="{FEDE3AE1-F855-8606-436A-F70F6BB4E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8" name="Freeform 547">
              <a:extLst>
                <a:ext uri="{FF2B5EF4-FFF2-40B4-BE49-F238E27FC236}">
                  <a16:creationId xmlns:a16="http://schemas.microsoft.com/office/drawing/2014/main" id="{1440D78F-FAA0-E29F-242A-3463CA999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9" name="Freeform 548">
              <a:extLst>
                <a:ext uri="{FF2B5EF4-FFF2-40B4-BE49-F238E27FC236}">
                  <a16:creationId xmlns:a16="http://schemas.microsoft.com/office/drawing/2014/main" id="{B4E04E37-DF4D-488E-10E1-FA0737A2C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0" name="Freeform 549">
              <a:extLst>
                <a:ext uri="{FF2B5EF4-FFF2-40B4-BE49-F238E27FC236}">
                  <a16:creationId xmlns:a16="http://schemas.microsoft.com/office/drawing/2014/main" id="{7E9DCC46-F8C3-C2BD-27BA-E1FFB0A69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1" name="Freeform 550">
              <a:extLst>
                <a:ext uri="{FF2B5EF4-FFF2-40B4-BE49-F238E27FC236}">
                  <a16:creationId xmlns:a16="http://schemas.microsoft.com/office/drawing/2014/main" id="{2BCCB7E5-9D38-AB24-7B79-035DC95D1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2" name="Freeform 551">
              <a:extLst>
                <a:ext uri="{FF2B5EF4-FFF2-40B4-BE49-F238E27FC236}">
                  <a16:creationId xmlns:a16="http://schemas.microsoft.com/office/drawing/2014/main" id="{A4D1A238-D548-4E6B-F599-654B93E0B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3" name="Freeform 552">
              <a:extLst>
                <a:ext uri="{FF2B5EF4-FFF2-40B4-BE49-F238E27FC236}">
                  <a16:creationId xmlns:a16="http://schemas.microsoft.com/office/drawing/2014/main" id="{398D197B-1A96-E0B2-BF60-18D85AE4C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512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0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0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7 h 28"/>
                <a:gd name="T24" fmla="*/ 3 w 24"/>
                <a:gd name="T25" fmla="*/ 3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3 h 28"/>
                <a:gd name="T34" fmla="*/ 24 w 24"/>
                <a:gd name="T35" fmla="*/ 7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4" name="Freeform 553">
              <a:extLst>
                <a:ext uri="{FF2B5EF4-FFF2-40B4-BE49-F238E27FC236}">
                  <a16:creationId xmlns:a16="http://schemas.microsoft.com/office/drawing/2014/main" id="{3131AF29-A873-A6B2-10E1-958F69E535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512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0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0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7 h 28"/>
                <a:gd name="T24" fmla="*/ 3 w 24"/>
                <a:gd name="T25" fmla="*/ 3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3 h 28"/>
                <a:gd name="T34" fmla="*/ 24 w 24"/>
                <a:gd name="T35" fmla="*/ 7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5" name="Freeform 554">
              <a:extLst>
                <a:ext uri="{FF2B5EF4-FFF2-40B4-BE49-F238E27FC236}">
                  <a16:creationId xmlns:a16="http://schemas.microsoft.com/office/drawing/2014/main" id="{8A088566-3013-7920-8B8E-2114692A5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248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6" name="Freeform 555">
              <a:extLst>
                <a:ext uri="{FF2B5EF4-FFF2-40B4-BE49-F238E27FC236}">
                  <a16:creationId xmlns:a16="http://schemas.microsoft.com/office/drawing/2014/main" id="{60E82CFA-0F71-713F-6698-EBE3EB61D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248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7" name="Freeform 556">
              <a:extLst>
                <a:ext uri="{FF2B5EF4-FFF2-40B4-BE49-F238E27FC236}">
                  <a16:creationId xmlns:a16="http://schemas.microsoft.com/office/drawing/2014/main" id="{3A7ACF6A-53AA-19A6-2568-E306E83C4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515"/>
              <a:ext cx="25" cy="28"/>
            </a:xfrm>
            <a:custGeom>
              <a:avLst/>
              <a:gdLst>
                <a:gd name="T0" fmla="*/ 25 w 25"/>
                <a:gd name="T1" fmla="*/ 15 h 28"/>
                <a:gd name="T2" fmla="*/ 25 w 25"/>
                <a:gd name="T3" fmla="*/ 15 h 28"/>
                <a:gd name="T4" fmla="*/ 25 w 25"/>
                <a:gd name="T5" fmla="*/ 21 h 28"/>
                <a:gd name="T6" fmla="*/ 21 w 25"/>
                <a:gd name="T7" fmla="*/ 25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5 h 28"/>
                <a:gd name="T16" fmla="*/ 0 w 25"/>
                <a:gd name="T17" fmla="*/ 21 h 28"/>
                <a:gd name="T18" fmla="*/ 0 w 25"/>
                <a:gd name="T19" fmla="*/ 15 h 28"/>
                <a:gd name="T20" fmla="*/ 0 w 25"/>
                <a:gd name="T21" fmla="*/ 15 h 28"/>
                <a:gd name="T22" fmla="*/ 0 w 25"/>
                <a:gd name="T23" fmla="*/ 8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8 h 28"/>
                <a:gd name="T36" fmla="*/ 25 w 25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5"/>
                  </a:moveTo>
                  <a:lnTo>
                    <a:pt x="25" y="15"/>
                  </a:lnTo>
                  <a:lnTo>
                    <a:pt x="25" y="21"/>
                  </a:lnTo>
                  <a:lnTo>
                    <a:pt x="21" y="25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5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8" name="Freeform 557">
              <a:extLst>
                <a:ext uri="{FF2B5EF4-FFF2-40B4-BE49-F238E27FC236}">
                  <a16:creationId xmlns:a16="http://schemas.microsoft.com/office/drawing/2014/main" id="{6FB707C0-8C25-D7DC-E824-48729141E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515"/>
              <a:ext cx="25" cy="28"/>
            </a:xfrm>
            <a:custGeom>
              <a:avLst/>
              <a:gdLst>
                <a:gd name="T0" fmla="*/ 25 w 25"/>
                <a:gd name="T1" fmla="*/ 15 h 28"/>
                <a:gd name="T2" fmla="*/ 25 w 25"/>
                <a:gd name="T3" fmla="*/ 15 h 28"/>
                <a:gd name="T4" fmla="*/ 25 w 25"/>
                <a:gd name="T5" fmla="*/ 21 h 28"/>
                <a:gd name="T6" fmla="*/ 21 w 25"/>
                <a:gd name="T7" fmla="*/ 25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5 h 28"/>
                <a:gd name="T16" fmla="*/ 0 w 25"/>
                <a:gd name="T17" fmla="*/ 21 h 28"/>
                <a:gd name="T18" fmla="*/ 0 w 25"/>
                <a:gd name="T19" fmla="*/ 15 h 28"/>
                <a:gd name="T20" fmla="*/ 0 w 25"/>
                <a:gd name="T21" fmla="*/ 15 h 28"/>
                <a:gd name="T22" fmla="*/ 0 w 25"/>
                <a:gd name="T23" fmla="*/ 8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8 h 28"/>
                <a:gd name="T36" fmla="*/ 25 w 25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5"/>
                  </a:moveTo>
                  <a:lnTo>
                    <a:pt x="25" y="15"/>
                  </a:lnTo>
                  <a:lnTo>
                    <a:pt x="25" y="21"/>
                  </a:lnTo>
                  <a:lnTo>
                    <a:pt x="21" y="25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5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9" name="Freeform 558">
              <a:extLst>
                <a:ext uri="{FF2B5EF4-FFF2-40B4-BE49-F238E27FC236}">
                  <a16:creationId xmlns:a16="http://schemas.microsoft.com/office/drawing/2014/main" id="{5FDA87BC-48BD-87EE-2A17-AFE661C08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0" name="Freeform 559">
              <a:extLst>
                <a:ext uri="{FF2B5EF4-FFF2-40B4-BE49-F238E27FC236}">
                  <a16:creationId xmlns:a16="http://schemas.microsoft.com/office/drawing/2014/main" id="{B74E8CA5-9B16-F660-6353-09BE354A61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1" name="Freeform 560">
              <a:extLst>
                <a:ext uri="{FF2B5EF4-FFF2-40B4-BE49-F238E27FC236}">
                  <a16:creationId xmlns:a16="http://schemas.microsoft.com/office/drawing/2014/main" id="{96B7A395-5C0B-85AD-328F-1ED461222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2" name="Freeform 561">
              <a:extLst>
                <a:ext uri="{FF2B5EF4-FFF2-40B4-BE49-F238E27FC236}">
                  <a16:creationId xmlns:a16="http://schemas.microsoft.com/office/drawing/2014/main" id="{D6EB3650-D0FB-51FA-2061-564A0A3FB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3" name="Freeform 562">
              <a:extLst>
                <a:ext uri="{FF2B5EF4-FFF2-40B4-BE49-F238E27FC236}">
                  <a16:creationId xmlns:a16="http://schemas.microsoft.com/office/drawing/2014/main" id="{7D1AA192-E16D-0915-D035-8C82AB615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4" name="Freeform 563">
              <a:extLst>
                <a:ext uri="{FF2B5EF4-FFF2-40B4-BE49-F238E27FC236}">
                  <a16:creationId xmlns:a16="http://schemas.microsoft.com/office/drawing/2014/main" id="{0D272311-2D84-06BA-483A-E0625043F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5" name="Freeform 564">
              <a:extLst>
                <a:ext uri="{FF2B5EF4-FFF2-40B4-BE49-F238E27FC236}">
                  <a16:creationId xmlns:a16="http://schemas.microsoft.com/office/drawing/2014/main" id="{23B1CFFC-7CA3-0B73-E1B7-CC7C9465C9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6" name="Freeform 565">
              <a:extLst>
                <a:ext uri="{FF2B5EF4-FFF2-40B4-BE49-F238E27FC236}">
                  <a16:creationId xmlns:a16="http://schemas.microsoft.com/office/drawing/2014/main" id="{D93D02EA-FAEB-CB15-1887-EB90F914E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7" name="Freeform 566">
              <a:extLst>
                <a:ext uri="{FF2B5EF4-FFF2-40B4-BE49-F238E27FC236}">
                  <a16:creationId xmlns:a16="http://schemas.microsoft.com/office/drawing/2014/main" id="{691AB19A-7777-5168-6719-F8B95FB3B9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8" name="Freeform 567">
              <a:extLst>
                <a:ext uri="{FF2B5EF4-FFF2-40B4-BE49-F238E27FC236}">
                  <a16:creationId xmlns:a16="http://schemas.microsoft.com/office/drawing/2014/main" id="{C728CB9D-21EA-5B38-2C7E-F32F42B96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9" name="Freeform 568">
              <a:extLst>
                <a:ext uri="{FF2B5EF4-FFF2-40B4-BE49-F238E27FC236}">
                  <a16:creationId xmlns:a16="http://schemas.microsoft.com/office/drawing/2014/main" id="{9A5B3591-7902-A2DF-6D32-CAF4DE0BB5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0" name="Freeform 569">
              <a:extLst>
                <a:ext uri="{FF2B5EF4-FFF2-40B4-BE49-F238E27FC236}">
                  <a16:creationId xmlns:a16="http://schemas.microsoft.com/office/drawing/2014/main" id="{5CBCC9B9-8E8D-DEB7-C112-65988CDB5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1" name="Freeform 570">
              <a:extLst>
                <a:ext uri="{FF2B5EF4-FFF2-40B4-BE49-F238E27FC236}">
                  <a16:creationId xmlns:a16="http://schemas.microsoft.com/office/drawing/2014/main" id="{3CEFC60B-D93A-EE4A-C4CA-AF7A7EDE6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60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2" name="Freeform 571">
              <a:extLst>
                <a:ext uri="{FF2B5EF4-FFF2-40B4-BE49-F238E27FC236}">
                  <a16:creationId xmlns:a16="http://schemas.microsoft.com/office/drawing/2014/main" id="{A7F85113-EEED-574B-9A10-B07F7F44E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60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3" name="Freeform 572">
              <a:extLst>
                <a:ext uri="{FF2B5EF4-FFF2-40B4-BE49-F238E27FC236}">
                  <a16:creationId xmlns:a16="http://schemas.microsoft.com/office/drawing/2014/main" id="{8A0ADEB1-261F-A0F7-883F-CD908B263F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580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5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5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4" name="Freeform 573">
              <a:extLst>
                <a:ext uri="{FF2B5EF4-FFF2-40B4-BE49-F238E27FC236}">
                  <a16:creationId xmlns:a16="http://schemas.microsoft.com/office/drawing/2014/main" id="{58309BC8-C25C-A11C-D46A-D80296879E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580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5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5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5" name="Freeform 574">
              <a:extLst>
                <a:ext uri="{FF2B5EF4-FFF2-40B4-BE49-F238E27FC236}">
                  <a16:creationId xmlns:a16="http://schemas.microsoft.com/office/drawing/2014/main" id="{05779E08-ACD7-52D1-7128-7A72C8A28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258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6" name="Freeform 575">
              <a:extLst>
                <a:ext uri="{FF2B5EF4-FFF2-40B4-BE49-F238E27FC236}">
                  <a16:creationId xmlns:a16="http://schemas.microsoft.com/office/drawing/2014/main" id="{47AEFA30-66EB-9F5F-43BA-8D6D72FBA4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258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7" name="Freeform 576">
              <a:extLst>
                <a:ext uri="{FF2B5EF4-FFF2-40B4-BE49-F238E27FC236}">
                  <a16:creationId xmlns:a16="http://schemas.microsoft.com/office/drawing/2014/main" id="{1755F5B6-C9A4-E075-FDD6-54BB467CB4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54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8" name="Freeform 577">
              <a:extLst>
                <a:ext uri="{FF2B5EF4-FFF2-40B4-BE49-F238E27FC236}">
                  <a16:creationId xmlns:a16="http://schemas.microsoft.com/office/drawing/2014/main" id="{EAD2C82E-2143-AD2C-ECB2-79306A0110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54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9" name="Freeform 578">
              <a:extLst>
                <a:ext uri="{FF2B5EF4-FFF2-40B4-BE49-F238E27FC236}">
                  <a16:creationId xmlns:a16="http://schemas.microsoft.com/office/drawing/2014/main" id="{24E7F949-3C59-6DB4-7230-4EFE3D9A6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519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7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2 w 26"/>
                <a:gd name="T23" fmla="*/ 8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7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0" name="Freeform 579">
              <a:extLst>
                <a:ext uri="{FF2B5EF4-FFF2-40B4-BE49-F238E27FC236}">
                  <a16:creationId xmlns:a16="http://schemas.microsoft.com/office/drawing/2014/main" id="{7C7EB48F-CC85-F160-0B72-76F32892F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519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7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2 w 26"/>
                <a:gd name="T23" fmla="*/ 8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7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1" name="Freeform 580">
              <a:extLst>
                <a:ext uri="{FF2B5EF4-FFF2-40B4-BE49-F238E27FC236}">
                  <a16:creationId xmlns:a16="http://schemas.microsoft.com/office/drawing/2014/main" id="{573F289D-B8CA-6FFF-9EEC-925B433FB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525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0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2 w 26"/>
                <a:gd name="T17" fmla="*/ 20 h 28"/>
                <a:gd name="T18" fmla="*/ 0 w 26"/>
                <a:gd name="T19" fmla="*/ 15 h 28"/>
                <a:gd name="T20" fmla="*/ 0 w 26"/>
                <a:gd name="T21" fmla="*/ 15 h 28"/>
                <a:gd name="T22" fmla="*/ 2 w 26"/>
                <a:gd name="T23" fmla="*/ 9 h 28"/>
                <a:gd name="T24" fmla="*/ 3 w 26"/>
                <a:gd name="T25" fmla="*/ 3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3 h 28"/>
                <a:gd name="T34" fmla="*/ 24 w 26"/>
                <a:gd name="T35" fmla="*/ 9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9"/>
                  </a:lnTo>
                  <a:lnTo>
                    <a:pt x="3" y="3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3"/>
                  </a:lnTo>
                  <a:lnTo>
                    <a:pt x="24" y="9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2" name="Freeform 581">
              <a:extLst>
                <a:ext uri="{FF2B5EF4-FFF2-40B4-BE49-F238E27FC236}">
                  <a16:creationId xmlns:a16="http://schemas.microsoft.com/office/drawing/2014/main" id="{E93438D8-6168-E697-EA61-49551210A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525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0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2 w 26"/>
                <a:gd name="T17" fmla="*/ 20 h 28"/>
                <a:gd name="T18" fmla="*/ 0 w 26"/>
                <a:gd name="T19" fmla="*/ 15 h 28"/>
                <a:gd name="T20" fmla="*/ 0 w 26"/>
                <a:gd name="T21" fmla="*/ 15 h 28"/>
                <a:gd name="T22" fmla="*/ 2 w 26"/>
                <a:gd name="T23" fmla="*/ 9 h 28"/>
                <a:gd name="T24" fmla="*/ 3 w 26"/>
                <a:gd name="T25" fmla="*/ 3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3 h 28"/>
                <a:gd name="T34" fmla="*/ 24 w 26"/>
                <a:gd name="T35" fmla="*/ 9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9"/>
                  </a:lnTo>
                  <a:lnTo>
                    <a:pt x="3" y="3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3"/>
                  </a:lnTo>
                  <a:lnTo>
                    <a:pt x="24" y="9"/>
                  </a:lnTo>
                  <a:lnTo>
                    <a:pt x="26" y="15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3" name="Freeform 582">
              <a:extLst>
                <a:ext uri="{FF2B5EF4-FFF2-40B4-BE49-F238E27FC236}">
                  <a16:creationId xmlns:a16="http://schemas.microsoft.com/office/drawing/2014/main" id="{BD830AA7-3BB7-0365-4E56-E8066799A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4" name="Freeform 583">
              <a:extLst>
                <a:ext uri="{FF2B5EF4-FFF2-40B4-BE49-F238E27FC236}">
                  <a16:creationId xmlns:a16="http://schemas.microsoft.com/office/drawing/2014/main" id="{BF9575B7-3841-6A0A-9067-5C3A1A648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5" name="Freeform 584">
              <a:extLst>
                <a:ext uri="{FF2B5EF4-FFF2-40B4-BE49-F238E27FC236}">
                  <a16:creationId xmlns:a16="http://schemas.microsoft.com/office/drawing/2014/main" id="{D3231E1C-94F6-E035-B254-F877814B0A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254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6" name="Freeform 585">
              <a:extLst>
                <a:ext uri="{FF2B5EF4-FFF2-40B4-BE49-F238E27FC236}">
                  <a16:creationId xmlns:a16="http://schemas.microsoft.com/office/drawing/2014/main" id="{A70F2C40-68A2-FD46-267D-BF0491964A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254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7" name="Freeform 586">
              <a:extLst>
                <a:ext uri="{FF2B5EF4-FFF2-40B4-BE49-F238E27FC236}">
                  <a16:creationId xmlns:a16="http://schemas.microsoft.com/office/drawing/2014/main" id="{96117301-2811-0EEF-97D8-75B93D66A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" y="2436"/>
              <a:ext cx="26" cy="27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4 w 26"/>
                <a:gd name="T5" fmla="*/ 20 h 27"/>
                <a:gd name="T6" fmla="*/ 22 w 26"/>
                <a:gd name="T7" fmla="*/ 24 h 27"/>
                <a:gd name="T8" fmla="*/ 16 w 26"/>
                <a:gd name="T9" fmla="*/ 26 h 27"/>
                <a:gd name="T10" fmla="*/ 13 w 26"/>
                <a:gd name="T11" fmla="*/ 27 h 27"/>
                <a:gd name="T12" fmla="*/ 7 w 26"/>
                <a:gd name="T13" fmla="*/ 26 h 27"/>
                <a:gd name="T14" fmla="*/ 3 w 26"/>
                <a:gd name="T15" fmla="*/ 24 h 27"/>
                <a:gd name="T16" fmla="*/ 1 w 26"/>
                <a:gd name="T17" fmla="*/ 20 h 27"/>
                <a:gd name="T18" fmla="*/ 0 w 26"/>
                <a:gd name="T19" fmla="*/ 13 h 27"/>
                <a:gd name="T20" fmla="*/ 0 w 26"/>
                <a:gd name="T21" fmla="*/ 13 h 27"/>
                <a:gd name="T22" fmla="*/ 1 w 26"/>
                <a:gd name="T23" fmla="*/ 7 h 27"/>
                <a:gd name="T24" fmla="*/ 3 w 26"/>
                <a:gd name="T25" fmla="*/ 3 h 27"/>
                <a:gd name="T26" fmla="*/ 7 w 26"/>
                <a:gd name="T27" fmla="*/ 1 h 27"/>
                <a:gd name="T28" fmla="*/ 13 w 26"/>
                <a:gd name="T29" fmla="*/ 0 h 27"/>
                <a:gd name="T30" fmla="*/ 16 w 26"/>
                <a:gd name="T31" fmla="*/ 1 h 27"/>
                <a:gd name="T32" fmla="*/ 22 w 26"/>
                <a:gd name="T33" fmla="*/ 3 h 27"/>
                <a:gd name="T34" fmla="*/ 24 w 26"/>
                <a:gd name="T35" fmla="*/ 7 h 27"/>
                <a:gd name="T36" fmla="*/ 26 w 26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7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6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8" name="Freeform 587">
              <a:extLst>
                <a:ext uri="{FF2B5EF4-FFF2-40B4-BE49-F238E27FC236}">
                  <a16:creationId xmlns:a16="http://schemas.microsoft.com/office/drawing/2014/main" id="{9526BE71-D1AA-EB45-35BF-9504C6A022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" y="2436"/>
              <a:ext cx="26" cy="27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4 w 26"/>
                <a:gd name="T5" fmla="*/ 20 h 27"/>
                <a:gd name="T6" fmla="*/ 22 w 26"/>
                <a:gd name="T7" fmla="*/ 24 h 27"/>
                <a:gd name="T8" fmla="*/ 16 w 26"/>
                <a:gd name="T9" fmla="*/ 26 h 27"/>
                <a:gd name="T10" fmla="*/ 13 w 26"/>
                <a:gd name="T11" fmla="*/ 27 h 27"/>
                <a:gd name="T12" fmla="*/ 7 w 26"/>
                <a:gd name="T13" fmla="*/ 26 h 27"/>
                <a:gd name="T14" fmla="*/ 3 w 26"/>
                <a:gd name="T15" fmla="*/ 24 h 27"/>
                <a:gd name="T16" fmla="*/ 1 w 26"/>
                <a:gd name="T17" fmla="*/ 20 h 27"/>
                <a:gd name="T18" fmla="*/ 0 w 26"/>
                <a:gd name="T19" fmla="*/ 13 h 27"/>
                <a:gd name="T20" fmla="*/ 0 w 26"/>
                <a:gd name="T21" fmla="*/ 13 h 27"/>
                <a:gd name="T22" fmla="*/ 1 w 26"/>
                <a:gd name="T23" fmla="*/ 7 h 27"/>
                <a:gd name="T24" fmla="*/ 3 w 26"/>
                <a:gd name="T25" fmla="*/ 3 h 27"/>
                <a:gd name="T26" fmla="*/ 7 w 26"/>
                <a:gd name="T27" fmla="*/ 1 h 27"/>
                <a:gd name="T28" fmla="*/ 13 w 26"/>
                <a:gd name="T29" fmla="*/ 0 h 27"/>
                <a:gd name="T30" fmla="*/ 16 w 26"/>
                <a:gd name="T31" fmla="*/ 1 h 27"/>
                <a:gd name="T32" fmla="*/ 22 w 26"/>
                <a:gd name="T33" fmla="*/ 3 h 27"/>
                <a:gd name="T34" fmla="*/ 24 w 26"/>
                <a:gd name="T35" fmla="*/ 7 h 27"/>
                <a:gd name="T36" fmla="*/ 26 w 26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7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6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9" name="Freeform 588">
              <a:extLst>
                <a:ext uri="{FF2B5EF4-FFF2-40B4-BE49-F238E27FC236}">
                  <a16:creationId xmlns:a16="http://schemas.microsoft.com/office/drawing/2014/main" id="{2D0883CB-B4F3-1D7F-9EB8-2005DFA53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540"/>
              <a:ext cx="26" cy="27"/>
            </a:xfrm>
            <a:custGeom>
              <a:avLst/>
              <a:gdLst>
                <a:gd name="T0" fmla="*/ 26 w 26"/>
                <a:gd name="T1" fmla="*/ 14 h 27"/>
                <a:gd name="T2" fmla="*/ 26 w 26"/>
                <a:gd name="T3" fmla="*/ 14 h 27"/>
                <a:gd name="T4" fmla="*/ 24 w 26"/>
                <a:gd name="T5" fmla="*/ 20 h 27"/>
                <a:gd name="T6" fmla="*/ 22 w 26"/>
                <a:gd name="T7" fmla="*/ 24 h 27"/>
                <a:gd name="T8" fmla="*/ 17 w 26"/>
                <a:gd name="T9" fmla="*/ 26 h 27"/>
                <a:gd name="T10" fmla="*/ 13 w 26"/>
                <a:gd name="T11" fmla="*/ 27 h 27"/>
                <a:gd name="T12" fmla="*/ 7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4 h 27"/>
                <a:gd name="T20" fmla="*/ 0 w 26"/>
                <a:gd name="T21" fmla="*/ 14 h 27"/>
                <a:gd name="T22" fmla="*/ 2 w 26"/>
                <a:gd name="T23" fmla="*/ 7 h 27"/>
                <a:gd name="T24" fmla="*/ 4 w 26"/>
                <a:gd name="T25" fmla="*/ 3 h 27"/>
                <a:gd name="T26" fmla="*/ 7 w 26"/>
                <a:gd name="T27" fmla="*/ 1 h 27"/>
                <a:gd name="T28" fmla="*/ 13 w 26"/>
                <a:gd name="T29" fmla="*/ 0 h 27"/>
                <a:gd name="T30" fmla="*/ 17 w 26"/>
                <a:gd name="T31" fmla="*/ 1 h 27"/>
                <a:gd name="T32" fmla="*/ 22 w 26"/>
                <a:gd name="T33" fmla="*/ 3 h 27"/>
                <a:gd name="T34" fmla="*/ 24 w 26"/>
                <a:gd name="T35" fmla="*/ 7 h 27"/>
                <a:gd name="T36" fmla="*/ 26 w 26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4"/>
                  </a:moveTo>
                  <a:lnTo>
                    <a:pt x="26" y="14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7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4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0" name="Freeform 589">
              <a:extLst>
                <a:ext uri="{FF2B5EF4-FFF2-40B4-BE49-F238E27FC236}">
                  <a16:creationId xmlns:a16="http://schemas.microsoft.com/office/drawing/2014/main" id="{C579A210-C595-B049-4579-B9A391EA4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540"/>
              <a:ext cx="26" cy="27"/>
            </a:xfrm>
            <a:custGeom>
              <a:avLst/>
              <a:gdLst>
                <a:gd name="T0" fmla="*/ 26 w 26"/>
                <a:gd name="T1" fmla="*/ 14 h 27"/>
                <a:gd name="T2" fmla="*/ 26 w 26"/>
                <a:gd name="T3" fmla="*/ 14 h 27"/>
                <a:gd name="T4" fmla="*/ 24 w 26"/>
                <a:gd name="T5" fmla="*/ 20 h 27"/>
                <a:gd name="T6" fmla="*/ 22 w 26"/>
                <a:gd name="T7" fmla="*/ 24 h 27"/>
                <a:gd name="T8" fmla="*/ 17 w 26"/>
                <a:gd name="T9" fmla="*/ 26 h 27"/>
                <a:gd name="T10" fmla="*/ 13 w 26"/>
                <a:gd name="T11" fmla="*/ 27 h 27"/>
                <a:gd name="T12" fmla="*/ 7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4 h 27"/>
                <a:gd name="T20" fmla="*/ 0 w 26"/>
                <a:gd name="T21" fmla="*/ 14 h 27"/>
                <a:gd name="T22" fmla="*/ 2 w 26"/>
                <a:gd name="T23" fmla="*/ 7 h 27"/>
                <a:gd name="T24" fmla="*/ 4 w 26"/>
                <a:gd name="T25" fmla="*/ 3 h 27"/>
                <a:gd name="T26" fmla="*/ 7 w 26"/>
                <a:gd name="T27" fmla="*/ 1 h 27"/>
                <a:gd name="T28" fmla="*/ 13 w 26"/>
                <a:gd name="T29" fmla="*/ 0 h 27"/>
                <a:gd name="T30" fmla="*/ 17 w 26"/>
                <a:gd name="T31" fmla="*/ 1 h 27"/>
                <a:gd name="T32" fmla="*/ 22 w 26"/>
                <a:gd name="T33" fmla="*/ 3 h 27"/>
                <a:gd name="T34" fmla="*/ 24 w 26"/>
                <a:gd name="T35" fmla="*/ 7 h 27"/>
                <a:gd name="T36" fmla="*/ 26 w 26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4"/>
                  </a:moveTo>
                  <a:lnTo>
                    <a:pt x="26" y="14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7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4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1" name="Freeform 590">
              <a:extLst>
                <a:ext uri="{FF2B5EF4-FFF2-40B4-BE49-F238E27FC236}">
                  <a16:creationId xmlns:a16="http://schemas.microsoft.com/office/drawing/2014/main" id="{CD9628D3-98ED-0C92-5D7C-13E37933E7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251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2" name="Freeform 591">
              <a:extLst>
                <a:ext uri="{FF2B5EF4-FFF2-40B4-BE49-F238E27FC236}">
                  <a16:creationId xmlns:a16="http://schemas.microsoft.com/office/drawing/2014/main" id="{AF665182-177C-4024-B22A-3E1FE63A7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251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3" name="Freeform 592">
              <a:extLst>
                <a:ext uri="{FF2B5EF4-FFF2-40B4-BE49-F238E27FC236}">
                  <a16:creationId xmlns:a16="http://schemas.microsoft.com/office/drawing/2014/main" id="{2FF553F4-1C3F-569F-A74C-3D92C0304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54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4" name="Freeform 593">
              <a:extLst>
                <a:ext uri="{FF2B5EF4-FFF2-40B4-BE49-F238E27FC236}">
                  <a16:creationId xmlns:a16="http://schemas.microsoft.com/office/drawing/2014/main" id="{0134ACF6-FD18-E71F-98C2-D396BF8CE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54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5" name="Freeform 594">
              <a:extLst>
                <a:ext uri="{FF2B5EF4-FFF2-40B4-BE49-F238E27FC236}">
                  <a16:creationId xmlns:a16="http://schemas.microsoft.com/office/drawing/2014/main" id="{7E6698AE-7225-EE86-6906-28976DB045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51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6" name="Freeform 595">
              <a:extLst>
                <a:ext uri="{FF2B5EF4-FFF2-40B4-BE49-F238E27FC236}">
                  <a16:creationId xmlns:a16="http://schemas.microsoft.com/office/drawing/2014/main" id="{24A8C918-9CFA-215F-395E-26AD3C465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51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7" name="Freeform 596">
              <a:extLst>
                <a:ext uri="{FF2B5EF4-FFF2-40B4-BE49-F238E27FC236}">
                  <a16:creationId xmlns:a16="http://schemas.microsoft.com/office/drawing/2014/main" id="{ECB165DE-742D-1F0B-3EF9-ED7C2AE6B3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251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3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3 w 26"/>
                <a:gd name="T33" fmla="*/ 3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3" y="3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8" name="Freeform 597">
              <a:extLst>
                <a:ext uri="{FF2B5EF4-FFF2-40B4-BE49-F238E27FC236}">
                  <a16:creationId xmlns:a16="http://schemas.microsoft.com/office/drawing/2014/main" id="{DA2C47C7-BCF0-9389-B887-924E1F39D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251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3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3 w 26"/>
                <a:gd name="T33" fmla="*/ 3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3" y="3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9" name="Freeform 598">
              <a:extLst>
                <a:ext uri="{FF2B5EF4-FFF2-40B4-BE49-F238E27FC236}">
                  <a16:creationId xmlns:a16="http://schemas.microsoft.com/office/drawing/2014/main" id="{2385BF29-A235-8E21-7E36-BF022819FF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49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0" name="Freeform 599">
              <a:extLst>
                <a:ext uri="{FF2B5EF4-FFF2-40B4-BE49-F238E27FC236}">
                  <a16:creationId xmlns:a16="http://schemas.microsoft.com/office/drawing/2014/main" id="{7935D142-D11E-9257-D9C0-6D4F9DFD2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49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1" name="Freeform 600">
              <a:extLst>
                <a:ext uri="{FF2B5EF4-FFF2-40B4-BE49-F238E27FC236}">
                  <a16:creationId xmlns:a16="http://schemas.microsoft.com/office/drawing/2014/main" id="{4F3B9C47-1134-CA7A-E568-88F17329F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9" y="248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5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5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5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5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2" name="Freeform 601">
              <a:extLst>
                <a:ext uri="{FF2B5EF4-FFF2-40B4-BE49-F238E27FC236}">
                  <a16:creationId xmlns:a16="http://schemas.microsoft.com/office/drawing/2014/main" id="{0880E878-8F53-FC35-54CE-A1CF6BC7EA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9" y="248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5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5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5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5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3" name="Freeform 602">
              <a:extLst>
                <a:ext uri="{FF2B5EF4-FFF2-40B4-BE49-F238E27FC236}">
                  <a16:creationId xmlns:a16="http://schemas.microsoft.com/office/drawing/2014/main" id="{5655ADED-192B-9990-DFD8-5C453F1AF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4" name="Freeform 603">
              <a:extLst>
                <a:ext uri="{FF2B5EF4-FFF2-40B4-BE49-F238E27FC236}">
                  <a16:creationId xmlns:a16="http://schemas.microsoft.com/office/drawing/2014/main" id="{0E5DDC4B-20EB-26D4-A7F9-C43B17781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5" name="Freeform 604">
              <a:extLst>
                <a:ext uri="{FF2B5EF4-FFF2-40B4-BE49-F238E27FC236}">
                  <a16:creationId xmlns:a16="http://schemas.microsoft.com/office/drawing/2014/main" id="{22B4F53F-9AF3-556E-A23E-1C955D8B001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6" name="Freeform 605">
              <a:extLst>
                <a:ext uri="{FF2B5EF4-FFF2-40B4-BE49-F238E27FC236}">
                  <a16:creationId xmlns:a16="http://schemas.microsoft.com/office/drawing/2014/main" id="{05EA4FF5-55AB-58D1-7F10-7E59BBD8D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7" name="Freeform 606">
              <a:extLst>
                <a:ext uri="{FF2B5EF4-FFF2-40B4-BE49-F238E27FC236}">
                  <a16:creationId xmlns:a16="http://schemas.microsoft.com/office/drawing/2014/main" id="{4B32E36B-421D-8342-F8CF-A47D2F0CA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</p:grpSp>
      <p:sp>
        <p:nvSpPr>
          <p:cNvPr id="16" name="Freeform 608">
            <a:extLst>
              <a:ext uri="{FF2B5EF4-FFF2-40B4-BE49-F238E27FC236}">
                <a16:creationId xmlns:a16="http://schemas.microsoft.com/office/drawing/2014/main" id="{CFA2A3EF-DC7D-49A7-6161-07BD91AE7AB3}"/>
              </a:ext>
            </a:extLst>
          </p:cNvPr>
          <p:cNvSpPr>
            <a:spLocks/>
          </p:cNvSpPr>
          <p:nvPr/>
        </p:nvSpPr>
        <p:spPr bwMode="auto">
          <a:xfrm>
            <a:off x="2171702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" name="Freeform 609">
            <a:extLst>
              <a:ext uri="{FF2B5EF4-FFF2-40B4-BE49-F238E27FC236}">
                <a16:creationId xmlns:a16="http://schemas.microsoft.com/office/drawing/2014/main" id="{FC7B73E8-0D94-039E-35C5-DD7E5C308461}"/>
              </a:ext>
            </a:extLst>
          </p:cNvPr>
          <p:cNvSpPr>
            <a:spLocks/>
          </p:cNvSpPr>
          <p:nvPr/>
        </p:nvSpPr>
        <p:spPr bwMode="auto">
          <a:xfrm>
            <a:off x="237278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6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3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3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6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" name="Freeform 610">
            <a:extLst>
              <a:ext uri="{FF2B5EF4-FFF2-40B4-BE49-F238E27FC236}">
                <a16:creationId xmlns:a16="http://schemas.microsoft.com/office/drawing/2014/main" id="{AB25814F-CB8F-CA58-B81B-2E74811E272A}"/>
              </a:ext>
            </a:extLst>
          </p:cNvPr>
          <p:cNvSpPr>
            <a:spLocks/>
          </p:cNvSpPr>
          <p:nvPr/>
        </p:nvSpPr>
        <p:spPr bwMode="auto">
          <a:xfrm>
            <a:off x="237278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6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3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3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6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0" name="Freeform 611">
            <a:extLst>
              <a:ext uri="{FF2B5EF4-FFF2-40B4-BE49-F238E27FC236}">
                <a16:creationId xmlns:a16="http://schemas.microsoft.com/office/drawing/2014/main" id="{B6D8ACCB-DC19-3527-DA03-9D52BC7011D8}"/>
              </a:ext>
            </a:extLst>
          </p:cNvPr>
          <p:cNvSpPr>
            <a:spLocks/>
          </p:cNvSpPr>
          <p:nvPr/>
        </p:nvSpPr>
        <p:spPr bwMode="auto">
          <a:xfrm>
            <a:off x="2571752" y="5666317"/>
            <a:ext cx="52917" cy="55033"/>
          </a:xfrm>
          <a:custGeom>
            <a:avLst/>
            <a:gdLst>
              <a:gd name="T0" fmla="*/ 25 w 25"/>
              <a:gd name="T1" fmla="*/ 13 h 26"/>
              <a:gd name="T2" fmla="*/ 25 w 25"/>
              <a:gd name="T3" fmla="*/ 13 h 26"/>
              <a:gd name="T4" fmla="*/ 25 w 25"/>
              <a:gd name="T5" fmla="*/ 19 h 26"/>
              <a:gd name="T6" fmla="*/ 21 w 25"/>
              <a:gd name="T7" fmla="*/ 22 h 26"/>
              <a:gd name="T8" fmla="*/ 17 w 25"/>
              <a:gd name="T9" fmla="*/ 24 h 26"/>
              <a:gd name="T10" fmla="*/ 13 w 25"/>
              <a:gd name="T11" fmla="*/ 26 h 26"/>
              <a:gd name="T12" fmla="*/ 8 w 25"/>
              <a:gd name="T13" fmla="*/ 24 h 26"/>
              <a:gd name="T14" fmla="*/ 4 w 25"/>
              <a:gd name="T15" fmla="*/ 22 h 26"/>
              <a:gd name="T16" fmla="*/ 0 w 25"/>
              <a:gd name="T17" fmla="*/ 19 h 26"/>
              <a:gd name="T18" fmla="*/ 0 w 25"/>
              <a:gd name="T19" fmla="*/ 13 h 26"/>
              <a:gd name="T20" fmla="*/ 0 w 25"/>
              <a:gd name="T21" fmla="*/ 13 h 26"/>
              <a:gd name="T22" fmla="*/ 0 w 25"/>
              <a:gd name="T23" fmla="*/ 7 h 26"/>
              <a:gd name="T24" fmla="*/ 4 w 25"/>
              <a:gd name="T25" fmla="*/ 2 h 26"/>
              <a:gd name="T26" fmla="*/ 8 w 25"/>
              <a:gd name="T27" fmla="*/ 0 h 26"/>
              <a:gd name="T28" fmla="*/ 13 w 25"/>
              <a:gd name="T29" fmla="*/ 0 h 26"/>
              <a:gd name="T30" fmla="*/ 17 w 25"/>
              <a:gd name="T31" fmla="*/ 0 h 26"/>
              <a:gd name="T32" fmla="*/ 21 w 25"/>
              <a:gd name="T33" fmla="*/ 2 h 26"/>
              <a:gd name="T34" fmla="*/ 25 w 25"/>
              <a:gd name="T35" fmla="*/ 7 h 26"/>
              <a:gd name="T36" fmla="*/ 25 w 25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26">
                <a:moveTo>
                  <a:pt x="25" y="13"/>
                </a:moveTo>
                <a:lnTo>
                  <a:pt x="25" y="13"/>
                </a:lnTo>
                <a:lnTo>
                  <a:pt x="25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5" y="7"/>
                </a:lnTo>
                <a:lnTo>
                  <a:pt x="25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2" name="Freeform 612">
            <a:extLst>
              <a:ext uri="{FF2B5EF4-FFF2-40B4-BE49-F238E27FC236}">
                <a16:creationId xmlns:a16="http://schemas.microsoft.com/office/drawing/2014/main" id="{257BF7A1-6615-2849-5587-05606BBD0805}"/>
              </a:ext>
            </a:extLst>
          </p:cNvPr>
          <p:cNvSpPr>
            <a:spLocks/>
          </p:cNvSpPr>
          <p:nvPr/>
        </p:nvSpPr>
        <p:spPr bwMode="auto">
          <a:xfrm>
            <a:off x="2571752" y="5666317"/>
            <a:ext cx="52917" cy="55033"/>
          </a:xfrm>
          <a:custGeom>
            <a:avLst/>
            <a:gdLst>
              <a:gd name="T0" fmla="*/ 25 w 25"/>
              <a:gd name="T1" fmla="*/ 13 h 26"/>
              <a:gd name="T2" fmla="*/ 25 w 25"/>
              <a:gd name="T3" fmla="*/ 13 h 26"/>
              <a:gd name="T4" fmla="*/ 25 w 25"/>
              <a:gd name="T5" fmla="*/ 19 h 26"/>
              <a:gd name="T6" fmla="*/ 21 w 25"/>
              <a:gd name="T7" fmla="*/ 22 h 26"/>
              <a:gd name="T8" fmla="*/ 17 w 25"/>
              <a:gd name="T9" fmla="*/ 24 h 26"/>
              <a:gd name="T10" fmla="*/ 13 w 25"/>
              <a:gd name="T11" fmla="*/ 26 h 26"/>
              <a:gd name="T12" fmla="*/ 8 w 25"/>
              <a:gd name="T13" fmla="*/ 24 h 26"/>
              <a:gd name="T14" fmla="*/ 4 w 25"/>
              <a:gd name="T15" fmla="*/ 22 h 26"/>
              <a:gd name="T16" fmla="*/ 0 w 25"/>
              <a:gd name="T17" fmla="*/ 19 h 26"/>
              <a:gd name="T18" fmla="*/ 0 w 25"/>
              <a:gd name="T19" fmla="*/ 13 h 26"/>
              <a:gd name="T20" fmla="*/ 0 w 25"/>
              <a:gd name="T21" fmla="*/ 13 h 26"/>
              <a:gd name="T22" fmla="*/ 0 w 25"/>
              <a:gd name="T23" fmla="*/ 7 h 26"/>
              <a:gd name="T24" fmla="*/ 4 w 25"/>
              <a:gd name="T25" fmla="*/ 2 h 26"/>
              <a:gd name="T26" fmla="*/ 8 w 25"/>
              <a:gd name="T27" fmla="*/ 0 h 26"/>
              <a:gd name="T28" fmla="*/ 13 w 25"/>
              <a:gd name="T29" fmla="*/ 0 h 26"/>
              <a:gd name="T30" fmla="*/ 17 w 25"/>
              <a:gd name="T31" fmla="*/ 0 h 26"/>
              <a:gd name="T32" fmla="*/ 21 w 25"/>
              <a:gd name="T33" fmla="*/ 2 h 26"/>
              <a:gd name="T34" fmla="*/ 25 w 25"/>
              <a:gd name="T35" fmla="*/ 7 h 26"/>
              <a:gd name="T36" fmla="*/ 25 w 25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26">
                <a:moveTo>
                  <a:pt x="25" y="13"/>
                </a:moveTo>
                <a:lnTo>
                  <a:pt x="25" y="13"/>
                </a:lnTo>
                <a:lnTo>
                  <a:pt x="25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5" y="7"/>
                </a:lnTo>
                <a:lnTo>
                  <a:pt x="25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3" name="Freeform 613">
            <a:extLst>
              <a:ext uri="{FF2B5EF4-FFF2-40B4-BE49-F238E27FC236}">
                <a16:creationId xmlns:a16="http://schemas.microsoft.com/office/drawing/2014/main" id="{E5BD368D-63C4-4425-9842-E4F4DDC77900}"/>
              </a:ext>
            </a:extLst>
          </p:cNvPr>
          <p:cNvSpPr>
            <a:spLocks/>
          </p:cNvSpPr>
          <p:nvPr/>
        </p:nvSpPr>
        <p:spPr bwMode="auto">
          <a:xfrm>
            <a:off x="277283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1 w 24"/>
              <a:gd name="T7" fmla="*/ 22 h 26"/>
              <a:gd name="T8" fmla="*/ 17 w 24"/>
              <a:gd name="T9" fmla="*/ 24 h 26"/>
              <a:gd name="T10" fmla="*/ 11 w 24"/>
              <a:gd name="T11" fmla="*/ 26 h 26"/>
              <a:gd name="T12" fmla="*/ 8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8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1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1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1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4" name="Freeform 614">
            <a:extLst>
              <a:ext uri="{FF2B5EF4-FFF2-40B4-BE49-F238E27FC236}">
                <a16:creationId xmlns:a16="http://schemas.microsoft.com/office/drawing/2014/main" id="{CA71FF50-E39F-396D-618F-156F24BDFFE1}"/>
              </a:ext>
            </a:extLst>
          </p:cNvPr>
          <p:cNvSpPr>
            <a:spLocks/>
          </p:cNvSpPr>
          <p:nvPr/>
        </p:nvSpPr>
        <p:spPr bwMode="auto">
          <a:xfrm>
            <a:off x="277283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1 w 24"/>
              <a:gd name="T7" fmla="*/ 22 h 26"/>
              <a:gd name="T8" fmla="*/ 17 w 24"/>
              <a:gd name="T9" fmla="*/ 24 h 26"/>
              <a:gd name="T10" fmla="*/ 11 w 24"/>
              <a:gd name="T11" fmla="*/ 26 h 26"/>
              <a:gd name="T12" fmla="*/ 8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8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1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1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1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5" name="Freeform 615">
            <a:extLst>
              <a:ext uri="{FF2B5EF4-FFF2-40B4-BE49-F238E27FC236}">
                <a16:creationId xmlns:a16="http://schemas.microsoft.com/office/drawing/2014/main" id="{4F530319-847E-CE6D-D612-7927B7D639F1}"/>
              </a:ext>
            </a:extLst>
          </p:cNvPr>
          <p:cNvSpPr>
            <a:spLocks/>
          </p:cNvSpPr>
          <p:nvPr/>
        </p:nvSpPr>
        <p:spPr bwMode="auto">
          <a:xfrm>
            <a:off x="2973919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1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1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1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6" name="Freeform 616">
            <a:extLst>
              <a:ext uri="{FF2B5EF4-FFF2-40B4-BE49-F238E27FC236}">
                <a16:creationId xmlns:a16="http://schemas.microsoft.com/office/drawing/2014/main" id="{1416D3A6-DF40-336E-D502-224786A4DED7}"/>
              </a:ext>
            </a:extLst>
          </p:cNvPr>
          <p:cNvSpPr>
            <a:spLocks/>
          </p:cNvSpPr>
          <p:nvPr/>
        </p:nvSpPr>
        <p:spPr bwMode="auto">
          <a:xfrm>
            <a:off x="2973919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1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1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1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7" name="Freeform 617">
            <a:extLst>
              <a:ext uri="{FF2B5EF4-FFF2-40B4-BE49-F238E27FC236}">
                <a16:creationId xmlns:a16="http://schemas.microsoft.com/office/drawing/2014/main" id="{C208491A-6966-1E90-13E9-E5C2FF193C23}"/>
              </a:ext>
            </a:extLst>
          </p:cNvPr>
          <p:cNvSpPr>
            <a:spLocks/>
          </p:cNvSpPr>
          <p:nvPr/>
        </p:nvSpPr>
        <p:spPr bwMode="auto">
          <a:xfrm>
            <a:off x="32723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9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9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8" name="Freeform 618">
            <a:extLst>
              <a:ext uri="{FF2B5EF4-FFF2-40B4-BE49-F238E27FC236}">
                <a16:creationId xmlns:a16="http://schemas.microsoft.com/office/drawing/2014/main" id="{A819355F-9A40-A538-F60F-4BFB351B14FF}"/>
              </a:ext>
            </a:extLst>
          </p:cNvPr>
          <p:cNvSpPr>
            <a:spLocks/>
          </p:cNvSpPr>
          <p:nvPr/>
        </p:nvSpPr>
        <p:spPr bwMode="auto">
          <a:xfrm>
            <a:off x="32723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9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9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9" name="Freeform 619">
            <a:extLst>
              <a:ext uri="{FF2B5EF4-FFF2-40B4-BE49-F238E27FC236}">
                <a16:creationId xmlns:a16="http://schemas.microsoft.com/office/drawing/2014/main" id="{F77B1CFF-0386-18FF-E07B-B357F8769C56}"/>
              </a:ext>
            </a:extLst>
          </p:cNvPr>
          <p:cNvSpPr>
            <a:spLocks/>
          </p:cNvSpPr>
          <p:nvPr/>
        </p:nvSpPr>
        <p:spPr bwMode="auto">
          <a:xfrm>
            <a:off x="34882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1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1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0" name="Freeform 620">
            <a:extLst>
              <a:ext uri="{FF2B5EF4-FFF2-40B4-BE49-F238E27FC236}">
                <a16:creationId xmlns:a16="http://schemas.microsoft.com/office/drawing/2014/main" id="{081A9E3B-89C0-814C-4483-940E713AC48F}"/>
              </a:ext>
            </a:extLst>
          </p:cNvPr>
          <p:cNvSpPr>
            <a:spLocks/>
          </p:cNvSpPr>
          <p:nvPr/>
        </p:nvSpPr>
        <p:spPr bwMode="auto">
          <a:xfrm>
            <a:off x="34882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1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1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1" name="Freeform 621">
            <a:extLst>
              <a:ext uri="{FF2B5EF4-FFF2-40B4-BE49-F238E27FC236}">
                <a16:creationId xmlns:a16="http://schemas.microsoft.com/office/drawing/2014/main" id="{1A14354A-D82D-34BE-788A-F261FEF85AA7}"/>
              </a:ext>
            </a:extLst>
          </p:cNvPr>
          <p:cNvSpPr>
            <a:spLocks/>
          </p:cNvSpPr>
          <p:nvPr/>
        </p:nvSpPr>
        <p:spPr bwMode="auto">
          <a:xfrm>
            <a:off x="3672419" y="540596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5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5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9 w 26"/>
              <a:gd name="T31" fmla="*/ 2 h 26"/>
              <a:gd name="T32" fmla="*/ 23 w 26"/>
              <a:gd name="T33" fmla="*/ 4 h 26"/>
              <a:gd name="T34" fmla="*/ 25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5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5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9" y="2"/>
                </a:lnTo>
                <a:lnTo>
                  <a:pt x="23" y="4"/>
                </a:lnTo>
                <a:lnTo>
                  <a:pt x="25" y="8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2" name="Freeform 622">
            <a:extLst>
              <a:ext uri="{FF2B5EF4-FFF2-40B4-BE49-F238E27FC236}">
                <a16:creationId xmlns:a16="http://schemas.microsoft.com/office/drawing/2014/main" id="{AF2F8ABC-F4AA-1DD0-FE85-084E35EAC2BF}"/>
              </a:ext>
            </a:extLst>
          </p:cNvPr>
          <p:cNvSpPr>
            <a:spLocks/>
          </p:cNvSpPr>
          <p:nvPr/>
        </p:nvSpPr>
        <p:spPr bwMode="auto">
          <a:xfrm>
            <a:off x="3672419" y="540596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5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5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9 w 26"/>
              <a:gd name="T31" fmla="*/ 2 h 26"/>
              <a:gd name="T32" fmla="*/ 23 w 26"/>
              <a:gd name="T33" fmla="*/ 4 h 26"/>
              <a:gd name="T34" fmla="*/ 25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5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5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9" y="2"/>
                </a:lnTo>
                <a:lnTo>
                  <a:pt x="23" y="4"/>
                </a:lnTo>
                <a:lnTo>
                  <a:pt x="25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3" name="Freeform 623">
            <a:extLst>
              <a:ext uri="{FF2B5EF4-FFF2-40B4-BE49-F238E27FC236}">
                <a16:creationId xmlns:a16="http://schemas.microsoft.com/office/drawing/2014/main" id="{329E5BF1-F092-CA09-0C88-568A30CB978B}"/>
              </a:ext>
            </a:extLst>
          </p:cNvPr>
          <p:cNvSpPr>
            <a:spLocks/>
          </p:cNvSpPr>
          <p:nvPr/>
        </p:nvSpPr>
        <p:spPr bwMode="auto">
          <a:xfrm>
            <a:off x="387350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9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4" name="Freeform 624">
            <a:extLst>
              <a:ext uri="{FF2B5EF4-FFF2-40B4-BE49-F238E27FC236}">
                <a16:creationId xmlns:a16="http://schemas.microsoft.com/office/drawing/2014/main" id="{E9D6115F-CA67-6879-679F-A2D1A27C5E35}"/>
              </a:ext>
            </a:extLst>
          </p:cNvPr>
          <p:cNvSpPr>
            <a:spLocks/>
          </p:cNvSpPr>
          <p:nvPr/>
        </p:nvSpPr>
        <p:spPr bwMode="auto">
          <a:xfrm>
            <a:off x="387350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9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5" name="Freeform 625">
            <a:extLst>
              <a:ext uri="{FF2B5EF4-FFF2-40B4-BE49-F238E27FC236}">
                <a16:creationId xmlns:a16="http://schemas.microsoft.com/office/drawing/2014/main" id="{F0BD5F15-6FC9-A66D-E40D-F517C31522BF}"/>
              </a:ext>
            </a:extLst>
          </p:cNvPr>
          <p:cNvSpPr>
            <a:spLocks/>
          </p:cNvSpPr>
          <p:nvPr/>
        </p:nvSpPr>
        <p:spPr bwMode="auto">
          <a:xfrm>
            <a:off x="40745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6" name="Freeform 626">
            <a:extLst>
              <a:ext uri="{FF2B5EF4-FFF2-40B4-BE49-F238E27FC236}">
                <a16:creationId xmlns:a16="http://schemas.microsoft.com/office/drawing/2014/main" id="{D961DB6C-33D9-F7DE-A88F-5CE7A0437979}"/>
              </a:ext>
            </a:extLst>
          </p:cNvPr>
          <p:cNvSpPr>
            <a:spLocks/>
          </p:cNvSpPr>
          <p:nvPr/>
        </p:nvSpPr>
        <p:spPr bwMode="auto">
          <a:xfrm>
            <a:off x="40745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7" name="Freeform 627">
            <a:extLst>
              <a:ext uri="{FF2B5EF4-FFF2-40B4-BE49-F238E27FC236}">
                <a16:creationId xmlns:a16="http://schemas.microsoft.com/office/drawing/2014/main" id="{063B38A3-BFE2-1098-A405-8F123B8ABECA}"/>
              </a:ext>
            </a:extLst>
          </p:cNvPr>
          <p:cNvSpPr>
            <a:spLocks/>
          </p:cNvSpPr>
          <p:nvPr/>
        </p:nvSpPr>
        <p:spPr bwMode="auto">
          <a:xfrm>
            <a:off x="42756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8" name="Freeform 628">
            <a:extLst>
              <a:ext uri="{FF2B5EF4-FFF2-40B4-BE49-F238E27FC236}">
                <a16:creationId xmlns:a16="http://schemas.microsoft.com/office/drawing/2014/main" id="{DF1673AE-08F3-B940-8D80-79268CC68F09}"/>
              </a:ext>
            </a:extLst>
          </p:cNvPr>
          <p:cNvSpPr>
            <a:spLocks/>
          </p:cNvSpPr>
          <p:nvPr/>
        </p:nvSpPr>
        <p:spPr bwMode="auto">
          <a:xfrm>
            <a:off x="42756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9" name="Freeform 629">
            <a:extLst>
              <a:ext uri="{FF2B5EF4-FFF2-40B4-BE49-F238E27FC236}">
                <a16:creationId xmlns:a16="http://schemas.microsoft.com/office/drawing/2014/main" id="{68983837-7B2C-1F07-4F9F-7CCF1A37576E}"/>
              </a:ext>
            </a:extLst>
          </p:cNvPr>
          <p:cNvSpPr>
            <a:spLocks/>
          </p:cNvSpPr>
          <p:nvPr/>
        </p:nvSpPr>
        <p:spPr bwMode="auto">
          <a:xfrm>
            <a:off x="44746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1" name="Freeform 630">
            <a:extLst>
              <a:ext uri="{FF2B5EF4-FFF2-40B4-BE49-F238E27FC236}">
                <a16:creationId xmlns:a16="http://schemas.microsoft.com/office/drawing/2014/main" id="{7C86B50B-9CB1-4566-2476-17F6F5C3CBCB}"/>
              </a:ext>
            </a:extLst>
          </p:cNvPr>
          <p:cNvSpPr>
            <a:spLocks/>
          </p:cNvSpPr>
          <p:nvPr/>
        </p:nvSpPr>
        <p:spPr bwMode="auto">
          <a:xfrm>
            <a:off x="44746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2" name="Freeform 631">
            <a:extLst>
              <a:ext uri="{FF2B5EF4-FFF2-40B4-BE49-F238E27FC236}">
                <a16:creationId xmlns:a16="http://schemas.microsoft.com/office/drawing/2014/main" id="{AF2B077C-717C-D2E7-E898-AC3257F7BDD6}"/>
              </a:ext>
            </a:extLst>
          </p:cNvPr>
          <p:cNvSpPr>
            <a:spLocks/>
          </p:cNvSpPr>
          <p:nvPr/>
        </p:nvSpPr>
        <p:spPr bwMode="auto">
          <a:xfrm>
            <a:off x="4675719" y="53953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4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4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3" name="Freeform 632">
            <a:extLst>
              <a:ext uri="{FF2B5EF4-FFF2-40B4-BE49-F238E27FC236}">
                <a16:creationId xmlns:a16="http://schemas.microsoft.com/office/drawing/2014/main" id="{0FA1D198-DC59-DEE4-6EEB-DC5D44B81198}"/>
              </a:ext>
            </a:extLst>
          </p:cNvPr>
          <p:cNvSpPr>
            <a:spLocks/>
          </p:cNvSpPr>
          <p:nvPr/>
        </p:nvSpPr>
        <p:spPr bwMode="auto">
          <a:xfrm>
            <a:off x="4675719" y="53953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4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4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4" name="Freeform 633">
            <a:extLst>
              <a:ext uri="{FF2B5EF4-FFF2-40B4-BE49-F238E27FC236}">
                <a16:creationId xmlns:a16="http://schemas.microsoft.com/office/drawing/2014/main" id="{00F2BD91-9F63-D7A6-C682-31C67FA2EEC9}"/>
              </a:ext>
            </a:extLst>
          </p:cNvPr>
          <p:cNvSpPr>
            <a:spLocks/>
          </p:cNvSpPr>
          <p:nvPr/>
        </p:nvSpPr>
        <p:spPr bwMode="auto">
          <a:xfrm>
            <a:off x="4876802" y="53594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4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5" name="Freeform 634">
            <a:extLst>
              <a:ext uri="{FF2B5EF4-FFF2-40B4-BE49-F238E27FC236}">
                <a16:creationId xmlns:a16="http://schemas.microsoft.com/office/drawing/2014/main" id="{90C1D26C-7715-FC5E-793F-63DE420CA1B3}"/>
              </a:ext>
            </a:extLst>
          </p:cNvPr>
          <p:cNvSpPr>
            <a:spLocks/>
          </p:cNvSpPr>
          <p:nvPr/>
        </p:nvSpPr>
        <p:spPr bwMode="auto">
          <a:xfrm>
            <a:off x="4876802" y="53594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4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6" name="Freeform 635">
            <a:extLst>
              <a:ext uri="{FF2B5EF4-FFF2-40B4-BE49-F238E27FC236}">
                <a16:creationId xmlns:a16="http://schemas.microsoft.com/office/drawing/2014/main" id="{425372EA-E642-E921-2C08-3777980E11BC}"/>
              </a:ext>
            </a:extLst>
          </p:cNvPr>
          <p:cNvSpPr>
            <a:spLocks/>
          </p:cNvSpPr>
          <p:nvPr/>
        </p:nvSpPr>
        <p:spPr bwMode="auto">
          <a:xfrm>
            <a:off x="5077885" y="53784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5 h 26"/>
              <a:gd name="T8" fmla="*/ 16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3 w 26"/>
              <a:gd name="T15" fmla="*/ 25 h 26"/>
              <a:gd name="T16" fmla="*/ 1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1 w 26"/>
              <a:gd name="T23" fmla="*/ 8 h 26"/>
              <a:gd name="T24" fmla="*/ 3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6 w 26"/>
              <a:gd name="T31" fmla="*/ 2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5"/>
                </a:lnTo>
                <a:lnTo>
                  <a:pt x="16" y="26"/>
                </a:lnTo>
                <a:lnTo>
                  <a:pt x="13" y="26"/>
                </a:lnTo>
                <a:lnTo>
                  <a:pt x="7" y="26"/>
                </a:lnTo>
                <a:lnTo>
                  <a:pt x="3" y="25"/>
                </a:lnTo>
                <a:lnTo>
                  <a:pt x="1" y="19"/>
                </a:lnTo>
                <a:lnTo>
                  <a:pt x="0" y="13"/>
                </a:lnTo>
                <a:lnTo>
                  <a:pt x="0" y="13"/>
                </a:lnTo>
                <a:lnTo>
                  <a:pt x="1" y="8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6" y="2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7" name="Freeform 636">
            <a:extLst>
              <a:ext uri="{FF2B5EF4-FFF2-40B4-BE49-F238E27FC236}">
                <a16:creationId xmlns:a16="http://schemas.microsoft.com/office/drawing/2014/main" id="{8D8F9EA2-8D9C-F0CA-DCB4-68D151D85BE3}"/>
              </a:ext>
            </a:extLst>
          </p:cNvPr>
          <p:cNvSpPr>
            <a:spLocks/>
          </p:cNvSpPr>
          <p:nvPr/>
        </p:nvSpPr>
        <p:spPr bwMode="auto">
          <a:xfrm>
            <a:off x="5077885" y="53784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5 h 26"/>
              <a:gd name="T8" fmla="*/ 16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3 w 26"/>
              <a:gd name="T15" fmla="*/ 25 h 26"/>
              <a:gd name="T16" fmla="*/ 1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1 w 26"/>
              <a:gd name="T23" fmla="*/ 8 h 26"/>
              <a:gd name="T24" fmla="*/ 3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6 w 26"/>
              <a:gd name="T31" fmla="*/ 2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5"/>
                </a:lnTo>
                <a:lnTo>
                  <a:pt x="16" y="26"/>
                </a:lnTo>
                <a:lnTo>
                  <a:pt x="13" y="26"/>
                </a:lnTo>
                <a:lnTo>
                  <a:pt x="7" y="26"/>
                </a:lnTo>
                <a:lnTo>
                  <a:pt x="3" y="25"/>
                </a:lnTo>
                <a:lnTo>
                  <a:pt x="1" y="19"/>
                </a:lnTo>
                <a:lnTo>
                  <a:pt x="0" y="13"/>
                </a:lnTo>
                <a:lnTo>
                  <a:pt x="0" y="13"/>
                </a:lnTo>
                <a:lnTo>
                  <a:pt x="1" y="8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6" y="2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8" name="Freeform 637">
            <a:extLst>
              <a:ext uri="{FF2B5EF4-FFF2-40B4-BE49-F238E27FC236}">
                <a16:creationId xmlns:a16="http://schemas.microsoft.com/office/drawing/2014/main" id="{C02FC2FD-F0B0-213F-9803-47BA2323D684}"/>
              </a:ext>
            </a:extLst>
          </p:cNvPr>
          <p:cNvSpPr>
            <a:spLocks/>
          </p:cNvSpPr>
          <p:nvPr/>
        </p:nvSpPr>
        <p:spPr bwMode="auto">
          <a:xfrm>
            <a:off x="52768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9" name="Freeform 638">
            <a:extLst>
              <a:ext uri="{FF2B5EF4-FFF2-40B4-BE49-F238E27FC236}">
                <a16:creationId xmlns:a16="http://schemas.microsoft.com/office/drawing/2014/main" id="{C9C130DB-A5C8-3940-CEB6-BB973EC55F23}"/>
              </a:ext>
            </a:extLst>
          </p:cNvPr>
          <p:cNvSpPr>
            <a:spLocks/>
          </p:cNvSpPr>
          <p:nvPr/>
        </p:nvSpPr>
        <p:spPr bwMode="auto">
          <a:xfrm>
            <a:off x="52768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0" name="Freeform 639">
            <a:extLst>
              <a:ext uri="{FF2B5EF4-FFF2-40B4-BE49-F238E27FC236}">
                <a16:creationId xmlns:a16="http://schemas.microsoft.com/office/drawing/2014/main" id="{DB0CC617-7748-3566-E027-7081B5636252}"/>
              </a:ext>
            </a:extLst>
          </p:cNvPr>
          <p:cNvSpPr>
            <a:spLocks/>
          </p:cNvSpPr>
          <p:nvPr/>
        </p:nvSpPr>
        <p:spPr bwMode="auto">
          <a:xfrm>
            <a:off x="54779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1" name="Freeform 640">
            <a:extLst>
              <a:ext uri="{FF2B5EF4-FFF2-40B4-BE49-F238E27FC236}">
                <a16:creationId xmlns:a16="http://schemas.microsoft.com/office/drawing/2014/main" id="{29912849-DE6A-2246-AF0A-B3C8A8927AB9}"/>
              </a:ext>
            </a:extLst>
          </p:cNvPr>
          <p:cNvSpPr>
            <a:spLocks/>
          </p:cNvSpPr>
          <p:nvPr/>
        </p:nvSpPr>
        <p:spPr bwMode="auto">
          <a:xfrm>
            <a:off x="54779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2" name="Freeform 641">
            <a:extLst>
              <a:ext uri="{FF2B5EF4-FFF2-40B4-BE49-F238E27FC236}">
                <a16:creationId xmlns:a16="http://schemas.microsoft.com/office/drawing/2014/main" id="{E4802675-ACC9-ECD9-4B1F-CD0C3F6C37A6}"/>
              </a:ext>
            </a:extLst>
          </p:cNvPr>
          <p:cNvSpPr>
            <a:spLocks/>
          </p:cNvSpPr>
          <p:nvPr/>
        </p:nvSpPr>
        <p:spPr bwMode="auto">
          <a:xfrm>
            <a:off x="5679019" y="54504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6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3 w 26"/>
              <a:gd name="T15" fmla="*/ 24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6 w 26"/>
              <a:gd name="T31" fmla="*/ 2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6" y="26"/>
                </a:lnTo>
                <a:lnTo>
                  <a:pt x="13" y="26"/>
                </a:lnTo>
                <a:lnTo>
                  <a:pt x="7" y="26"/>
                </a:lnTo>
                <a:lnTo>
                  <a:pt x="3" y="24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6" y="2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3" name="Freeform 642">
            <a:extLst>
              <a:ext uri="{FF2B5EF4-FFF2-40B4-BE49-F238E27FC236}">
                <a16:creationId xmlns:a16="http://schemas.microsoft.com/office/drawing/2014/main" id="{990B0D6E-2AAF-F150-BC53-5B7DEB0340A4}"/>
              </a:ext>
            </a:extLst>
          </p:cNvPr>
          <p:cNvSpPr>
            <a:spLocks/>
          </p:cNvSpPr>
          <p:nvPr/>
        </p:nvSpPr>
        <p:spPr bwMode="auto">
          <a:xfrm>
            <a:off x="5679019" y="54504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6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3 w 26"/>
              <a:gd name="T15" fmla="*/ 24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6 w 26"/>
              <a:gd name="T31" fmla="*/ 2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6" y="26"/>
                </a:lnTo>
                <a:lnTo>
                  <a:pt x="13" y="26"/>
                </a:lnTo>
                <a:lnTo>
                  <a:pt x="7" y="26"/>
                </a:lnTo>
                <a:lnTo>
                  <a:pt x="3" y="24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6" y="2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4" name="Freeform 643">
            <a:extLst>
              <a:ext uri="{FF2B5EF4-FFF2-40B4-BE49-F238E27FC236}">
                <a16:creationId xmlns:a16="http://schemas.microsoft.com/office/drawing/2014/main" id="{3F01C8AE-979E-D283-A761-A4852B5B2913}"/>
              </a:ext>
            </a:extLst>
          </p:cNvPr>
          <p:cNvSpPr>
            <a:spLocks/>
          </p:cNvSpPr>
          <p:nvPr/>
        </p:nvSpPr>
        <p:spPr bwMode="auto">
          <a:xfrm>
            <a:off x="5877986" y="54461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4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4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4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4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5" name="Freeform 644">
            <a:extLst>
              <a:ext uri="{FF2B5EF4-FFF2-40B4-BE49-F238E27FC236}">
                <a16:creationId xmlns:a16="http://schemas.microsoft.com/office/drawing/2014/main" id="{DBD308D0-53E1-5AD5-50FF-50CB40902070}"/>
              </a:ext>
            </a:extLst>
          </p:cNvPr>
          <p:cNvSpPr>
            <a:spLocks/>
          </p:cNvSpPr>
          <p:nvPr/>
        </p:nvSpPr>
        <p:spPr bwMode="auto">
          <a:xfrm>
            <a:off x="5877986" y="54461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4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4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4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4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6" name="Freeform 645">
            <a:extLst>
              <a:ext uri="{FF2B5EF4-FFF2-40B4-BE49-F238E27FC236}">
                <a16:creationId xmlns:a16="http://schemas.microsoft.com/office/drawing/2014/main" id="{0FABEB7E-A402-3A70-23F1-4B11A2D75212}"/>
              </a:ext>
            </a:extLst>
          </p:cNvPr>
          <p:cNvSpPr>
            <a:spLocks/>
          </p:cNvSpPr>
          <p:nvPr/>
        </p:nvSpPr>
        <p:spPr bwMode="auto">
          <a:xfrm>
            <a:off x="5977469" y="54038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8 h 26"/>
              <a:gd name="T6" fmla="*/ 22 w 26"/>
              <a:gd name="T7" fmla="*/ 24 h 26"/>
              <a:gd name="T8" fmla="*/ 18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5 w 26"/>
              <a:gd name="T15" fmla="*/ 24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5 w 26"/>
              <a:gd name="T25" fmla="*/ 3 h 26"/>
              <a:gd name="T26" fmla="*/ 9 w 26"/>
              <a:gd name="T27" fmla="*/ 1 h 26"/>
              <a:gd name="T28" fmla="*/ 13 w 26"/>
              <a:gd name="T29" fmla="*/ 0 h 26"/>
              <a:gd name="T30" fmla="*/ 18 w 26"/>
              <a:gd name="T31" fmla="*/ 1 h 26"/>
              <a:gd name="T32" fmla="*/ 22 w 26"/>
              <a:gd name="T33" fmla="*/ 3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8"/>
                </a:lnTo>
                <a:lnTo>
                  <a:pt x="22" y="24"/>
                </a:lnTo>
                <a:lnTo>
                  <a:pt x="18" y="26"/>
                </a:lnTo>
                <a:lnTo>
                  <a:pt x="13" y="26"/>
                </a:lnTo>
                <a:lnTo>
                  <a:pt x="9" y="26"/>
                </a:lnTo>
                <a:lnTo>
                  <a:pt x="5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5" y="3"/>
                </a:lnTo>
                <a:lnTo>
                  <a:pt x="9" y="1"/>
                </a:lnTo>
                <a:lnTo>
                  <a:pt x="13" y="0"/>
                </a:lnTo>
                <a:lnTo>
                  <a:pt x="18" y="1"/>
                </a:lnTo>
                <a:lnTo>
                  <a:pt x="22" y="3"/>
                </a:lnTo>
                <a:lnTo>
                  <a:pt x="26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7" name="Freeform 646">
            <a:extLst>
              <a:ext uri="{FF2B5EF4-FFF2-40B4-BE49-F238E27FC236}">
                <a16:creationId xmlns:a16="http://schemas.microsoft.com/office/drawing/2014/main" id="{F132C48F-3F86-D6E4-1678-CC5639823BC8}"/>
              </a:ext>
            </a:extLst>
          </p:cNvPr>
          <p:cNvSpPr>
            <a:spLocks/>
          </p:cNvSpPr>
          <p:nvPr/>
        </p:nvSpPr>
        <p:spPr bwMode="auto">
          <a:xfrm>
            <a:off x="5977469" y="54038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8 h 26"/>
              <a:gd name="T6" fmla="*/ 22 w 26"/>
              <a:gd name="T7" fmla="*/ 24 h 26"/>
              <a:gd name="T8" fmla="*/ 18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5 w 26"/>
              <a:gd name="T15" fmla="*/ 24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5 w 26"/>
              <a:gd name="T25" fmla="*/ 3 h 26"/>
              <a:gd name="T26" fmla="*/ 9 w 26"/>
              <a:gd name="T27" fmla="*/ 1 h 26"/>
              <a:gd name="T28" fmla="*/ 13 w 26"/>
              <a:gd name="T29" fmla="*/ 0 h 26"/>
              <a:gd name="T30" fmla="*/ 18 w 26"/>
              <a:gd name="T31" fmla="*/ 1 h 26"/>
              <a:gd name="T32" fmla="*/ 22 w 26"/>
              <a:gd name="T33" fmla="*/ 3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8"/>
                </a:lnTo>
                <a:lnTo>
                  <a:pt x="22" y="24"/>
                </a:lnTo>
                <a:lnTo>
                  <a:pt x="18" y="26"/>
                </a:lnTo>
                <a:lnTo>
                  <a:pt x="13" y="26"/>
                </a:lnTo>
                <a:lnTo>
                  <a:pt x="9" y="26"/>
                </a:lnTo>
                <a:lnTo>
                  <a:pt x="5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5" y="3"/>
                </a:lnTo>
                <a:lnTo>
                  <a:pt x="9" y="1"/>
                </a:lnTo>
                <a:lnTo>
                  <a:pt x="13" y="0"/>
                </a:lnTo>
                <a:lnTo>
                  <a:pt x="18" y="1"/>
                </a:lnTo>
                <a:lnTo>
                  <a:pt x="22" y="3"/>
                </a:lnTo>
                <a:lnTo>
                  <a:pt x="26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8" name="Freeform 647">
            <a:extLst>
              <a:ext uri="{FF2B5EF4-FFF2-40B4-BE49-F238E27FC236}">
                <a16:creationId xmlns:a16="http://schemas.microsoft.com/office/drawing/2014/main" id="{10E996DC-49E3-1FBC-120B-3A4B41FA2489}"/>
              </a:ext>
            </a:extLst>
          </p:cNvPr>
          <p:cNvSpPr>
            <a:spLocks/>
          </p:cNvSpPr>
          <p:nvPr/>
        </p:nvSpPr>
        <p:spPr bwMode="auto">
          <a:xfrm>
            <a:off x="6079069" y="54504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4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4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9" name="Freeform 648">
            <a:extLst>
              <a:ext uri="{FF2B5EF4-FFF2-40B4-BE49-F238E27FC236}">
                <a16:creationId xmlns:a16="http://schemas.microsoft.com/office/drawing/2014/main" id="{573BA924-E1A1-4325-BB35-D494416FAF3C}"/>
              </a:ext>
            </a:extLst>
          </p:cNvPr>
          <p:cNvSpPr>
            <a:spLocks/>
          </p:cNvSpPr>
          <p:nvPr/>
        </p:nvSpPr>
        <p:spPr bwMode="auto">
          <a:xfrm>
            <a:off x="6079069" y="54504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4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4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60" name="Freeform 649">
            <a:extLst>
              <a:ext uri="{FF2B5EF4-FFF2-40B4-BE49-F238E27FC236}">
                <a16:creationId xmlns:a16="http://schemas.microsoft.com/office/drawing/2014/main" id="{3324175E-6979-C496-A286-CC6C2680F760}"/>
              </a:ext>
            </a:extLst>
          </p:cNvPr>
          <p:cNvSpPr>
            <a:spLocks/>
          </p:cNvSpPr>
          <p:nvPr/>
        </p:nvSpPr>
        <p:spPr bwMode="auto">
          <a:xfrm>
            <a:off x="6280152" y="54588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3 h 26"/>
              <a:gd name="T26" fmla="*/ 7 w 26"/>
              <a:gd name="T27" fmla="*/ 1 h 26"/>
              <a:gd name="T28" fmla="*/ 13 w 26"/>
              <a:gd name="T29" fmla="*/ 0 h 26"/>
              <a:gd name="T30" fmla="*/ 17 w 26"/>
              <a:gd name="T31" fmla="*/ 1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3"/>
                </a:lnTo>
                <a:lnTo>
                  <a:pt x="7" y="1"/>
                </a:lnTo>
                <a:lnTo>
                  <a:pt x="13" y="0"/>
                </a:lnTo>
                <a:lnTo>
                  <a:pt x="17" y="1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61" name="Freeform 650">
            <a:extLst>
              <a:ext uri="{FF2B5EF4-FFF2-40B4-BE49-F238E27FC236}">
                <a16:creationId xmlns:a16="http://schemas.microsoft.com/office/drawing/2014/main" id="{39417F8B-0FC2-F341-13AE-7788AB306AB8}"/>
              </a:ext>
            </a:extLst>
          </p:cNvPr>
          <p:cNvSpPr>
            <a:spLocks/>
          </p:cNvSpPr>
          <p:nvPr/>
        </p:nvSpPr>
        <p:spPr bwMode="auto">
          <a:xfrm>
            <a:off x="6280152" y="54588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3 h 26"/>
              <a:gd name="T26" fmla="*/ 7 w 26"/>
              <a:gd name="T27" fmla="*/ 1 h 26"/>
              <a:gd name="T28" fmla="*/ 13 w 26"/>
              <a:gd name="T29" fmla="*/ 0 h 26"/>
              <a:gd name="T30" fmla="*/ 17 w 26"/>
              <a:gd name="T31" fmla="*/ 1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3"/>
                </a:lnTo>
                <a:lnTo>
                  <a:pt x="7" y="1"/>
                </a:lnTo>
                <a:lnTo>
                  <a:pt x="13" y="0"/>
                </a:lnTo>
                <a:lnTo>
                  <a:pt x="17" y="1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62" name="Freeform 651">
            <a:extLst>
              <a:ext uri="{FF2B5EF4-FFF2-40B4-BE49-F238E27FC236}">
                <a16:creationId xmlns:a16="http://schemas.microsoft.com/office/drawing/2014/main" id="{08904E23-C4C3-50EF-E588-52D30A2EA9FB}"/>
              </a:ext>
            </a:extLst>
          </p:cNvPr>
          <p:cNvSpPr>
            <a:spLocks/>
          </p:cNvSpPr>
          <p:nvPr/>
        </p:nvSpPr>
        <p:spPr bwMode="auto">
          <a:xfrm>
            <a:off x="6481236" y="52937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1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1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1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1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63" name="Freeform 652">
            <a:extLst>
              <a:ext uri="{FF2B5EF4-FFF2-40B4-BE49-F238E27FC236}">
                <a16:creationId xmlns:a16="http://schemas.microsoft.com/office/drawing/2014/main" id="{E0A2DB72-61D4-0A9D-1006-3E25249297A2}"/>
              </a:ext>
            </a:extLst>
          </p:cNvPr>
          <p:cNvSpPr>
            <a:spLocks/>
          </p:cNvSpPr>
          <p:nvPr/>
        </p:nvSpPr>
        <p:spPr bwMode="auto">
          <a:xfrm>
            <a:off x="6481236" y="52937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1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1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1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1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64" name="Freeform 653">
            <a:extLst>
              <a:ext uri="{FF2B5EF4-FFF2-40B4-BE49-F238E27FC236}">
                <a16:creationId xmlns:a16="http://schemas.microsoft.com/office/drawing/2014/main" id="{07DE611D-8EC6-C6E2-6C18-8EC563F16C97}"/>
              </a:ext>
            </a:extLst>
          </p:cNvPr>
          <p:cNvSpPr>
            <a:spLocks/>
          </p:cNvSpPr>
          <p:nvPr/>
        </p:nvSpPr>
        <p:spPr bwMode="auto">
          <a:xfrm>
            <a:off x="6680202" y="54334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5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5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3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5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5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7" y="2"/>
                </a:lnTo>
                <a:lnTo>
                  <a:pt x="23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85" name="Freeform 654">
            <a:extLst>
              <a:ext uri="{FF2B5EF4-FFF2-40B4-BE49-F238E27FC236}">
                <a16:creationId xmlns:a16="http://schemas.microsoft.com/office/drawing/2014/main" id="{9A0CE50B-647B-8E5C-D307-B734E325076B}"/>
              </a:ext>
            </a:extLst>
          </p:cNvPr>
          <p:cNvSpPr>
            <a:spLocks/>
          </p:cNvSpPr>
          <p:nvPr/>
        </p:nvSpPr>
        <p:spPr bwMode="auto">
          <a:xfrm>
            <a:off x="6680202" y="54334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5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5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3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5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5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7" y="2"/>
                </a:lnTo>
                <a:lnTo>
                  <a:pt x="23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89" name="Freeform 655">
            <a:extLst>
              <a:ext uri="{FF2B5EF4-FFF2-40B4-BE49-F238E27FC236}">
                <a16:creationId xmlns:a16="http://schemas.microsoft.com/office/drawing/2014/main" id="{B733D957-EA17-7B78-9AAF-30B4FA790BC1}"/>
              </a:ext>
            </a:extLst>
          </p:cNvPr>
          <p:cNvSpPr>
            <a:spLocks/>
          </p:cNvSpPr>
          <p:nvPr/>
        </p:nvSpPr>
        <p:spPr bwMode="auto">
          <a:xfrm>
            <a:off x="6881286" y="54102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3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3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4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3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3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0" name="Freeform 656">
            <a:extLst>
              <a:ext uri="{FF2B5EF4-FFF2-40B4-BE49-F238E27FC236}">
                <a16:creationId xmlns:a16="http://schemas.microsoft.com/office/drawing/2014/main" id="{64375D1C-3968-593F-9832-831647E15489}"/>
              </a:ext>
            </a:extLst>
          </p:cNvPr>
          <p:cNvSpPr>
            <a:spLocks/>
          </p:cNvSpPr>
          <p:nvPr/>
        </p:nvSpPr>
        <p:spPr bwMode="auto">
          <a:xfrm>
            <a:off x="6881286" y="54102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3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3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4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3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3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1" name="Freeform 657">
            <a:extLst>
              <a:ext uri="{FF2B5EF4-FFF2-40B4-BE49-F238E27FC236}">
                <a16:creationId xmlns:a16="http://schemas.microsoft.com/office/drawing/2014/main" id="{A6059C2F-D320-E23B-7E59-4A5A414F69A3}"/>
              </a:ext>
            </a:extLst>
          </p:cNvPr>
          <p:cNvSpPr>
            <a:spLocks/>
          </p:cNvSpPr>
          <p:nvPr/>
        </p:nvSpPr>
        <p:spPr bwMode="auto">
          <a:xfrm>
            <a:off x="7109886" y="54038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8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3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3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8" y="26"/>
                </a:lnTo>
                <a:lnTo>
                  <a:pt x="13" y="26"/>
                </a:lnTo>
                <a:lnTo>
                  <a:pt x="9" y="26"/>
                </a:lnTo>
                <a:lnTo>
                  <a:pt x="3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3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2" name="Freeform 658">
            <a:extLst>
              <a:ext uri="{FF2B5EF4-FFF2-40B4-BE49-F238E27FC236}">
                <a16:creationId xmlns:a16="http://schemas.microsoft.com/office/drawing/2014/main" id="{DAFEA9DA-6D16-92B7-C773-8EF53C640776}"/>
              </a:ext>
            </a:extLst>
          </p:cNvPr>
          <p:cNvSpPr>
            <a:spLocks/>
          </p:cNvSpPr>
          <p:nvPr/>
        </p:nvSpPr>
        <p:spPr bwMode="auto">
          <a:xfrm>
            <a:off x="7109886" y="54038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8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3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3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8" y="26"/>
                </a:lnTo>
                <a:lnTo>
                  <a:pt x="13" y="26"/>
                </a:lnTo>
                <a:lnTo>
                  <a:pt x="9" y="26"/>
                </a:lnTo>
                <a:lnTo>
                  <a:pt x="3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3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3" name="Freeform 659">
            <a:extLst>
              <a:ext uri="{FF2B5EF4-FFF2-40B4-BE49-F238E27FC236}">
                <a16:creationId xmlns:a16="http://schemas.microsoft.com/office/drawing/2014/main" id="{4EE70981-219B-0FF7-4859-7C442FECFCF5}"/>
              </a:ext>
            </a:extLst>
          </p:cNvPr>
          <p:cNvSpPr>
            <a:spLocks/>
          </p:cNvSpPr>
          <p:nvPr/>
        </p:nvSpPr>
        <p:spPr bwMode="auto">
          <a:xfrm>
            <a:off x="17716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0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0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4" name="Freeform 660">
            <a:extLst>
              <a:ext uri="{FF2B5EF4-FFF2-40B4-BE49-F238E27FC236}">
                <a16:creationId xmlns:a16="http://schemas.microsoft.com/office/drawing/2014/main" id="{12A5F8B9-4132-A553-17C2-48D1AC1AE594}"/>
              </a:ext>
            </a:extLst>
          </p:cNvPr>
          <p:cNvSpPr>
            <a:spLocks/>
          </p:cNvSpPr>
          <p:nvPr/>
        </p:nvSpPr>
        <p:spPr bwMode="auto">
          <a:xfrm>
            <a:off x="17716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0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0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5" name="Freeform 661">
            <a:extLst>
              <a:ext uri="{FF2B5EF4-FFF2-40B4-BE49-F238E27FC236}">
                <a16:creationId xmlns:a16="http://schemas.microsoft.com/office/drawing/2014/main" id="{2B8A92E7-E07C-9677-D83D-6FC4A51C757D}"/>
              </a:ext>
            </a:extLst>
          </p:cNvPr>
          <p:cNvSpPr>
            <a:spLocks/>
          </p:cNvSpPr>
          <p:nvPr/>
        </p:nvSpPr>
        <p:spPr bwMode="auto">
          <a:xfrm>
            <a:off x="1970618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1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1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6" name="Freeform 662">
            <a:extLst>
              <a:ext uri="{FF2B5EF4-FFF2-40B4-BE49-F238E27FC236}">
                <a16:creationId xmlns:a16="http://schemas.microsoft.com/office/drawing/2014/main" id="{92678182-2286-FEBE-450B-2F4E56D23E93}"/>
              </a:ext>
            </a:extLst>
          </p:cNvPr>
          <p:cNvSpPr>
            <a:spLocks/>
          </p:cNvSpPr>
          <p:nvPr/>
        </p:nvSpPr>
        <p:spPr bwMode="auto">
          <a:xfrm>
            <a:off x="1970618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1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1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7" name="Freeform 663">
            <a:extLst>
              <a:ext uri="{FF2B5EF4-FFF2-40B4-BE49-F238E27FC236}">
                <a16:creationId xmlns:a16="http://schemas.microsoft.com/office/drawing/2014/main" id="{D9F0928D-A9DA-4A60-6BB9-5BFB21A42D13}"/>
              </a:ext>
            </a:extLst>
          </p:cNvPr>
          <p:cNvSpPr>
            <a:spLocks/>
          </p:cNvSpPr>
          <p:nvPr/>
        </p:nvSpPr>
        <p:spPr bwMode="auto">
          <a:xfrm>
            <a:off x="2171702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8" name="Freeform 664">
            <a:extLst>
              <a:ext uri="{FF2B5EF4-FFF2-40B4-BE49-F238E27FC236}">
                <a16:creationId xmlns:a16="http://schemas.microsoft.com/office/drawing/2014/main" id="{7BC13DD2-A8D8-FDD8-1460-7AC32B61B61E}"/>
              </a:ext>
            </a:extLst>
          </p:cNvPr>
          <p:cNvSpPr>
            <a:spLocks/>
          </p:cNvSpPr>
          <p:nvPr/>
        </p:nvSpPr>
        <p:spPr bwMode="auto">
          <a:xfrm>
            <a:off x="2171702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9" name="Freeform 665">
            <a:extLst>
              <a:ext uri="{FF2B5EF4-FFF2-40B4-BE49-F238E27FC236}">
                <a16:creationId xmlns:a16="http://schemas.microsoft.com/office/drawing/2014/main" id="{42BC074A-5057-4CCB-59F9-8E72790C62D2}"/>
              </a:ext>
            </a:extLst>
          </p:cNvPr>
          <p:cNvSpPr>
            <a:spLocks/>
          </p:cNvSpPr>
          <p:nvPr/>
        </p:nvSpPr>
        <p:spPr bwMode="auto">
          <a:xfrm>
            <a:off x="23833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3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10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10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2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3" y="22"/>
                </a:lnTo>
                <a:lnTo>
                  <a:pt x="19" y="24"/>
                </a:lnTo>
                <a:lnTo>
                  <a:pt x="13" y="26"/>
                </a:lnTo>
                <a:lnTo>
                  <a:pt x="10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10" y="0"/>
                </a:lnTo>
                <a:lnTo>
                  <a:pt x="13" y="0"/>
                </a:lnTo>
                <a:lnTo>
                  <a:pt x="19" y="0"/>
                </a:lnTo>
                <a:lnTo>
                  <a:pt x="23" y="2"/>
                </a:lnTo>
                <a:lnTo>
                  <a:pt x="26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0" name="Freeform 666">
            <a:extLst>
              <a:ext uri="{FF2B5EF4-FFF2-40B4-BE49-F238E27FC236}">
                <a16:creationId xmlns:a16="http://schemas.microsoft.com/office/drawing/2014/main" id="{1600A94C-B91D-A7B2-22AE-08C273AC9C2F}"/>
              </a:ext>
            </a:extLst>
          </p:cNvPr>
          <p:cNvSpPr>
            <a:spLocks/>
          </p:cNvSpPr>
          <p:nvPr/>
        </p:nvSpPr>
        <p:spPr bwMode="auto">
          <a:xfrm>
            <a:off x="23833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3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10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10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2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3" y="22"/>
                </a:lnTo>
                <a:lnTo>
                  <a:pt x="19" y="24"/>
                </a:lnTo>
                <a:lnTo>
                  <a:pt x="13" y="26"/>
                </a:lnTo>
                <a:lnTo>
                  <a:pt x="10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10" y="0"/>
                </a:lnTo>
                <a:lnTo>
                  <a:pt x="13" y="0"/>
                </a:lnTo>
                <a:lnTo>
                  <a:pt x="19" y="0"/>
                </a:lnTo>
                <a:lnTo>
                  <a:pt x="23" y="2"/>
                </a:lnTo>
                <a:lnTo>
                  <a:pt x="26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1" name="Freeform 667">
            <a:extLst>
              <a:ext uri="{FF2B5EF4-FFF2-40B4-BE49-F238E27FC236}">
                <a16:creationId xmlns:a16="http://schemas.microsoft.com/office/drawing/2014/main" id="{A6CD8962-7E91-D967-02AD-977EDDD4458A}"/>
              </a:ext>
            </a:extLst>
          </p:cNvPr>
          <p:cNvSpPr>
            <a:spLocks/>
          </p:cNvSpPr>
          <p:nvPr/>
        </p:nvSpPr>
        <p:spPr bwMode="auto">
          <a:xfrm>
            <a:off x="2571752" y="5666317"/>
            <a:ext cx="52917" cy="55033"/>
          </a:xfrm>
          <a:custGeom>
            <a:avLst/>
            <a:gdLst>
              <a:gd name="T0" fmla="*/ 25 w 25"/>
              <a:gd name="T1" fmla="*/ 13 h 26"/>
              <a:gd name="T2" fmla="*/ 25 w 25"/>
              <a:gd name="T3" fmla="*/ 13 h 26"/>
              <a:gd name="T4" fmla="*/ 25 w 25"/>
              <a:gd name="T5" fmla="*/ 19 h 26"/>
              <a:gd name="T6" fmla="*/ 21 w 25"/>
              <a:gd name="T7" fmla="*/ 22 h 26"/>
              <a:gd name="T8" fmla="*/ 17 w 25"/>
              <a:gd name="T9" fmla="*/ 24 h 26"/>
              <a:gd name="T10" fmla="*/ 13 w 25"/>
              <a:gd name="T11" fmla="*/ 26 h 26"/>
              <a:gd name="T12" fmla="*/ 8 w 25"/>
              <a:gd name="T13" fmla="*/ 24 h 26"/>
              <a:gd name="T14" fmla="*/ 4 w 25"/>
              <a:gd name="T15" fmla="*/ 22 h 26"/>
              <a:gd name="T16" fmla="*/ 0 w 25"/>
              <a:gd name="T17" fmla="*/ 19 h 26"/>
              <a:gd name="T18" fmla="*/ 0 w 25"/>
              <a:gd name="T19" fmla="*/ 13 h 26"/>
              <a:gd name="T20" fmla="*/ 0 w 25"/>
              <a:gd name="T21" fmla="*/ 13 h 26"/>
              <a:gd name="T22" fmla="*/ 0 w 25"/>
              <a:gd name="T23" fmla="*/ 7 h 26"/>
              <a:gd name="T24" fmla="*/ 4 w 25"/>
              <a:gd name="T25" fmla="*/ 2 h 26"/>
              <a:gd name="T26" fmla="*/ 8 w 25"/>
              <a:gd name="T27" fmla="*/ 0 h 26"/>
              <a:gd name="T28" fmla="*/ 13 w 25"/>
              <a:gd name="T29" fmla="*/ 0 h 26"/>
              <a:gd name="T30" fmla="*/ 17 w 25"/>
              <a:gd name="T31" fmla="*/ 0 h 26"/>
              <a:gd name="T32" fmla="*/ 21 w 25"/>
              <a:gd name="T33" fmla="*/ 2 h 26"/>
              <a:gd name="T34" fmla="*/ 25 w 25"/>
              <a:gd name="T35" fmla="*/ 7 h 26"/>
              <a:gd name="T36" fmla="*/ 25 w 25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26">
                <a:moveTo>
                  <a:pt x="25" y="13"/>
                </a:moveTo>
                <a:lnTo>
                  <a:pt x="25" y="13"/>
                </a:lnTo>
                <a:lnTo>
                  <a:pt x="25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5" y="7"/>
                </a:lnTo>
                <a:lnTo>
                  <a:pt x="25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2" name="Freeform 668">
            <a:extLst>
              <a:ext uri="{FF2B5EF4-FFF2-40B4-BE49-F238E27FC236}">
                <a16:creationId xmlns:a16="http://schemas.microsoft.com/office/drawing/2014/main" id="{D4DFA917-A82E-8242-C38A-9C562B78428C}"/>
              </a:ext>
            </a:extLst>
          </p:cNvPr>
          <p:cNvSpPr>
            <a:spLocks/>
          </p:cNvSpPr>
          <p:nvPr/>
        </p:nvSpPr>
        <p:spPr bwMode="auto">
          <a:xfrm>
            <a:off x="2571752" y="5666317"/>
            <a:ext cx="52917" cy="55033"/>
          </a:xfrm>
          <a:custGeom>
            <a:avLst/>
            <a:gdLst>
              <a:gd name="T0" fmla="*/ 25 w 25"/>
              <a:gd name="T1" fmla="*/ 13 h 26"/>
              <a:gd name="T2" fmla="*/ 25 w 25"/>
              <a:gd name="T3" fmla="*/ 13 h 26"/>
              <a:gd name="T4" fmla="*/ 25 w 25"/>
              <a:gd name="T5" fmla="*/ 19 h 26"/>
              <a:gd name="T6" fmla="*/ 21 w 25"/>
              <a:gd name="T7" fmla="*/ 22 h 26"/>
              <a:gd name="T8" fmla="*/ 17 w 25"/>
              <a:gd name="T9" fmla="*/ 24 h 26"/>
              <a:gd name="T10" fmla="*/ 13 w 25"/>
              <a:gd name="T11" fmla="*/ 26 h 26"/>
              <a:gd name="T12" fmla="*/ 8 w 25"/>
              <a:gd name="T13" fmla="*/ 24 h 26"/>
              <a:gd name="T14" fmla="*/ 4 w 25"/>
              <a:gd name="T15" fmla="*/ 22 h 26"/>
              <a:gd name="T16" fmla="*/ 0 w 25"/>
              <a:gd name="T17" fmla="*/ 19 h 26"/>
              <a:gd name="T18" fmla="*/ 0 w 25"/>
              <a:gd name="T19" fmla="*/ 13 h 26"/>
              <a:gd name="T20" fmla="*/ 0 w 25"/>
              <a:gd name="T21" fmla="*/ 13 h 26"/>
              <a:gd name="T22" fmla="*/ 0 w 25"/>
              <a:gd name="T23" fmla="*/ 7 h 26"/>
              <a:gd name="T24" fmla="*/ 4 w 25"/>
              <a:gd name="T25" fmla="*/ 2 h 26"/>
              <a:gd name="T26" fmla="*/ 8 w 25"/>
              <a:gd name="T27" fmla="*/ 0 h 26"/>
              <a:gd name="T28" fmla="*/ 13 w 25"/>
              <a:gd name="T29" fmla="*/ 0 h 26"/>
              <a:gd name="T30" fmla="*/ 17 w 25"/>
              <a:gd name="T31" fmla="*/ 0 h 26"/>
              <a:gd name="T32" fmla="*/ 21 w 25"/>
              <a:gd name="T33" fmla="*/ 2 h 26"/>
              <a:gd name="T34" fmla="*/ 25 w 25"/>
              <a:gd name="T35" fmla="*/ 7 h 26"/>
              <a:gd name="T36" fmla="*/ 25 w 25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26">
                <a:moveTo>
                  <a:pt x="25" y="13"/>
                </a:moveTo>
                <a:lnTo>
                  <a:pt x="25" y="13"/>
                </a:lnTo>
                <a:lnTo>
                  <a:pt x="25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5" y="7"/>
                </a:lnTo>
                <a:lnTo>
                  <a:pt x="25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3" name="Freeform 669">
            <a:extLst>
              <a:ext uri="{FF2B5EF4-FFF2-40B4-BE49-F238E27FC236}">
                <a16:creationId xmlns:a16="http://schemas.microsoft.com/office/drawing/2014/main" id="{B5073239-BED6-8BF0-8C26-E4A5A5C22F60}"/>
              </a:ext>
            </a:extLst>
          </p:cNvPr>
          <p:cNvSpPr>
            <a:spLocks/>
          </p:cNvSpPr>
          <p:nvPr/>
        </p:nvSpPr>
        <p:spPr bwMode="auto">
          <a:xfrm>
            <a:off x="2772835" y="5359401"/>
            <a:ext cx="50800" cy="59267"/>
          </a:xfrm>
          <a:custGeom>
            <a:avLst/>
            <a:gdLst>
              <a:gd name="T0" fmla="*/ 24 w 24"/>
              <a:gd name="T1" fmla="*/ 13 h 28"/>
              <a:gd name="T2" fmla="*/ 24 w 24"/>
              <a:gd name="T3" fmla="*/ 13 h 28"/>
              <a:gd name="T4" fmla="*/ 24 w 24"/>
              <a:gd name="T5" fmla="*/ 21 h 28"/>
              <a:gd name="T6" fmla="*/ 21 w 24"/>
              <a:gd name="T7" fmla="*/ 24 h 28"/>
              <a:gd name="T8" fmla="*/ 17 w 24"/>
              <a:gd name="T9" fmla="*/ 26 h 28"/>
              <a:gd name="T10" fmla="*/ 11 w 24"/>
              <a:gd name="T11" fmla="*/ 28 h 28"/>
              <a:gd name="T12" fmla="*/ 8 w 24"/>
              <a:gd name="T13" fmla="*/ 26 h 28"/>
              <a:gd name="T14" fmla="*/ 4 w 24"/>
              <a:gd name="T15" fmla="*/ 24 h 28"/>
              <a:gd name="T16" fmla="*/ 0 w 24"/>
              <a:gd name="T17" fmla="*/ 21 h 28"/>
              <a:gd name="T18" fmla="*/ 0 w 24"/>
              <a:gd name="T19" fmla="*/ 13 h 28"/>
              <a:gd name="T20" fmla="*/ 0 w 24"/>
              <a:gd name="T21" fmla="*/ 13 h 28"/>
              <a:gd name="T22" fmla="*/ 0 w 24"/>
              <a:gd name="T23" fmla="*/ 8 h 28"/>
              <a:gd name="T24" fmla="*/ 4 w 24"/>
              <a:gd name="T25" fmla="*/ 4 h 28"/>
              <a:gd name="T26" fmla="*/ 8 w 24"/>
              <a:gd name="T27" fmla="*/ 2 h 28"/>
              <a:gd name="T28" fmla="*/ 11 w 24"/>
              <a:gd name="T29" fmla="*/ 0 h 28"/>
              <a:gd name="T30" fmla="*/ 17 w 24"/>
              <a:gd name="T31" fmla="*/ 2 h 28"/>
              <a:gd name="T32" fmla="*/ 21 w 24"/>
              <a:gd name="T33" fmla="*/ 4 h 28"/>
              <a:gd name="T34" fmla="*/ 24 w 24"/>
              <a:gd name="T35" fmla="*/ 8 h 28"/>
              <a:gd name="T36" fmla="*/ 24 w 24"/>
              <a:gd name="T37" fmla="*/ 1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8">
                <a:moveTo>
                  <a:pt x="24" y="13"/>
                </a:moveTo>
                <a:lnTo>
                  <a:pt x="24" y="13"/>
                </a:lnTo>
                <a:lnTo>
                  <a:pt x="24" y="21"/>
                </a:lnTo>
                <a:lnTo>
                  <a:pt x="21" y="24"/>
                </a:lnTo>
                <a:lnTo>
                  <a:pt x="17" y="26"/>
                </a:lnTo>
                <a:lnTo>
                  <a:pt x="11" y="28"/>
                </a:lnTo>
                <a:lnTo>
                  <a:pt x="8" y="26"/>
                </a:lnTo>
                <a:lnTo>
                  <a:pt x="4" y="24"/>
                </a:lnTo>
                <a:lnTo>
                  <a:pt x="0" y="21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8" y="2"/>
                </a:lnTo>
                <a:lnTo>
                  <a:pt x="11" y="0"/>
                </a:lnTo>
                <a:lnTo>
                  <a:pt x="17" y="2"/>
                </a:lnTo>
                <a:lnTo>
                  <a:pt x="21" y="4"/>
                </a:lnTo>
                <a:lnTo>
                  <a:pt x="24" y="8"/>
                </a:lnTo>
                <a:lnTo>
                  <a:pt x="24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4" name="Freeform 670">
            <a:extLst>
              <a:ext uri="{FF2B5EF4-FFF2-40B4-BE49-F238E27FC236}">
                <a16:creationId xmlns:a16="http://schemas.microsoft.com/office/drawing/2014/main" id="{5A44F7C9-C97A-D36A-6B79-17AF07A4A9ED}"/>
              </a:ext>
            </a:extLst>
          </p:cNvPr>
          <p:cNvSpPr>
            <a:spLocks/>
          </p:cNvSpPr>
          <p:nvPr/>
        </p:nvSpPr>
        <p:spPr bwMode="auto">
          <a:xfrm>
            <a:off x="2772835" y="5359401"/>
            <a:ext cx="50800" cy="59267"/>
          </a:xfrm>
          <a:custGeom>
            <a:avLst/>
            <a:gdLst>
              <a:gd name="T0" fmla="*/ 24 w 24"/>
              <a:gd name="T1" fmla="*/ 13 h 28"/>
              <a:gd name="T2" fmla="*/ 24 w 24"/>
              <a:gd name="T3" fmla="*/ 13 h 28"/>
              <a:gd name="T4" fmla="*/ 24 w 24"/>
              <a:gd name="T5" fmla="*/ 21 h 28"/>
              <a:gd name="T6" fmla="*/ 21 w 24"/>
              <a:gd name="T7" fmla="*/ 24 h 28"/>
              <a:gd name="T8" fmla="*/ 17 w 24"/>
              <a:gd name="T9" fmla="*/ 26 h 28"/>
              <a:gd name="T10" fmla="*/ 11 w 24"/>
              <a:gd name="T11" fmla="*/ 28 h 28"/>
              <a:gd name="T12" fmla="*/ 8 w 24"/>
              <a:gd name="T13" fmla="*/ 26 h 28"/>
              <a:gd name="T14" fmla="*/ 4 w 24"/>
              <a:gd name="T15" fmla="*/ 24 h 28"/>
              <a:gd name="T16" fmla="*/ 0 w 24"/>
              <a:gd name="T17" fmla="*/ 21 h 28"/>
              <a:gd name="T18" fmla="*/ 0 w 24"/>
              <a:gd name="T19" fmla="*/ 13 h 28"/>
              <a:gd name="T20" fmla="*/ 0 w 24"/>
              <a:gd name="T21" fmla="*/ 13 h 28"/>
              <a:gd name="T22" fmla="*/ 0 w 24"/>
              <a:gd name="T23" fmla="*/ 8 h 28"/>
              <a:gd name="T24" fmla="*/ 4 w 24"/>
              <a:gd name="T25" fmla="*/ 4 h 28"/>
              <a:gd name="T26" fmla="*/ 8 w 24"/>
              <a:gd name="T27" fmla="*/ 2 h 28"/>
              <a:gd name="T28" fmla="*/ 11 w 24"/>
              <a:gd name="T29" fmla="*/ 0 h 28"/>
              <a:gd name="T30" fmla="*/ 17 w 24"/>
              <a:gd name="T31" fmla="*/ 2 h 28"/>
              <a:gd name="T32" fmla="*/ 21 w 24"/>
              <a:gd name="T33" fmla="*/ 4 h 28"/>
              <a:gd name="T34" fmla="*/ 24 w 24"/>
              <a:gd name="T35" fmla="*/ 8 h 28"/>
              <a:gd name="T36" fmla="*/ 24 w 24"/>
              <a:gd name="T37" fmla="*/ 1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8">
                <a:moveTo>
                  <a:pt x="24" y="13"/>
                </a:moveTo>
                <a:lnTo>
                  <a:pt x="24" y="13"/>
                </a:lnTo>
                <a:lnTo>
                  <a:pt x="24" y="21"/>
                </a:lnTo>
                <a:lnTo>
                  <a:pt x="21" y="24"/>
                </a:lnTo>
                <a:lnTo>
                  <a:pt x="17" y="26"/>
                </a:lnTo>
                <a:lnTo>
                  <a:pt x="11" y="28"/>
                </a:lnTo>
                <a:lnTo>
                  <a:pt x="8" y="26"/>
                </a:lnTo>
                <a:lnTo>
                  <a:pt x="4" y="24"/>
                </a:lnTo>
                <a:lnTo>
                  <a:pt x="0" y="21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8" y="2"/>
                </a:lnTo>
                <a:lnTo>
                  <a:pt x="11" y="0"/>
                </a:lnTo>
                <a:lnTo>
                  <a:pt x="17" y="2"/>
                </a:lnTo>
                <a:lnTo>
                  <a:pt x="21" y="4"/>
                </a:lnTo>
                <a:lnTo>
                  <a:pt x="24" y="8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5" name="Freeform 671">
            <a:extLst>
              <a:ext uri="{FF2B5EF4-FFF2-40B4-BE49-F238E27FC236}">
                <a16:creationId xmlns:a16="http://schemas.microsoft.com/office/drawing/2014/main" id="{6E10A871-B56C-5710-DD45-30BE716B9FC1}"/>
              </a:ext>
            </a:extLst>
          </p:cNvPr>
          <p:cNvSpPr>
            <a:spLocks/>
          </p:cNvSpPr>
          <p:nvPr/>
        </p:nvSpPr>
        <p:spPr bwMode="auto">
          <a:xfrm>
            <a:off x="2872319" y="5312834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0 h 28"/>
              <a:gd name="T6" fmla="*/ 22 w 26"/>
              <a:gd name="T7" fmla="*/ 24 h 28"/>
              <a:gd name="T8" fmla="*/ 18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3 w 26"/>
              <a:gd name="T15" fmla="*/ 24 h 28"/>
              <a:gd name="T16" fmla="*/ 1 w 26"/>
              <a:gd name="T17" fmla="*/ 20 h 28"/>
              <a:gd name="T18" fmla="*/ 0 w 26"/>
              <a:gd name="T19" fmla="*/ 15 h 28"/>
              <a:gd name="T20" fmla="*/ 0 w 26"/>
              <a:gd name="T21" fmla="*/ 15 h 28"/>
              <a:gd name="T22" fmla="*/ 1 w 26"/>
              <a:gd name="T23" fmla="*/ 7 h 28"/>
              <a:gd name="T24" fmla="*/ 3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8 w 26"/>
              <a:gd name="T31" fmla="*/ 2 h 28"/>
              <a:gd name="T32" fmla="*/ 22 w 26"/>
              <a:gd name="T33" fmla="*/ 4 h 28"/>
              <a:gd name="T34" fmla="*/ 24 w 26"/>
              <a:gd name="T35" fmla="*/ 7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0"/>
                </a:lnTo>
                <a:lnTo>
                  <a:pt x="22" y="24"/>
                </a:lnTo>
                <a:lnTo>
                  <a:pt x="18" y="26"/>
                </a:lnTo>
                <a:lnTo>
                  <a:pt x="13" y="28"/>
                </a:lnTo>
                <a:lnTo>
                  <a:pt x="7" y="26"/>
                </a:lnTo>
                <a:lnTo>
                  <a:pt x="3" y="24"/>
                </a:lnTo>
                <a:lnTo>
                  <a:pt x="1" y="20"/>
                </a:lnTo>
                <a:lnTo>
                  <a:pt x="0" y="15"/>
                </a:lnTo>
                <a:lnTo>
                  <a:pt x="0" y="15"/>
                </a:lnTo>
                <a:lnTo>
                  <a:pt x="1" y="7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8" y="2"/>
                </a:lnTo>
                <a:lnTo>
                  <a:pt x="22" y="4"/>
                </a:lnTo>
                <a:lnTo>
                  <a:pt x="24" y="7"/>
                </a:lnTo>
                <a:lnTo>
                  <a:pt x="26" y="15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6" name="Freeform 672">
            <a:extLst>
              <a:ext uri="{FF2B5EF4-FFF2-40B4-BE49-F238E27FC236}">
                <a16:creationId xmlns:a16="http://schemas.microsoft.com/office/drawing/2014/main" id="{F7D4A7C8-72D3-CBA5-F4F9-DEAB790CDCE8}"/>
              </a:ext>
            </a:extLst>
          </p:cNvPr>
          <p:cNvSpPr>
            <a:spLocks/>
          </p:cNvSpPr>
          <p:nvPr/>
        </p:nvSpPr>
        <p:spPr bwMode="auto">
          <a:xfrm>
            <a:off x="2872319" y="5312834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0 h 28"/>
              <a:gd name="T6" fmla="*/ 22 w 26"/>
              <a:gd name="T7" fmla="*/ 24 h 28"/>
              <a:gd name="T8" fmla="*/ 18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3 w 26"/>
              <a:gd name="T15" fmla="*/ 24 h 28"/>
              <a:gd name="T16" fmla="*/ 1 w 26"/>
              <a:gd name="T17" fmla="*/ 20 h 28"/>
              <a:gd name="T18" fmla="*/ 0 w 26"/>
              <a:gd name="T19" fmla="*/ 15 h 28"/>
              <a:gd name="T20" fmla="*/ 0 w 26"/>
              <a:gd name="T21" fmla="*/ 15 h 28"/>
              <a:gd name="T22" fmla="*/ 1 w 26"/>
              <a:gd name="T23" fmla="*/ 7 h 28"/>
              <a:gd name="T24" fmla="*/ 3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8 w 26"/>
              <a:gd name="T31" fmla="*/ 2 h 28"/>
              <a:gd name="T32" fmla="*/ 22 w 26"/>
              <a:gd name="T33" fmla="*/ 4 h 28"/>
              <a:gd name="T34" fmla="*/ 24 w 26"/>
              <a:gd name="T35" fmla="*/ 7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0"/>
                </a:lnTo>
                <a:lnTo>
                  <a:pt x="22" y="24"/>
                </a:lnTo>
                <a:lnTo>
                  <a:pt x="18" y="26"/>
                </a:lnTo>
                <a:lnTo>
                  <a:pt x="13" y="28"/>
                </a:lnTo>
                <a:lnTo>
                  <a:pt x="7" y="26"/>
                </a:lnTo>
                <a:lnTo>
                  <a:pt x="3" y="24"/>
                </a:lnTo>
                <a:lnTo>
                  <a:pt x="1" y="20"/>
                </a:lnTo>
                <a:lnTo>
                  <a:pt x="0" y="15"/>
                </a:lnTo>
                <a:lnTo>
                  <a:pt x="0" y="15"/>
                </a:lnTo>
                <a:lnTo>
                  <a:pt x="1" y="7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8" y="2"/>
                </a:lnTo>
                <a:lnTo>
                  <a:pt x="22" y="4"/>
                </a:lnTo>
                <a:lnTo>
                  <a:pt x="24" y="7"/>
                </a:lnTo>
                <a:lnTo>
                  <a:pt x="26" y="15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7" name="Freeform 673">
            <a:extLst>
              <a:ext uri="{FF2B5EF4-FFF2-40B4-BE49-F238E27FC236}">
                <a16:creationId xmlns:a16="http://schemas.microsoft.com/office/drawing/2014/main" id="{AFF4D125-95E0-DFA0-B574-279D20916C29}"/>
              </a:ext>
            </a:extLst>
          </p:cNvPr>
          <p:cNvSpPr>
            <a:spLocks/>
          </p:cNvSpPr>
          <p:nvPr/>
        </p:nvSpPr>
        <p:spPr bwMode="auto">
          <a:xfrm>
            <a:off x="2973919" y="5185834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3 h 26"/>
              <a:gd name="T8" fmla="*/ 17 w 24"/>
              <a:gd name="T9" fmla="*/ 26 h 26"/>
              <a:gd name="T10" fmla="*/ 11 w 24"/>
              <a:gd name="T11" fmla="*/ 26 h 26"/>
              <a:gd name="T12" fmla="*/ 7 w 24"/>
              <a:gd name="T13" fmla="*/ 26 h 26"/>
              <a:gd name="T14" fmla="*/ 4 w 24"/>
              <a:gd name="T15" fmla="*/ 23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8 h 26"/>
              <a:gd name="T24" fmla="*/ 4 w 24"/>
              <a:gd name="T25" fmla="*/ 4 h 26"/>
              <a:gd name="T26" fmla="*/ 7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0 w 24"/>
              <a:gd name="T33" fmla="*/ 4 h 26"/>
              <a:gd name="T34" fmla="*/ 24 w 24"/>
              <a:gd name="T35" fmla="*/ 8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3"/>
                </a:lnTo>
                <a:lnTo>
                  <a:pt x="17" y="26"/>
                </a:lnTo>
                <a:lnTo>
                  <a:pt x="11" y="26"/>
                </a:lnTo>
                <a:lnTo>
                  <a:pt x="7" y="26"/>
                </a:lnTo>
                <a:lnTo>
                  <a:pt x="4" y="23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0"/>
                </a:lnTo>
                <a:lnTo>
                  <a:pt x="11" y="0"/>
                </a:lnTo>
                <a:lnTo>
                  <a:pt x="17" y="0"/>
                </a:lnTo>
                <a:lnTo>
                  <a:pt x="20" y="4"/>
                </a:lnTo>
                <a:lnTo>
                  <a:pt x="24" y="8"/>
                </a:lnTo>
                <a:lnTo>
                  <a:pt x="24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8" name="Freeform 674">
            <a:extLst>
              <a:ext uri="{FF2B5EF4-FFF2-40B4-BE49-F238E27FC236}">
                <a16:creationId xmlns:a16="http://schemas.microsoft.com/office/drawing/2014/main" id="{939FB03F-2131-6DE4-B1B0-FC41D99E58C3}"/>
              </a:ext>
            </a:extLst>
          </p:cNvPr>
          <p:cNvSpPr>
            <a:spLocks/>
          </p:cNvSpPr>
          <p:nvPr/>
        </p:nvSpPr>
        <p:spPr bwMode="auto">
          <a:xfrm>
            <a:off x="2973919" y="5185834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3 h 26"/>
              <a:gd name="T8" fmla="*/ 17 w 24"/>
              <a:gd name="T9" fmla="*/ 26 h 26"/>
              <a:gd name="T10" fmla="*/ 11 w 24"/>
              <a:gd name="T11" fmla="*/ 26 h 26"/>
              <a:gd name="T12" fmla="*/ 7 w 24"/>
              <a:gd name="T13" fmla="*/ 26 h 26"/>
              <a:gd name="T14" fmla="*/ 4 w 24"/>
              <a:gd name="T15" fmla="*/ 23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8 h 26"/>
              <a:gd name="T24" fmla="*/ 4 w 24"/>
              <a:gd name="T25" fmla="*/ 4 h 26"/>
              <a:gd name="T26" fmla="*/ 7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0 w 24"/>
              <a:gd name="T33" fmla="*/ 4 h 26"/>
              <a:gd name="T34" fmla="*/ 24 w 24"/>
              <a:gd name="T35" fmla="*/ 8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3"/>
                </a:lnTo>
                <a:lnTo>
                  <a:pt x="17" y="26"/>
                </a:lnTo>
                <a:lnTo>
                  <a:pt x="11" y="26"/>
                </a:lnTo>
                <a:lnTo>
                  <a:pt x="7" y="26"/>
                </a:lnTo>
                <a:lnTo>
                  <a:pt x="4" y="23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0"/>
                </a:lnTo>
                <a:lnTo>
                  <a:pt x="11" y="0"/>
                </a:lnTo>
                <a:lnTo>
                  <a:pt x="17" y="0"/>
                </a:lnTo>
                <a:lnTo>
                  <a:pt x="20" y="4"/>
                </a:lnTo>
                <a:lnTo>
                  <a:pt x="24" y="8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9" name="Freeform 675">
            <a:extLst>
              <a:ext uri="{FF2B5EF4-FFF2-40B4-BE49-F238E27FC236}">
                <a16:creationId xmlns:a16="http://schemas.microsoft.com/office/drawing/2014/main" id="{8C4A3673-73EE-8E08-E66E-42A72ED10E64}"/>
              </a:ext>
            </a:extLst>
          </p:cNvPr>
          <p:cNvSpPr>
            <a:spLocks/>
          </p:cNvSpPr>
          <p:nvPr/>
        </p:nvSpPr>
        <p:spPr bwMode="auto">
          <a:xfrm>
            <a:off x="30712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2"/>
                </a:lnTo>
                <a:lnTo>
                  <a:pt x="19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3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0" name="Freeform 676">
            <a:extLst>
              <a:ext uri="{FF2B5EF4-FFF2-40B4-BE49-F238E27FC236}">
                <a16:creationId xmlns:a16="http://schemas.microsoft.com/office/drawing/2014/main" id="{E631C55D-9981-A405-FD79-5C86155E3154}"/>
              </a:ext>
            </a:extLst>
          </p:cNvPr>
          <p:cNvSpPr>
            <a:spLocks/>
          </p:cNvSpPr>
          <p:nvPr/>
        </p:nvSpPr>
        <p:spPr bwMode="auto">
          <a:xfrm>
            <a:off x="30712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2"/>
                </a:lnTo>
                <a:lnTo>
                  <a:pt x="19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3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1" name="Freeform 677">
            <a:extLst>
              <a:ext uri="{FF2B5EF4-FFF2-40B4-BE49-F238E27FC236}">
                <a16:creationId xmlns:a16="http://schemas.microsoft.com/office/drawing/2014/main" id="{D5951208-7051-5DFA-66F3-22D118E0FD9D}"/>
              </a:ext>
            </a:extLst>
          </p:cNvPr>
          <p:cNvSpPr>
            <a:spLocks/>
          </p:cNvSpPr>
          <p:nvPr/>
        </p:nvSpPr>
        <p:spPr bwMode="auto">
          <a:xfrm>
            <a:off x="32723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9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9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2" name="Freeform 678">
            <a:extLst>
              <a:ext uri="{FF2B5EF4-FFF2-40B4-BE49-F238E27FC236}">
                <a16:creationId xmlns:a16="http://schemas.microsoft.com/office/drawing/2014/main" id="{AA2BA758-9FE9-28D1-2606-5A341BE3C8CA}"/>
              </a:ext>
            </a:extLst>
          </p:cNvPr>
          <p:cNvSpPr>
            <a:spLocks/>
          </p:cNvSpPr>
          <p:nvPr/>
        </p:nvSpPr>
        <p:spPr bwMode="auto">
          <a:xfrm>
            <a:off x="32723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9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9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3" name="Freeform 679">
            <a:extLst>
              <a:ext uri="{FF2B5EF4-FFF2-40B4-BE49-F238E27FC236}">
                <a16:creationId xmlns:a16="http://schemas.microsoft.com/office/drawing/2014/main" id="{5E7EDFF8-6A2B-1A11-7C62-4ED432D3C130}"/>
              </a:ext>
            </a:extLst>
          </p:cNvPr>
          <p:cNvSpPr>
            <a:spLocks/>
          </p:cNvSpPr>
          <p:nvPr/>
        </p:nvSpPr>
        <p:spPr bwMode="auto">
          <a:xfrm>
            <a:off x="3473452" y="5179484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0 h 28"/>
              <a:gd name="T6" fmla="*/ 22 w 26"/>
              <a:gd name="T7" fmla="*/ 24 h 28"/>
              <a:gd name="T8" fmla="*/ 18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3 w 26"/>
              <a:gd name="T15" fmla="*/ 24 h 28"/>
              <a:gd name="T16" fmla="*/ 2 w 26"/>
              <a:gd name="T17" fmla="*/ 20 h 28"/>
              <a:gd name="T18" fmla="*/ 0 w 26"/>
              <a:gd name="T19" fmla="*/ 15 h 28"/>
              <a:gd name="T20" fmla="*/ 0 w 26"/>
              <a:gd name="T21" fmla="*/ 15 h 28"/>
              <a:gd name="T22" fmla="*/ 2 w 26"/>
              <a:gd name="T23" fmla="*/ 7 h 28"/>
              <a:gd name="T24" fmla="*/ 3 w 26"/>
              <a:gd name="T25" fmla="*/ 3 h 28"/>
              <a:gd name="T26" fmla="*/ 7 w 26"/>
              <a:gd name="T27" fmla="*/ 2 h 28"/>
              <a:gd name="T28" fmla="*/ 13 w 26"/>
              <a:gd name="T29" fmla="*/ 0 h 28"/>
              <a:gd name="T30" fmla="*/ 18 w 26"/>
              <a:gd name="T31" fmla="*/ 2 h 28"/>
              <a:gd name="T32" fmla="*/ 22 w 26"/>
              <a:gd name="T33" fmla="*/ 3 h 28"/>
              <a:gd name="T34" fmla="*/ 24 w 26"/>
              <a:gd name="T35" fmla="*/ 7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0"/>
                </a:lnTo>
                <a:lnTo>
                  <a:pt x="22" y="24"/>
                </a:lnTo>
                <a:lnTo>
                  <a:pt x="18" y="26"/>
                </a:lnTo>
                <a:lnTo>
                  <a:pt x="13" y="28"/>
                </a:lnTo>
                <a:lnTo>
                  <a:pt x="7" y="26"/>
                </a:lnTo>
                <a:lnTo>
                  <a:pt x="3" y="24"/>
                </a:lnTo>
                <a:lnTo>
                  <a:pt x="2" y="20"/>
                </a:lnTo>
                <a:lnTo>
                  <a:pt x="0" y="15"/>
                </a:lnTo>
                <a:lnTo>
                  <a:pt x="0" y="15"/>
                </a:lnTo>
                <a:lnTo>
                  <a:pt x="2" y="7"/>
                </a:lnTo>
                <a:lnTo>
                  <a:pt x="3" y="3"/>
                </a:lnTo>
                <a:lnTo>
                  <a:pt x="7" y="2"/>
                </a:lnTo>
                <a:lnTo>
                  <a:pt x="13" y="0"/>
                </a:lnTo>
                <a:lnTo>
                  <a:pt x="18" y="2"/>
                </a:lnTo>
                <a:lnTo>
                  <a:pt x="22" y="3"/>
                </a:lnTo>
                <a:lnTo>
                  <a:pt x="24" y="7"/>
                </a:lnTo>
                <a:lnTo>
                  <a:pt x="26" y="15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4" name="Freeform 680">
            <a:extLst>
              <a:ext uri="{FF2B5EF4-FFF2-40B4-BE49-F238E27FC236}">
                <a16:creationId xmlns:a16="http://schemas.microsoft.com/office/drawing/2014/main" id="{0B32FF55-6057-C391-FEE0-06B3D886556D}"/>
              </a:ext>
            </a:extLst>
          </p:cNvPr>
          <p:cNvSpPr>
            <a:spLocks/>
          </p:cNvSpPr>
          <p:nvPr/>
        </p:nvSpPr>
        <p:spPr bwMode="auto">
          <a:xfrm>
            <a:off x="3473452" y="5179484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0 h 28"/>
              <a:gd name="T6" fmla="*/ 22 w 26"/>
              <a:gd name="T7" fmla="*/ 24 h 28"/>
              <a:gd name="T8" fmla="*/ 18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3 w 26"/>
              <a:gd name="T15" fmla="*/ 24 h 28"/>
              <a:gd name="T16" fmla="*/ 2 w 26"/>
              <a:gd name="T17" fmla="*/ 20 h 28"/>
              <a:gd name="T18" fmla="*/ 0 w 26"/>
              <a:gd name="T19" fmla="*/ 15 h 28"/>
              <a:gd name="T20" fmla="*/ 0 w 26"/>
              <a:gd name="T21" fmla="*/ 15 h 28"/>
              <a:gd name="T22" fmla="*/ 2 w 26"/>
              <a:gd name="T23" fmla="*/ 7 h 28"/>
              <a:gd name="T24" fmla="*/ 3 w 26"/>
              <a:gd name="T25" fmla="*/ 3 h 28"/>
              <a:gd name="T26" fmla="*/ 7 w 26"/>
              <a:gd name="T27" fmla="*/ 2 h 28"/>
              <a:gd name="T28" fmla="*/ 13 w 26"/>
              <a:gd name="T29" fmla="*/ 0 h 28"/>
              <a:gd name="T30" fmla="*/ 18 w 26"/>
              <a:gd name="T31" fmla="*/ 2 h 28"/>
              <a:gd name="T32" fmla="*/ 22 w 26"/>
              <a:gd name="T33" fmla="*/ 3 h 28"/>
              <a:gd name="T34" fmla="*/ 24 w 26"/>
              <a:gd name="T35" fmla="*/ 7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0"/>
                </a:lnTo>
                <a:lnTo>
                  <a:pt x="22" y="24"/>
                </a:lnTo>
                <a:lnTo>
                  <a:pt x="18" y="26"/>
                </a:lnTo>
                <a:lnTo>
                  <a:pt x="13" y="28"/>
                </a:lnTo>
                <a:lnTo>
                  <a:pt x="7" y="26"/>
                </a:lnTo>
                <a:lnTo>
                  <a:pt x="3" y="24"/>
                </a:lnTo>
                <a:lnTo>
                  <a:pt x="2" y="20"/>
                </a:lnTo>
                <a:lnTo>
                  <a:pt x="0" y="15"/>
                </a:lnTo>
                <a:lnTo>
                  <a:pt x="0" y="15"/>
                </a:lnTo>
                <a:lnTo>
                  <a:pt x="2" y="7"/>
                </a:lnTo>
                <a:lnTo>
                  <a:pt x="3" y="3"/>
                </a:lnTo>
                <a:lnTo>
                  <a:pt x="7" y="2"/>
                </a:lnTo>
                <a:lnTo>
                  <a:pt x="13" y="0"/>
                </a:lnTo>
                <a:lnTo>
                  <a:pt x="18" y="2"/>
                </a:lnTo>
                <a:lnTo>
                  <a:pt x="22" y="3"/>
                </a:lnTo>
                <a:lnTo>
                  <a:pt x="24" y="7"/>
                </a:lnTo>
                <a:lnTo>
                  <a:pt x="26" y="15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5" name="Freeform 681">
            <a:extLst>
              <a:ext uri="{FF2B5EF4-FFF2-40B4-BE49-F238E27FC236}">
                <a16:creationId xmlns:a16="http://schemas.microsoft.com/office/drawing/2014/main" id="{B05AEC14-E096-E71B-4F27-74933F138AEC}"/>
              </a:ext>
            </a:extLst>
          </p:cNvPr>
          <p:cNvSpPr>
            <a:spLocks/>
          </p:cNvSpPr>
          <p:nvPr/>
        </p:nvSpPr>
        <p:spPr bwMode="auto">
          <a:xfrm>
            <a:off x="3672419" y="50736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8 h 26"/>
              <a:gd name="T6" fmla="*/ 23 w 26"/>
              <a:gd name="T7" fmla="*/ 22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1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1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8"/>
                </a:lnTo>
                <a:lnTo>
                  <a:pt x="23" y="22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1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3" y="1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6" name="Freeform 682">
            <a:extLst>
              <a:ext uri="{FF2B5EF4-FFF2-40B4-BE49-F238E27FC236}">
                <a16:creationId xmlns:a16="http://schemas.microsoft.com/office/drawing/2014/main" id="{A9C1AB25-DBF9-E797-7E70-D6D3430367AC}"/>
              </a:ext>
            </a:extLst>
          </p:cNvPr>
          <p:cNvSpPr>
            <a:spLocks/>
          </p:cNvSpPr>
          <p:nvPr/>
        </p:nvSpPr>
        <p:spPr bwMode="auto">
          <a:xfrm>
            <a:off x="3672419" y="50736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8 h 26"/>
              <a:gd name="T6" fmla="*/ 23 w 26"/>
              <a:gd name="T7" fmla="*/ 22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1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1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8"/>
                </a:lnTo>
                <a:lnTo>
                  <a:pt x="23" y="22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1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3" y="1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7" name="Freeform 683">
            <a:extLst>
              <a:ext uri="{FF2B5EF4-FFF2-40B4-BE49-F238E27FC236}">
                <a16:creationId xmlns:a16="http://schemas.microsoft.com/office/drawing/2014/main" id="{20AF35AB-4C73-B71C-AE77-D86AA4E2CAC5}"/>
              </a:ext>
            </a:extLst>
          </p:cNvPr>
          <p:cNvSpPr>
            <a:spLocks/>
          </p:cNvSpPr>
          <p:nvPr/>
        </p:nvSpPr>
        <p:spPr bwMode="auto">
          <a:xfrm>
            <a:off x="3873502" y="52620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3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3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8" name="Freeform 684">
            <a:extLst>
              <a:ext uri="{FF2B5EF4-FFF2-40B4-BE49-F238E27FC236}">
                <a16:creationId xmlns:a16="http://schemas.microsoft.com/office/drawing/2014/main" id="{835A13D0-12A4-2730-811D-14233A042DC9}"/>
              </a:ext>
            </a:extLst>
          </p:cNvPr>
          <p:cNvSpPr>
            <a:spLocks/>
          </p:cNvSpPr>
          <p:nvPr/>
        </p:nvSpPr>
        <p:spPr bwMode="auto">
          <a:xfrm>
            <a:off x="3873502" y="52620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3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3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9" name="Freeform 685">
            <a:extLst>
              <a:ext uri="{FF2B5EF4-FFF2-40B4-BE49-F238E27FC236}">
                <a16:creationId xmlns:a16="http://schemas.microsoft.com/office/drawing/2014/main" id="{D5629EE5-12E2-1AF4-66C7-DB1F17061DB3}"/>
              </a:ext>
            </a:extLst>
          </p:cNvPr>
          <p:cNvSpPr>
            <a:spLocks/>
          </p:cNvSpPr>
          <p:nvPr/>
        </p:nvSpPr>
        <p:spPr bwMode="auto">
          <a:xfrm>
            <a:off x="4074585" y="52895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3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3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0" name="Freeform 686">
            <a:extLst>
              <a:ext uri="{FF2B5EF4-FFF2-40B4-BE49-F238E27FC236}">
                <a16:creationId xmlns:a16="http://schemas.microsoft.com/office/drawing/2014/main" id="{0F8B4665-5532-4315-CA12-3A654EEF8C6C}"/>
              </a:ext>
            </a:extLst>
          </p:cNvPr>
          <p:cNvSpPr>
            <a:spLocks/>
          </p:cNvSpPr>
          <p:nvPr/>
        </p:nvSpPr>
        <p:spPr bwMode="auto">
          <a:xfrm>
            <a:off x="4074585" y="52895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3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3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1" name="Freeform 687">
            <a:extLst>
              <a:ext uri="{FF2B5EF4-FFF2-40B4-BE49-F238E27FC236}">
                <a16:creationId xmlns:a16="http://schemas.microsoft.com/office/drawing/2014/main" id="{3B23C00B-2973-6C4A-5BAE-7CDFDC3A7AF3}"/>
              </a:ext>
            </a:extLst>
          </p:cNvPr>
          <p:cNvSpPr>
            <a:spLocks/>
          </p:cNvSpPr>
          <p:nvPr/>
        </p:nvSpPr>
        <p:spPr bwMode="auto">
          <a:xfrm>
            <a:off x="42756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2" name="Freeform 688">
            <a:extLst>
              <a:ext uri="{FF2B5EF4-FFF2-40B4-BE49-F238E27FC236}">
                <a16:creationId xmlns:a16="http://schemas.microsoft.com/office/drawing/2014/main" id="{EEC57D08-04D4-4874-393D-6A208C803E53}"/>
              </a:ext>
            </a:extLst>
          </p:cNvPr>
          <p:cNvSpPr>
            <a:spLocks/>
          </p:cNvSpPr>
          <p:nvPr/>
        </p:nvSpPr>
        <p:spPr bwMode="auto">
          <a:xfrm>
            <a:off x="42756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3" name="Freeform 689">
            <a:extLst>
              <a:ext uri="{FF2B5EF4-FFF2-40B4-BE49-F238E27FC236}">
                <a16:creationId xmlns:a16="http://schemas.microsoft.com/office/drawing/2014/main" id="{4B2093D2-39C9-53C0-0ED3-CB48AB32295C}"/>
              </a:ext>
            </a:extLst>
          </p:cNvPr>
          <p:cNvSpPr>
            <a:spLocks/>
          </p:cNvSpPr>
          <p:nvPr/>
        </p:nvSpPr>
        <p:spPr bwMode="auto">
          <a:xfrm>
            <a:off x="4474635" y="52302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8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8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4" name="Freeform 690">
            <a:extLst>
              <a:ext uri="{FF2B5EF4-FFF2-40B4-BE49-F238E27FC236}">
                <a16:creationId xmlns:a16="http://schemas.microsoft.com/office/drawing/2014/main" id="{0DE6CA1C-F017-0419-069F-1E210667AF83}"/>
              </a:ext>
            </a:extLst>
          </p:cNvPr>
          <p:cNvSpPr>
            <a:spLocks/>
          </p:cNvSpPr>
          <p:nvPr/>
        </p:nvSpPr>
        <p:spPr bwMode="auto">
          <a:xfrm>
            <a:off x="4474635" y="52302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8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8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5" name="Freeform 691">
            <a:extLst>
              <a:ext uri="{FF2B5EF4-FFF2-40B4-BE49-F238E27FC236}">
                <a16:creationId xmlns:a16="http://schemas.microsoft.com/office/drawing/2014/main" id="{180861A8-8299-607E-BAB4-8B008DD0457C}"/>
              </a:ext>
            </a:extLst>
          </p:cNvPr>
          <p:cNvSpPr>
            <a:spLocks/>
          </p:cNvSpPr>
          <p:nvPr/>
        </p:nvSpPr>
        <p:spPr bwMode="auto">
          <a:xfrm>
            <a:off x="4675719" y="51710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4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4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6" name="Freeform 692">
            <a:extLst>
              <a:ext uri="{FF2B5EF4-FFF2-40B4-BE49-F238E27FC236}">
                <a16:creationId xmlns:a16="http://schemas.microsoft.com/office/drawing/2014/main" id="{D3DA9BC6-35B0-60AE-76FD-121E2C1B5BCA}"/>
              </a:ext>
            </a:extLst>
          </p:cNvPr>
          <p:cNvSpPr>
            <a:spLocks/>
          </p:cNvSpPr>
          <p:nvPr/>
        </p:nvSpPr>
        <p:spPr bwMode="auto">
          <a:xfrm>
            <a:off x="4675719" y="51710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4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4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7" name="Freeform 693">
            <a:extLst>
              <a:ext uri="{FF2B5EF4-FFF2-40B4-BE49-F238E27FC236}">
                <a16:creationId xmlns:a16="http://schemas.microsoft.com/office/drawing/2014/main" id="{158532F7-0C69-1B7D-1125-FD5C81D5215B}"/>
              </a:ext>
            </a:extLst>
          </p:cNvPr>
          <p:cNvSpPr>
            <a:spLocks/>
          </p:cNvSpPr>
          <p:nvPr/>
        </p:nvSpPr>
        <p:spPr bwMode="auto">
          <a:xfrm>
            <a:off x="4876802" y="51477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8" name="Freeform 694">
            <a:extLst>
              <a:ext uri="{FF2B5EF4-FFF2-40B4-BE49-F238E27FC236}">
                <a16:creationId xmlns:a16="http://schemas.microsoft.com/office/drawing/2014/main" id="{70946647-5D9B-DE75-FF54-8F2BAE53C7FA}"/>
              </a:ext>
            </a:extLst>
          </p:cNvPr>
          <p:cNvSpPr>
            <a:spLocks/>
          </p:cNvSpPr>
          <p:nvPr/>
        </p:nvSpPr>
        <p:spPr bwMode="auto">
          <a:xfrm>
            <a:off x="4876802" y="51477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9" name="Freeform 695">
            <a:extLst>
              <a:ext uri="{FF2B5EF4-FFF2-40B4-BE49-F238E27FC236}">
                <a16:creationId xmlns:a16="http://schemas.microsoft.com/office/drawing/2014/main" id="{F44DADEC-FCAD-86EC-0F8B-4568912697EF}"/>
              </a:ext>
            </a:extLst>
          </p:cNvPr>
          <p:cNvSpPr>
            <a:spLocks/>
          </p:cNvSpPr>
          <p:nvPr/>
        </p:nvSpPr>
        <p:spPr bwMode="auto">
          <a:xfrm>
            <a:off x="5077885" y="51477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1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1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1" y="18"/>
                </a:lnTo>
                <a:lnTo>
                  <a:pt x="0" y="13"/>
                </a:lnTo>
                <a:lnTo>
                  <a:pt x="0" y="13"/>
                </a:lnTo>
                <a:lnTo>
                  <a:pt x="1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0" name="Freeform 696">
            <a:extLst>
              <a:ext uri="{FF2B5EF4-FFF2-40B4-BE49-F238E27FC236}">
                <a16:creationId xmlns:a16="http://schemas.microsoft.com/office/drawing/2014/main" id="{7010363A-890F-A0BA-0E0A-E9F685B7FEDC}"/>
              </a:ext>
            </a:extLst>
          </p:cNvPr>
          <p:cNvSpPr>
            <a:spLocks/>
          </p:cNvSpPr>
          <p:nvPr/>
        </p:nvSpPr>
        <p:spPr bwMode="auto">
          <a:xfrm>
            <a:off x="5077885" y="51477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1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1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1" y="18"/>
                </a:lnTo>
                <a:lnTo>
                  <a:pt x="0" y="13"/>
                </a:lnTo>
                <a:lnTo>
                  <a:pt x="0" y="13"/>
                </a:lnTo>
                <a:lnTo>
                  <a:pt x="1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1" name="Freeform 697">
            <a:extLst>
              <a:ext uri="{FF2B5EF4-FFF2-40B4-BE49-F238E27FC236}">
                <a16:creationId xmlns:a16="http://schemas.microsoft.com/office/drawing/2014/main" id="{98461446-C76B-39FE-BAA5-CB5BB19A578B}"/>
              </a:ext>
            </a:extLst>
          </p:cNvPr>
          <p:cNvSpPr>
            <a:spLocks/>
          </p:cNvSpPr>
          <p:nvPr/>
        </p:nvSpPr>
        <p:spPr bwMode="auto">
          <a:xfrm>
            <a:off x="5276852" y="5262034"/>
            <a:ext cx="55033" cy="59267"/>
          </a:xfrm>
          <a:custGeom>
            <a:avLst/>
            <a:gdLst>
              <a:gd name="T0" fmla="*/ 26 w 26"/>
              <a:gd name="T1" fmla="*/ 13 h 28"/>
              <a:gd name="T2" fmla="*/ 26 w 26"/>
              <a:gd name="T3" fmla="*/ 13 h 28"/>
              <a:gd name="T4" fmla="*/ 24 w 26"/>
              <a:gd name="T5" fmla="*/ 18 h 28"/>
              <a:gd name="T6" fmla="*/ 23 w 26"/>
              <a:gd name="T7" fmla="*/ 24 h 28"/>
              <a:gd name="T8" fmla="*/ 17 w 26"/>
              <a:gd name="T9" fmla="*/ 26 h 28"/>
              <a:gd name="T10" fmla="*/ 13 w 26"/>
              <a:gd name="T11" fmla="*/ 28 h 28"/>
              <a:gd name="T12" fmla="*/ 8 w 26"/>
              <a:gd name="T13" fmla="*/ 26 h 28"/>
              <a:gd name="T14" fmla="*/ 4 w 26"/>
              <a:gd name="T15" fmla="*/ 24 h 28"/>
              <a:gd name="T16" fmla="*/ 2 w 26"/>
              <a:gd name="T17" fmla="*/ 18 h 28"/>
              <a:gd name="T18" fmla="*/ 0 w 26"/>
              <a:gd name="T19" fmla="*/ 13 h 28"/>
              <a:gd name="T20" fmla="*/ 0 w 26"/>
              <a:gd name="T21" fmla="*/ 13 h 28"/>
              <a:gd name="T22" fmla="*/ 2 w 26"/>
              <a:gd name="T23" fmla="*/ 7 h 28"/>
              <a:gd name="T24" fmla="*/ 4 w 26"/>
              <a:gd name="T25" fmla="*/ 3 h 28"/>
              <a:gd name="T26" fmla="*/ 8 w 26"/>
              <a:gd name="T27" fmla="*/ 2 h 28"/>
              <a:gd name="T28" fmla="*/ 13 w 26"/>
              <a:gd name="T29" fmla="*/ 0 h 28"/>
              <a:gd name="T30" fmla="*/ 17 w 26"/>
              <a:gd name="T31" fmla="*/ 2 h 28"/>
              <a:gd name="T32" fmla="*/ 23 w 26"/>
              <a:gd name="T33" fmla="*/ 3 h 28"/>
              <a:gd name="T34" fmla="*/ 24 w 26"/>
              <a:gd name="T35" fmla="*/ 7 h 28"/>
              <a:gd name="T36" fmla="*/ 26 w 26"/>
              <a:gd name="T37" fmla="*/ 1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3" y="24"/>
                </a:lnTo>
                <a:lnTo>
                  <a:pt x="17" y="26"/>
                </a:lnTo>
                <a:lnTo>
                  <a:pt x="13" y="28"/>
                </a:lnTo>
                <a:lnTo>
                  <a:pt x="8" y="26"/>
                </a:lnTo>
                <a:lnTo>
                  <a:pt x="4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3"/>
                </a:lnTo>
                <a:lnTo>
                  <a:pt x="8" y="2"/>
                </a:lnTo>
                <a:lnTo>
                  <a:pt x="13" y="0"/>
                </a:lnTo>
                <a:lnTo>
                  <a:pt x="17" y="2"/>
                </a:lnTo>
                <a:lnTo>
                  <a:pt x="23" y="3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2" name="Freeform 698">
            <a:extLst>
              <a:ext uri="{FF2B5EF4-FFF2-40B4-BE49-F238E27FC236}">
                <a16:creationId xmlns:a16="http://schemas.microsoft.com/office/drawing/2014/main" id="{21620430-9101-0349-9597-3BBA1AA8A080}"/>
              </a:ext>
            </a:extLst>
          </p:cNvPr>
          <p:cNvSpPr>
            <a:spLocks/>
          </p:cNvSpPr>
          <p:nvPr/>
        </p:nvSpPr>
        <p:spPr bwMode="auto">
          <a:xfrm>
            <a:off x="5276852" y="5262034"/>
            <a:ext cx="55033" cy="59267"/>
          </a:xfrm>
          <a:custGeom>
            <a:avLst/>
            <a:gdLst>
              <a:gd name="T0" fmla="*/ 26 w 26"/>
              <a:gd name="T1" fmla="*/ 13 h 28"/>
              <a:gd name="T2" fmla="*/ 26 w 26"/>
              <a:gd name="T3" fmla="*/ 13 h 28"/>
              <a:gd name="T4" fmla="*/ 24 w 26"/>
              <a:gd name="T5" fmla="*/ 18 h 28"/>
              <a:gd name="T6" fmla="*/ 23 w 26"/>
              <a:gd name="T7" fmla="*/ 24 h 28"/>
              <a:gd name="T8" fmla="*/ 17 w 26"/>
              <a:gd name="T9" fmla="*/ 26 h 28"/>
              <a:gd name="T10" fmla="*/ 13 w 26"/>
              <a:gd name="T11" fmla="*/ 28 h 28"/>
              <a:gd name="T12" fmla="*/ 8 w 26"/>
              <a:gd name="T13" fmla="*/ 26 h 28"/>
              <a:gd name="T14" fmla="*/ 4 w 26"/>
              <a:gd name="T15" fmla="*/ 24 h 28"/>
              <a:gd name="T16" fmla="*/ 2 w 26"/>
              <a:gd name="T17" fmla="*/ 18 h 28"/>
              <a:gd name="T18" fmla="*/ 0 w 26"/>
              <a:gd name="T19" fmla="*/ 13 h 28"/>
              <a:gd name="T20" fmla="*/ 0 w 26"/>
              <a:gd name="T21" fmla="*/ 13 h 28"/>
              <a:gd name="T22" fmla="*/ 2 w 26"/>
              <a:gd name="T23" fmla="*/ 7 h 28"/>
              <a:gd name="T24" fmla="*/ 4 w 26"/>
              <a:gd name="T25" fmla="*/ 3 h 28"/>
              <a:gd name="T26" fmla="*/ 8 w 26"/>
              <a:gd name="T27" fmla="*/ 2 h 28"/>
              <a:gd name="T28" fmla="*/ 13 w 26"/>
              <a:gd name="T29" fmla="*/ 0 h 28"/>
              <a:gd name="T30" fmla="*/ 17 w 26"/>
              <a:gd name="T31" fmla="*/ 2 h 28"/>
              <a:gd name="T32" fmla="*/ 23 w 26"/>
              <a:gd name="T33" fmla="*/ 3 h 28"/>
              <a:gd name="T34" fmla="*/ 24 w 26"/>
              <a:gd name="T35" fmla="*/ 7 h 28"/>
              <a:gd name="T36" fmla="*/ 26 w 26"/>
              <a:gd name="T37" fmla="*/ 1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3" y="24"/>
                </a:lnTo>
                <a:lnTo>
                  <a:pt x="17" y="26"/>
                </a:lnTo>
                <a:lnTo>
                  <a:pt x="13" y="28"/>
                </a:lnTo>
                <a:lnTo>
                  <a:pt x="8" y="26"/>
                </a:lnTo>
                <a:lnTo>
                  <a:pt x="4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3"/>
                </a:lnTo>
                <a:lnTo>
                  <a:pt x="8" y="2"/>
                </a:lnTo>
                <a:lnTo>
                  <a:pt x="13" y="0"/>
                </a:lnTo>
                <a:lnTo>
                  <a:pt x="17" y="2"/>
                </a:lnTo>
                <a:lnTo>
                  <a:pt x="23" y="3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3" name="Freeform 699">
            <a:extLst>
              <a:ext uri="{FF2B5EF4-FFF2-40B4-BE49-F238E27FC236}">
                <a16:creationId xmlns:a16="http://schemas.microsoft.com/office/drawing/2014/main" id="{49315E31-E78A-183F-9B18-5B32A5FB351F}"/>
              </a:ext>
            </a:extLst>
          </p:cNvPr>
          <p:cNvSpPr>
            <a:spLocks/>
          </p:cNvSpPr>
          <p:nvPr/>
        </p:nvSpPr>
        <p:spPr bwMode="auto">
          <a:xfrm>
            <a:off x="5477935" y="53594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4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4" name="Freeform 700">
            <a:extLst>
              <a:ext uri="{FF2B5EF4-FFF2-40B4-BE49-F238E27FC236}">
                <a16:creationId xmlns:a16="http://schemas.microsoft.com/office/drawing/2014/main" id="{47C5A6C0-5878-9107-2837-5F250C592243}"/>
              </a:ext>
            </a:extLst>
          </p:cNvPr>
          <p:cNvSpPr>
            <a:spLocks/>
          </p:cNvSpPr>
          <p:nvPr/>
        </p:nvSpPr>
        <p:spPr bwMode="auto">
          <a:xfrm>
            <a:off x="5477935" y="53594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4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5" name="Freeform 701">
            <a:extLst>
              <a:ext uri="{FF2B5EF4-FFF2-40B4-BE49-F238E27FC236}">
                <a16:creationId xmlns:a16="http://schemas.microsoft.com/office/drawing/2014/main" id="{4E312B24-38D4-4050-3399-17E5AA79B088}"/>
              </a:ext>
            </a:extLst>
          </p:cNvPr>
          <p:cNvSpPr>
            <a:spLocks/>
          </p:cNvSpPr>
          <p:nvPr/>
        </p:nvSpPr>
        <p:spPr bwMode="auto">
          <a:xfrm>
            <a:off x="5679019" y="5281084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0 h 28"/>
              <a:gd name="T6" fmla="*/ 22 w 26"/>
              <a:gd name="T7" fmla="*/ 24 h 28"/>
              <a:gd name="T8" fmla="*/ 16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3 w 26"/>
              <a:gd name="T15" fmla="*/ 24 h 28"/>
              <a:gd name="T16" fmla="*/ 0 w 26"/>
              <a:gd name="T17" fmla="*/ 20 h 28"/>
              <a:gd name="T18" fmla="*/ 0 w 26"/>
              <a:gd name="T19" fmla="*/ 15 h 28"/>
              <a:gd name="T20" fmla="*/ 0 w 26"/>
              <a:gd name="T21" fmla="*/ 15 h 28"/>
              <a:gd name="T22" fmla="*/ 0 w 26"/>
              <a:gd name="T23" fmla="*/ 7 h 28"/>
              <a:gd name="T24" fmla="*/ 3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6 w 26"/>
              <a:gd name="T31" fmla="*/ 2 h 28"/>
              <a:gd name="T32" fmla="*/ 22 w 26"/>
              <a:gd name="T33" fmla="*/ 4 h 28"/>
              <a:gd name="T34" fmla="*/ 24 w 26"/>
              <a:gd name="T35" fmla="*/ 7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0"/>
                </a:lnTo>
                <a:lnTo>
                  <a:pt x="22" y="24"/>
                </a:lnTo>
                <a:lnTo>
                  <a:pt x="16" y="26"/>
                </a:lnTo>
                <a:lnTo>
                  <a:pt x="13" y="28"/>
                </a:lnTo>
                <a:lnTo>
                  <a:pt x="7" y="26"/>
                </a:lnTo>
                <a:lnTo>
                  <a:pt x="3" y="24"/>
                </a:lnTo>
                <a:lnTo>
                  <a:pt x="0" y="20"/>
                </a:lnTo>
                <a:lnTo>
                  <a:pt x="0" y="15"/>
                </a:lnTo>
                <a:lnTo>
                  <a:pt x="0" y="15"/>
                </a:lnTo>
                <a:lnTo>
                  <a:pt x="0" y="7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6" y="2"/>
                </a:lnTo>
                <a:lnTo>
                  <a:pt x="22" y="4"/>
                </a:lnTo>
                <a:lnTo>
                  <a:pt x="24" y="7"/>
                </a:lnTo>
                <a:lnTo>
                  <a:pt x="26" y="15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6" name="Freeform 702">
            <a:extLst>
              <a:ext uri="{FF2B5EF4-FFF2-40B4-BE49-F238E27FC236}">
                <a16:creationId xmlns:a16="http://schemas.microsoft.com/office/drawing/2014/main" id="{3FC46683-F52F-0418-EEBE-DF775B35E512}"/>
              </a:ext>
            </a:extLst>
          </p:cNvPr>
          <p:cNvSpPr>
            <a:spLocks/>
          </p:cNvSpPr>
          <p:nvPr/>
        </p:nvSpPr>
        <p:spPr bwMode="auto">
          <a:xfrm>
            <a:off x="5679019" y="5281084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0 h 28"/>
              <a:gd name="T6" fmla="*/ 22 w 26"/>
              <a:gd name="T7" fmla="*/ 24 h 28"/>
              <a:gd name="T8" fmla="*/ 16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3 w 26"/>
              <a:gd name="T15" fmla="*/ 24 h 28"/>
              <a:gd name="T16" fmla="*/ 0 w 26"/>
              <a:gd name="T17" fmla="*/ 20 h 28"/>
              <a:gd name="T18" fmla="*/ 0 w 26"/>
              <a:gd name="T19" fmla="*/ 15 h 28"/>
              <a:gd name="T20" fmla="*/ 0 w 26"/>
              <a:gd name="T21" fmla="*/ 15 h 28"/>
              <a:gd name="T22" fmla="*/ 0 w 26"/>
              <a:gd name="T23" fmla="*/ 7 h 28"/>
              <a:gd name="T24" fmla="*/ 3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6 w 26"/>
              <a:gd name="T31" fmla="*/ 2 h 28"/>
              <a:gd name="T32" fmla="*/ 22 w 26"/>
              <a:gd name="T33" fmla="*/ 4 h 28"/>
              <a:gd name="T34" fmla="*/ 24 w 26"/>
              <a:gd name="T35" fmla="*/ 7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0"/>
                </a:lnTo>
                <a:lnTo>
                  <a:pt x="22" y="24"/>
                </a:lnTo>
                <a:lnTo>
                  <a:pt x="16" y="26"/>
                </a:lnTo>
                <a:lnTo>
                  <a:pt x="13" y="28"/>
                </a:lnTo>
                <a:lnTo>
                  <a:pt x="7" y="26"/>
                </a:lnTo>
                <a:lnTo>
                  <a:pt x="3" y="24"/>
                </a:lnTo>
                <a:lnTo>
                  <a:pt x="0" y="20"/>
                </a:lnTo>
                <a:lnTo>
                  <a:pt x="0" y="15"/>
                </a:lnTo>
                <a:lnTo>
                  <a:pt x="0" y="15"/>
                </a:lnTo>
                <a:lnTo>
                  <a:pt x="0" y="7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6" y="2"/>
                </a:lnTo>
                <a:lnTo>
                  <a:pt x="22" y="4"/>
                </a:lnTo>
                <a:lnTo>
                  <a:pt x="24" y="7"/>
                </a:lnTo>
                <a:lnTo>
                  <a:pt x="26" y="15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7" name="Freeform 703">
            <a:extLst>
              <a:ext uri="{FF2B5EF4-FFF2-40B4-BE49-F238E27FC236}">
                <a16:creationId xmlns:a16="http://schemas.microsoft.com/office/drawing/2014/main" id="{A8D99713-77B1-80EF-43D1-898A0D281BB1}"/>
              </a:ext>
            </a:extLst>
          </p:cNvPr>
          <p:cNvSpPr>
            <a:spLocks/>
          </p:cNvSpPr>
          <p:nvPr/>
        </p:nvSpPr>
        <p:spPr bwMode="auto">
          <a:xfrm>
            <a:off x="5877986" y="53001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3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3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3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3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8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8" name="Freeform 704">
            <a:extLst>
              <a:ext uri="{FF2B5EF4-FFF2-40B4-BE49-F238E27FC236}">
                <a16:creationId xmlns:a16="http://schemas.microsoft.com/office/drawing/2014/main" id="{87D9C13B-A0C2-C561-8815-B07CEB95564E}"/>
              </a:ext>
            </a:extLst>
          </p:cNvPr>
          <p:cNvSpPr>
            <a:spLocks/>
          </p:cNvSpPr>
          <p:nvPr/>
        </p:nvSpPr>
        <p:spPr bwMode="auto">
          <a:xfrm>
            <a:off x="5877986" y="53001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3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3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3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3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9" name="Freeform 705">
            <a:extLst>
              <a:ext uri="{FF2B5EF4-FFF2-40B4-BE49-F238E27FC236}">
                <a16:creationId xmlns:a16="http://schemas.microsoft.com/office/drawing/2014/main" id="{BA44B18A-66F9-BA2E-7146-6201E158FB54}"/>
              </a:ext>
            </a:extLst>
          </p:cNvPr>
          <p:cNvSpPr>
            <a:spLocks/>
          </p:cNvSpPr>
          <p:nvPr/>
        </p:nvSpPr>
        <p:spPr bwMode="auto">
          <a:xfrm>
            <a:off x="5977469" y="530436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2 w 26"/>
              <a:gd name="T7" fmla="*/ 24 h 26"/>
              <a:gd name="T8" fmla="*/ 18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5 w 26"/>
              <a:gd name="T15" fmla="*/ 24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5 w 26"/>
              <a:gd name="T25" fmla="*/ 4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4 h 26"/>
              <a:gd name="T34" fmla="*/ 26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2" y="24"/>
                </a:lnTo>
                <a:lnTo>
                  <a:pt x="18" y="26"/>
                </a:lnTo>
                <a:lnTo>
                  <a:pt x="13" y="26"/>
                </a:lnTo>
                <a:lnTo>
                  <a:pt x="9" y="26"/>
                </a:lnTo>
                <a:lnTo>
                  <a:pt x="5" y="24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5" y="4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4"/>
                </a:lnTo>
                <a:lnTo>
                  <a:pt x="26" y="8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0" name="Freeform 706">
            <a:extLst>
              <a:ext uri="{FF2B5EF4-FFF2-40B4-BE49-F238E27FC236}">
                <a16:creationId xmlns:a16="http://schemas.microsoft.com/office/drawing/2014/main" id="{AB5D50BE-3482-C0FF-A330-491CBEB79440}"/>
              </a:ext>
            </a:extLst>
          </p:cNvPr>
          <p:cNvSpPr>
            <a:spLocks/>
          </p:cNvSpPr>
          <p:nvPr/>
        </p:nvSpPr>
        <p:spPr bwMode="auto">
          <a:xfrm>
            <a:off x="5977469" y="530436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2 w 26"/>
              <a:gd name="T7" fmla="*/ 24 h 26"/>
              <a:gd name="T8" fmla="*/ 18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5 w 26"/>
              <a:gd name="T15" fmla="*/ 24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5 w 26"/>
              <a:gd name="T25" fmla="*/ 4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4 h 26"/>
              <a:gd name="T34" fmla="*/ 26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2" y="24"/>
                </a:lnTo>
                <a:lnTo>
                  <a:pt x="18" y="26"/>
                </a:lnTo>
                <a:lnTo>
                  <a:pt x="13" y="26"/>
                </a:lnTo>
                <a:lnTo>
                  <a:pt x="9" y="26"/>
                </a:lnTo>
                <a:lnTo>
                  <a:pt x="5" y="24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5" y="4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4"/>
                </a:lnTo>
                <a:lnTo>
                  <a:pt x="26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1" name="Freeform 707">
            <a:extLst>
              <a:ext uri="{FF2B5EF4-FFF2-40B4-BE49-F238E27FC236}">
                <a16:creationId xmlns:a16="http://schemas.microsoft.com/office/drawing/2014/main" id="{15DF3EEE-7BD5-9D16-FE99-DD017B0D911A}"/>
              </a:ext>
            </a:extLst>
          </p:cNvPr>
          <p:cNvSpPr>
            <a:spLocks/>
          </p:cNvSpPr>
          <p:nvPr/>
        </p:nvSpPr>
        <p:spPr bwMode="auto">
          <a:xfrm>
            <a:off x="6079069" y="525356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2" name="Freeform 708">
            <a:extLst>
              <a:ext uri="{FF2B5EF4-FFF2-40B4-BE49-F238E27FC236}">
                <a16:creationId xmlns:a16="http://schemas.microsoft.com/office/drawing/2014/main" id="{7C1DE63B-9653-AAF0-47D2-647840A7EE42}"/>
              </a:ext>
            </a:extLst>
          </p:cNvPr>
          <p:cNvSpPr>
            <a:spLocks/>
          </p:cNvSpPr>
          <p:nvPr/>
        </p:nvSpPr>
        <p:spPr bwMode="auto">
          <a:xfrm>
            <a:off x="6079069" y="525356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3" name="Freeform 709">
            <a:extLst>
              <a:ext uri="{FF2B5EF4-FFF2-40B4-BE49-F238E27FC236}">
                <a16:creationId xmlns:a16="http://schemas.microsoft.com/office/drawing/2014/main" id="{0DCCC2F3-51A0-CBE5-115C-3DCD95169C8F}"/>
              </a:ext>
            </a:extLst>
          </p:cNvPr>
          <p:cNvSpPr>
            <a:spLocks/>
          </p:cNvSpPr>
          <p:nvPr/>
        </p:nvSpPr>
        <p:spPr bwMode="auto">
          <a:xfrm>
            <a:off x="6290736" y="52451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3 w 26"/>
              <a:gd name="T7" fmla="*/ 23 h 26"/>
              <a:gd name="T8" fmla="*/ 19 w 26"/>
              <a:gd name="T9" fmla="*/ 26 h 26"/>
              <a:gd name="T10" fmla="*/ 13 w 26"/>
              <a:gd name="T11" fmla="*/ 26 h 26"/>
              <a:gd name="T12" fmla="*/ 10 w 26"/>
              <a:gd name="T13" fmla="*/ 26 h 26"/>
              <a:gd name="T14" fmla="*/ 6 w 26"/>
              <a:gd name="T15" fmla="*/ 23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6 w 26"/>
              <a:gd name="T25" fmla="*/ 4 h 26"/>
              <a:gd name="T26" fmla="*/ 10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4 h 26"/>
              <a:gd name="T34" fmla="*/ 26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3" y="23"/>
                </a:lnTo>
                <a:lnTo>
                  <a:pt x="19" y="26"/>
                </a:lnTo>
                <a:lnTo>
                  <a:pt x="13" y="26"/>
                </a:lnTo>
                <a:lnTo>
                  <a:pt x="10" y="26"/>
                </a:lnTo>
                <a:lnTo>
                  <a:pt x="6" y="23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6" y="4"/>
                </a:lnTo>
                <a:lnTo>
                  <a:pt x="10" y="0"/>
                </a:lnTo>
                <a:lnTo>
                  <a:pt x="13" y="0"/>
                </a:lnTo>
                <a:lnTo>
                  <a:pt x="19" y="0"/>
                </a:lnTo>
                <a:lnTo>
                  <a:pt x="23" y="4"/>
                </a:lnTo>
                <a:lnTo>
                  <a:pt x="26" y="8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4" name="Freeform 710">
            <a:extLst>
              <a:ext uri="{FF2B5EF4-FFF2-40B4-BE49-F238E27FC236}">
                <a16:creationId xmlns:a16="http://schemas.microsoft.com/office/drawing/2014/main" id="{417E51FC-8433-B66F-FC0B-D4C0459C35E5}"/>
              </a:ext>
            </a:extLst>
          </p:cNvPr>
          <p:cNvSpPr>
            <a:spLocks/>
          </p:cNvSpPr>
          <p:nvPr/>
        </p:nvSpPr>
        <p:spPr bwMode="auto">
          <a:xfrm>
            <a:off x="6290736" y="52451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3 w 26"/>
              <a:gd name="T7" fmla="*/ 23 h 26"/>
              <a:gd name="T8" fmla="*/ 19 w 26"/>
              <a:gd name="T9" fmla="*/ 26 h 26"/>
              <a:gd name="T10" fmla="*/ 13 w 26"/>
              <a:gd name="T11" fmla="*/ 26 h 26"/>
              <a:gd name="T12" fmla="*/ 10 w 26"/>
              <a:gd name="T13" fmla="*/ 26 h 26"/>
              <a:gd name="T14" fmla="*/ 6 w 26"/>
              <a:gd name="T15" fmla="*/ 23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6 w 26"/>
              <a:gd name="T25" fmla="*/ 4 h 26"/>
              <a:gd name="T26" fmla="*/ 10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4 h 26"/>
              <a:gd name="T34" fmla="*/ 26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3" y="23"/>
                </a:lnTo>
                <a:lnTo>
                  <a:pt x="19" y="26"/>
                </a:lnTo>
                <a:lnTo>
                  <a:pt x="13" y="26"/>
                </a:lnTo>
                <a:lnTo>
                  <a:pt x="10" y="26"/>
                </a:lnTo>
                <a:lnTo>
                  <a:pt x="6" y="23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6" y="4"/>
                </a:lnTo>
                <a:lnTo>
                  <a:pt x="10" y="0"/>
                </a:lnTo>
                <a:lnTo>
                  <a:pt x="13" y="0"/>
                </a:lnTo>
                <a:lnTo>
                  <a:pt x="19" y="0"/>
                </a:lnTo>
                <a:lnTo>
                  <a:pt x="23" y="4"/>
                </a:lnTo>
                <a:lnTo>
                  <a:pt x="26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5" name="Freeform 711">
            <a:extLst>
              <a:ext uri="{FF2B5EF4-FFF2-40B4-BE49-F238E27FC236}">
                <a16:creationId xmlns:a16="http://schemas.microsoft.com/office/drawing/2014/main" id="{BC4DF303-7EA7-2882-670F-3C76FB3CF511}"/>
              </a:ext>
            </a:extLst>
          </p:cNvPr>
          <p:cNvSpPr>
            <a:spLocks/>
          </p:cNvSpPr>
          <p:nvPr/>
        </p:nvSpPr>
        <p:spPr bwMode="auto">
          <a:xfrm>
            <a:off x="6491819" y="52302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8 h 26"/>
              <a:gd name="T6" fmla="*/ 22 w 26"/>
              <a:gd name="T7" fmla="*/ 24 h 26"/>
              <a:gd name="T8" fmla="*/ 19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6 w 26"/>
              <a:gd name="T15" fmla="*/ 24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6 w 26"/>
              <a:gd name="T25" fmla="*/ 4 h 26"/>
              <a:gd name="T26" fmla="*/ 9 w 26"/>
              <a:gd name="T27" fmla="*/ 2 h 26"/>
              <a:gd name="T28" fmla="*/ 13 w 26"/>
              <a:gd name="T29" fmla="*/ 0 h 26"/>
              <a:gd name="T30" fmla="*/ 19 w 26"/>
              <a:gd name="T31" fmla="*/ 2 h 26"/>
              <a:gd name="T32" fmla="*/ 22 w 26"/>
              <a:gd name="T33" fmla="*/ 4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8"/>
                </a:lnTo>
                <a:lnTo>
                  <a:pt x="22" y="24"/>
                </a:lnTo>
                <a:lnTo>
                  <a:pt x="19" y="26"/>
                </a:lnTo>
                <a:lnTo>
                  <a:pt x="13" y="26"/>
                </a:lnTo>
                <a:lnTo>
                  <a:pt x="9" y="26"/>
                </a:lnTo>
                <a:lnTo>
                  <a:pt x="6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6" y="4"/>
                </a:lnTo>
                <a:lnTo>
                  <a:pt x="9" y="2"/>
                </a:lnTo>
                <a:lnTo>
                  <a:pt x="13" y="0"/>
                </a:lnTo>
                <a:lnTo>
                  <a:pt x="19" y="2"/>
                </a:lnTo>
                <a:lnTo>
                  <a:pt x="22" y="4"/>
                </a:lnTo>
                <a:lnTo>
                  <a:pt x="26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6" name="Freeform 712">
            <a:extLst>
              <a:ext uri="{FF2B5EF4-FFF2-40B4-BE49-F238E27FC236}">
                <a16:creationId xmlns:a16="http://schemas.microsoft.com/office/drawing/2014/main" id="{DB3D291C-83B8-8220-6293-D4C9EC602291}"/>
              </a:ext>
            </a:extLst>
          </p:cNvPr>
          <p:cNvSpPr>
            <a:spLocks/>
          </p:cNvSpPr>
          <p:nvPr/>
        </p:nvSpPr>
        <p:spPr bwMode="auto">
          <a:xfrm>
            <a:off x="6491819" y="52302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8 h 26"/>
              <a:gd name="T6" fmla="*/ 22 w 26"/>
              <a:gd name="T7" fmla="*/ 24 h 26"/>
              <a:gd name="T8" fmla="*/ 19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6 w 26"/>
              <a:gd name="T15" fmla="*/ 24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6 w 26"/>
              <a:gd name="T25" fmla="*/ 4 h 26"/>
              <a:gd name="T26" fmla="*/ 9 w 26"/>
              <a:gd name="T27" fmla="*/ 2 h 26"/>
              <a:gd name="T28" fmla="*/ 13 w 26"/>
              <a:gd name="T29" fmla="*/ 0 h 26"/>
              <a:gd name="T30" fmla="*/ 19 w 26"/>
              <a:gd name="T31" fmla="*/ 2 h 26"/>
              <a:gd name="T32" fmla="*/ 22 w 26"/>
              <a:gd name="T33" fmla="*/ 4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8"/>
                </a:lnTo>
                <a:lnTo>
                  <a:pt x="22" y="24"/>
                </a:lnTo>
                <a:lnTo>
                  <a:pt x="19" y="26"/>
                </a:lnTo>
                <a:lnTo>
                  <a:pt x="13" y="26"/>
                </a:lnTo>
                <a:lnTo>
                  <a:pt x="9" y="26"/>
                </a:lnTo>
                <a:lnTo>
                  <a:pt x="6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6" y="4"/>
                </a:lnTo>
                <a:lnTo>
                  <a:pt x="9" y="2"/>
                </a:lnTo>
                <a:lnTo>
                  <a:pt x="13" y="0"/>
                </a:lnTo>
                <a:lnTo>
                  <a:pt x="19" y="2"/>
                </a:lnTo>
                <a:lnTo>
                  <a:pt x="22" y="4"/>
                </a:lnTo>
                <a:lnTo>
                  <a:pt x="26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7" name="Freeform 713">
            <a:extLst>
              <a:ext uri="{FF2B5EF4-FFF2-40B4-BE49-F238E27FC236}">
                <a16:creationId xmlns:a16="http://schemas.microsoft.com/office/drawing/2014/main" id="{BF8CF7DD-4AE0-ABE5-1A92-182BD380BCB9}"/>
              </a:ext>
            </a:extLst>
          </p:cNvPr>
          <p:cNvSpPr>
            <a:spLocks/>
          </p:cNvSpPr>
          <p:nvPr/>
        </p:nvSpPr>
        <p:spPr bwMode="auto">
          <a:xfrm>
            <a:off x="17716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0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0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8" name="Freeform 714">
            <a:extLst>
              <a:ext uri="{FF2B5EF4-FFF2-40B4-BE49-F238E27FC236}">
                <a16:creationId xmlns:a16="http://schemas.microsoft.com/office/drawing/2014/main" id="{943F1583-A4F5-8003-223E-137944E17593}"/>
              </a:ext>
            </a:extLst>
          </p:cNvPr>
          <p:cNvSpPr>
            <a:spLocks/>
          </p:cNvSpPr>
          <p:nvPr/>
        </p:nvSpPr>
        <p:spPr bwMode="auto">
          <a:xfrm>
            <a:off x="17716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0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0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9" name="Freeform 715">
            <a:extLst>
              <a:ext uri="{FF2B5EF4-FFF2-40B4-BE49-F238E27FC236}">
                <a16:creationId xmlns:a16="http://schemas.microsoft.com/office/drawing/2014/main" id="{409CEB6E-3D43-CD13-A876-5AEBBE683642}"/>
              </a:ext>
            </a:extLst>
          </p:cNvPr>
          <p:cNvSpPr>
            <a:spLocks/>
          </p:cNvSpPr>
          <p:nvPr/>
        </p:nvSpPr>
        <p:spPr bwMode="auto">
          <a:xfrm>
            <a:off x="195580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0" name="Freeform 716">
            <a:extLst>
              <a:ext uri="{FF2B5EF4-FFF2-40B4-BE49-F238E27FC236}">
                <a16:creationId xmlns:a16="http://schemas.microsoft.com/office/drawing/2014/main" id="{D76E6331-D30F-1A03-A6FF-C9FF74F3C939}"/>
              </a:ext>
            </a:extLst>
          </p:cNvPr>
          <p:cNvSpPr>
            <a:spLocks/>
          </p:cNvSpPr>
          <p:nvPr/>
        </p:nvSpPr>
        <p:spPr bwMode="auto">
          <a:xfrm>
            <a:off x="195580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1" name="Freeform 717">
            <a:extLst>
              <a:ext uri="{FF2B5EF4-FFF2-40B4-BE49-F238E27FC236}">
                <a16:creationId xmlns:a16="http://schemas.microsoft.com/office/drawing/2014/main" id="{4DDD281E-B925-F715-441B-21B012DDF841}"/>
              </a:ext>
            </a:extLst>
          </p:cNvPr>
          <p:cNvSpPr>
            <a:spLocks/>
          </p:cNvSpPr>
          <p:nvPr/>
        </p:nvSpPr>
        <p:spPr bwMode="auto">
          <a:xfrm>
            <a:off x="2171702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2" name="Freeform 718">
            <a:extLst>
              <a:ext uri="{FF2B5EF4-FFF2-40B4-BE49-F238E27FC236}">
                <a16:creationId xmlns:a16="http://schemas.microsoft.com/office/drawing/2014/main" id="{2ABAFBD8-1572-79F5-84FD-F5260AA309A5}"/>
              </a:ext>
            </a:extLst>
          </p:cNvPr>
          <p:cNvSpPr>
            <a:spLocks/>
          </p:cNvSpPr>
          <p:nvPr/>
        </p:nvSpPr>
        <p:spPr bwMode="auto">
          <a:xfrm>
            <a:off x="2171702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3" name="Freeform 719">
            <a:extLst>
              <a:ext uri="{FF2B5EF4-FFF2-40B4-BE49-F238E27FC236}">
                <a16:creationId xmlns:a16="http://schemas.microsoft.com/office/drawing/2014/main" id="{BBF323D4-F4D3-A5D6-B618-AF3E64B8A5AC}"/>
              </a:ext>
            </a:extLst>
          </p:cNvPr>
          <p:cNvSpPr>
            <a:spLocks/>
          </p:cNvSpPr>
          <p:nvPr/>
        </p:nvSpPr>
        <p:spPr bwMode="auto">
          <a:xfrm>
            <a:off x="237278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6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3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3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6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4" name="Freeform 720">
            <a:extLst>
              <a:ext uri="{FF2B5EF4-FFF2-40B4-BE49-F238E27FC236}">
                <a16:creationId xmlns:a16="http://schemas.microsoft.com/office/drawing/2014/main" id="{A4A8303B-5F8B-895B-0607-AB8FE91F9142}"/>
              </a:ext>
            </a:extLst>
          </p:cNvPr>
          <p:cNvSpPr>
            <a:spLocks/>
          </p:cNvSpPr>
          <p:nvPr/>
        </p:nvSpPr>
        <p:spPr bwMode="auto">
          <a:xfrm>
            <a:off x="237278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6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3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3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6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5" name="Freeform 721">
            <a:extLst>
              <a:ext uri="{FF2B5EF4-FFF2-40B4-BE49-F238E27FC236}">
                <a16:creationId xmlns:a16="http://schemas.microsoft.com/office/drawing/2014/main" id="{569CEA21-DF61-3614-629D-32AF56D66F69}"/>
              </a:ext>
            </a:extLst>
          </p:cNvPr>
          <p:cNvSpPr>
            <a:spLocks/>
          </p:cNvSpPr>
          <p:nvPr/>
        </p:nvSpPr>
        <p:spPr bwMode="auto">
          <a:xfrm>
            <a:off x="2571752" y="5666317"/>
            <a:ext cx="52917" cy="55033"/>
          </a:xfrm>
          <a:custGeom>
            <a:avLst/>
            <a:gdLst>
              <a:gd name="T0" fmla="*/ 25 w 25"/>
              <a:gd name="T1" fmla="*/ 13 h 26"/>
              <a:gd name="T2" fmla="*/ 25 w 25"/>
              <a:gd name="T3" fmla="*/ 13 h 26"/>
              <a:gd name="T4" fmla="*/ 25 w 25"/>
              <a:gd name="T5" fmla="*/ 19 h 26"/>
              <a:gd name="T6" fmla="*/ 21 w 25"/>
              <a:gd name="T7" fmla="*/ 22 h 26"/>
              <a:gd name="T8" fmla="*/ 17 w 25"/>
              <a:gd name="T9" fmla="*/ 24 h 26"/>
              <a:gd name="T10" fmla="*/ 13 w 25"/>
              <a:gd name="T11" fmla="*/ 26 h 26"/>
              <a:gd name="T12" fmla="*/ 8 w 25"/>
              <a:gd name="T13" fmla="*/ 24 h 26"/>
              <a:gd name="T14" fmla="*/ 4 w 25"/>
              <a:gd name="T15" fmla="*/ 22 h 26"/>
              <a:gd name="T16" fmla="*/ 0 w 25"/>
              <a:gd name="T17" fmla="*/ 19 h 26"/>
              <a:gd name="T18" fmla="*/ 0 w 25"/>
              <a:gd name="T19" fmla="*/ 13 h 26"/>
              <a:gd name="T20" fmla="*/ 0 w 25"/>
              <a:gd name="T21" fmla="*/ 13 h 26"/>
              <a:gd name="T22" fmla="*/ 0 w 25"/>
              <a:gd name="T23" fmla="*/ 7 h 26"/>
              <a:gd name="T24" fmla="*/ 4 w 25"/>
              <a:gd name="T25" fmla="*/ 2 h 26"/>
              <a:gd name="T26" fmla="*/ 8 w 25"/>
              <a:gd name="T27" fmla="*/ 0 h 26"/>
              <a:gd name="T28" fmla="*/ 13 w 25"/>
              <a:gd name="T29" fmla="*/ 0 h 26"/>
              <a:gd name="T30" fmla="*/ 17 w 25"/>
              <a:gd name="T31" fmla="*/ 0 h 26"/>
              <a:gd name="T32" fmla="*/ 21 w 25"/>
              <a:gd name="T33" fmla="*/ 2 h 26"/>
              <a:gd name="T34" fmla="*/ 25 w 25"/>
              <a:gd name="T35" fmla="*/ 7 h 26"/>
              <a:gd name="T36" fmla="*/ 25 w 25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26">
                <a:moveTo>
                  <a:pt x="25" y="13"/>
                </a:moveTo>
                <a:lnTo>
                  <a:pt x="25" y="13"/>
                </a:lnTo>
                <a:lnTo>
                  <a:pt x="25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5" y="7"/>
                </a:lnTo>
                <a:lnTo>
                  <a:pt x="25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6" name="Freeform 722">
            <a:extLst>
              <a:ext uri="{FF2B5EF4-FFF2-40B4-BE49-F238E27FC236}">
                <a16:creationId xmlns:a16="http://schemas.microsoft.com/office/drawing/2014/main" id="{7B1C1553-0C6F-6A79-5DB7-EFD2D6427017}"/>
              </a:ext>
            </a:extLst>
          </p:cNvPr>
          <p:cNvSpPr>
            <a:spLocks/>
          </p:cNvSpPr>
          <p:nvPr/>
        </p:nvSpPr>
        <p:spPr bwMode="auto">
          <a:xfrm>
            <a:off x="2571752" y="5666317"/>
            <a:ext cx="52917" cy="55033"/>
          </a:xfrm>
          <a:custGeom>
            <a:avLst/>
            <a:gdLst>
              <a:gd name="T0" fmla="*/ 25 w 25"/>
              <a:gd name="T1" fmla="*/ 13 h 26"/>
              <a:gd name="T2" fmla="*/ 25 w 25"/>
              <a:gd name="T3" fmla="*/ 13 h 26"/>
              <a:gd name="T4" fmla="*/ 25 w 25"/>
              <a:gd name="T5" fmla="*/ 19 h 26"/>
              <a:gd name="T6" fmla="*/ 21 w 25"/>
              <a:gd name="T7" fmla="*/ 22 h 26"/>
              <a:gd name="T8" fmla="*/ 17 w 25"/>
              <a:gd name="T9" fmla="*/ 24 h 26"/>
              <a:gd name="T10" fmla="*/ 13 w 25"/>
              <a:gd name="T11" fmla="*/ 26 h 26"/>
              <a:gd name="T12" fmla="*/ 8 w 25"/>
              <a:gd name="T13" fmla="*/ 24 h 26"/>
              <a:gd name="T14" fmla="*/ 4 w 25"/>
              <a:gd name="T15" fmla="*/ 22 h 26"/>
              <a:gd name="T16" fmla="*/ 0 w 25"/>
              <a:gd name="T17" fmla="*/ 19 h 26"/>
              <a:gd name="T18" fmla="*/ 0 w 25"/>
              <a:gd name="T19" fmla="*/ 13 h 26"/>
              <a:gd name="T20" fmla="*/ 0 w 25"/>
              <a:gd name="T21" fmla="*/ 13 h 26"/>
              <a:gd name="T22" fmla="*/ 0 w 25"/>
              <a:gd name="T23" fmla="*/ 7 h 26"/>
              <a:gd name="T24" fmla="*/ 4 w 25"/>
              <a:gd name="T25" fmla="*/ 2 h 26"/>
              <a:gd name="T26" fmla="*/ 8 w 25"/>
              <a:gd name="T27" fmla="*/ 0 h 26"/>
              <a:gd name="T28" fmla="*/ 13 w 25"/>
              <a:gd name="T29" fmla="*/ 0 h 26"/>
              <a:gd name="T30" fmla="*/ 17 w 25"/>
              <a:gd name="T31" fmla="*/ 0 h 26"/>
              <a:gd name="T32" fmla="*/ 21 w 25"/>
              <a:gd name="T33" fmla="*/ 2 h 26"/>
              <a:gd name="T34" fmla="*/ 25 w 25"/>
              <a:gd name="T35" fmla="*/ 7 h 26"/>
              <a:gd name="T36" fmla="*/ 25 w 25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26">
                <a:moveTo>
                  <a:pt x="25" y="13"/>
                </a:moveTo>
                <a:lnTo>
                  <a:pt x="25" y="13"/>
                </a:lnTo>
                <a:lnTo>
                  <a:pt x="25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5" y="7"/>
                </a:lnTo>
                <a:lnTo>
                  <a:pt x="25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7" name="Freeform 723">
            <a:extLst>
              <a:ext uri="{FF2B5EF4-FFF2-40B4-BE49-F238E27FC236}">
                <a16:creationId xmlns:a16="http://schemas.microsoft.com/office/drawing/2014/main" id="{C8E249D5-5F55-4BE5-F4FB-9B76987EAC68}"/>
              </a:ext>
            </a:extLst>
          </p:cNvPr>
          <p:cNvSpPr>
            <a:spLocks/>
          </p:cNvSpPr>
          <p:nvPr/>
        </p:nvSpPr>
        <p:spPr bwMode="auto">
          <a:xfrm>
            <a:off x="277283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1 w 24"/>
              <a:gd name="T7" fmla="*/ 22 h 26"/>
              <a:gd name="T8" fmla="*/ 17 w 24"/>
              <a:gd name="T9" fmla="*/ 24 h 26"/>
              <a:gd name="T10" fmla="*/ 11 w 24"/>
              <a:gd name="T11" fmla="*/ 26 h 26"/>
              <a:gd name="T12" fmla="*/ 8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8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1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1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1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8" name="Freeform 724">
            <a:extLst>
              <a:ext uri="{FF2B5EF4-FFF2-40B4-BE49-F238E27FC236}">
                <a16:creationId xmlns:a16="http://schemas.microsoft.com/office/drawing/2014/main" id="{FBB0CDC6-75FD-3594-8FA9-BCA5E3630F1F}"/>
              </a:ext>
            </a:extLst>
          </p:cNvPr>
          <p:cNvSpPr>
            <a:spLocks/>
          </p:cNvSpPr>
          <p:nvPr/>
        </p:nvSpPr>
        <p:spPr bwMode="auto">
          <a:xfrm>
            <a:off x="277283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1 w 24"/>
              <a:gd name="T7" fmla="*/ 22 h 26"/>
              <a:gd name="T8" fmla="*/ 17 w 24"/>
              <a:gd name="T9" fmla="*/ 24 h 26"/>
              <a:gd name="T10" fmla="*/ 11 w 24"/>
              <a:gd name="T11" fmla="*/ 26 h 26"/>
              <a:gd name="T12" fmla="*/ 8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8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1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1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1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9" name="Freeform 725">
            <a:extLst>
              <a:ext uri="{FF2B5EF4-FFF2-40B4-BE49-F238E27FC236}">
                <a16:creationId xmlns:a16="http://schemas.microsoft.com/office/drawing/2014/main" id="{810385C1-7847-0248-4A44-9940483CB7C9}"/>
              </a:ext>
            </a:extLst>
          </p:cNvPr>
          <p:cNvSpPr>
            <a:spLocks/>
          </p:cNvSpPr>
          <p:nvPr/>
        </p:nvSpPr>
        <p:spPr bwMode="auto">
          <a:xfrm>
            <a:off x="2973919" y="51075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4 h 26"/>
              <a:gd name="T8" fmla="*/ 17 w 24"/>
              <a:gd name="T9" fmla="*/ 26 h 26"/>
              <a:gd name="T10" fmla="*/ 11 w 24"/>
              <a:gd name="T11" fmla="*/ 26 h 26"/>
              <a:gd name="T12" fmla="*/ 7 w 24"/>
              <a:gd name="T13" fmla="*/ 26 h 26"/>
              <a:gd name="T14" fmla="*/ 4 w 24"/>
              <a:gd name="T15" fmla="*/ 24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8 h 26"/>
              <a:gd name="T24" fmla="*/ 4 w 24"/>
              <a:gd name="T25" fmla="*/ 4 h 26"/>
              <a:gd name="T26" fmla="*/ 7 w 24"/>
              <a:gd name="T27" fmla="*/ 2 h 26"/>
              <a:gd name="T28" fmla="*/ 11 w 24"/>
              <a:gd name="T29" fmla="*/ 0 h 26"/>
              <a:gd name="T30" fmla="*/ 17 w 24"/>
              <a:gd name="T31" fmla="*/ 2 h 26"/>
              <a:gd name="T32" fmla="*/ 20 w 24"/>
              <a:gd name="T33" fmla="*/ 4 h 26"/>
              <a:gd name="T34" fmla="*/ 24 w 24"/>
              <a:gd name="T35" fmla="*/ 8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4"/>
                </a:lnTo>
                <a:lnTo>
                  <a:pt x="17" y="26"/>
                </a:lnTo>
                <a:lnTo>
                  <a:pt x="11" y="26"/>
                </a:lnTo>
                <a:lnTo>
                  <a:pt x="7" y="26"/>
                </a:lnTo>
                <a:lnTo>
                  <a:pt x="4" y="24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2"/>
                </a:lnTo>
                <a:lnTo>
                  <a:pt x="11" y="0"/>
                </a:lnTo>
                <a:lnTo>
                  <a:pt x="17" y="2"/>
                </a:lnTo>
                <a:lnTo>
                  <a:pt x="20" y="4"/>
                </a:lnTo>
                <a:lnTo>
                  <a:pt x="24" y="8"/>
                </a:lnTo>
                <a:lnTo>
                  <a:pt x="24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0" name="Freeform 726">
            <a:extLst>
              <a:ext uri="{FF2B5EF4-FFF2-40B4-BE49-F238E27FC236}">
                <a16:creationId xmlns:a16="http://schemas.microsoft.com/office/drawing/2014/main" id="{D51599C4-D2B2-920F-31CC-6BDBEF43A886}"/>
              </a:ext>
            </a:extLst>
          </p:cNvPr>
          <p:cNvSpPr>
            <a:spLocks/>
          </p:cNvSpPr>
          <p:nvPr/>
        </p:nvSpPr>
        <p:spPr bwMode="auto">
          <a:xfrm>
            <a:off x="2973919" y="51075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4 h 26"/>
              <a:gd name="T8" fmla="*/ 17 w 24"/>
              <a:gd name="T9" fmla="*/ 26 h 26"/>
              <a:gd name="T10" fmla="*/ 11 w 24"/>
              <a:gd name="T11" fmla="*/ 26 h 26"/>
              <a:gd name="T12" fmla="*/ 7 w 24"/>
              <a:gd name="T13" fmla="*/ 26 h 26"/>
              <a:gd name="T14" fmla="*/ 4 w 24"/>
              <a:gd name="T15" fmla="*/ 24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8 h 26"/>
              <a:gd name="T24" fmla="*/ 4 w 24"/>
              <a:gd name="T25" fmla="*/ 4 h 26"/>
              <a:gd name="T26" fmla="*/ 7 w 24"/>
              <a:gd name="T27" fmla="*/ 2 h 26"/>
              <a:gd name="T28" fmla="*/ 11 w 24"/>
              <a:gd name="T29" fmla="*/ 0 h 26"/>
              <a:gd name="T30" fmla="*/ 17 w 24"/>
              <a:gd name="T31" fmla="*/ 2 h 26"/>
              <a:gd name="T32" fmla="*/ 20 w 24"/>
              <a:gd name="T33" fmla="*/ 4 h 26"/>
              <a:gd name="T34" fmla="*/ 24 w 24"/>
              <a:gd name="T35" fmla="*/ 8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4"/>
                </a:lnTo>
                <a:lnTo>
                  <a:pt x="17" y="26"/>
                </a:lnTo>
                <a:lnTo>
                  <a:pt x="11" y="26"/>
                </a:lnTo>
                <a:lnTo>
                  <a:pt x="7" y="26"/>
                </a:lnTo>
                <a:lnTo>
                  <a:pt x="4" y="24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2"/>
                </a:lnTo>
                <a:lnTo>
                  <a:pt x="11" y="0"/>
                </a:lnTo>
                <a:lnTo>
                  <a:pt x="17" y="2"/>
                </a:lnTo>
                <a:lnTo>
                  <a:pt x="20" y="4"/>
                </a:lnTo>
                <a:lnTo>
                  <a:pt x="24" y="8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1" name="Freeform 727">
            <a:extLst>
              <a:ext uri="{FF2B5EF4-FFF2-40B4-BE49-F238E27FC236}">
                <a16:creationId xmlns:a16="http://schemas.microsoft.com/office/drawing/2014/main" id="{5D859BA6-D1FA-3CAC-FB88-7B3F076678A3}"/>
              </a:ext>
            </a:extLst>
          </p:cNvPr>
          <p:cNvSpPr>
            <a:spLocks/>
          </p:cNvSpPr>
          <p:nvPr/>
        </p:nvSpPr>
        <p:spPr bwMode="auto">
          <a:xfrm>
            <a:off x="3071285" y="49424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4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4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9 w 26"/>
              <a:gd name="T31" fmla="*/ 2 h 26"/>
              <a:gd name="T32" fmla="*/ 23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4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4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9" y="2"/>
                </a:lnTo>
                <a:lnTo>
                  <a:pt x="23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2" name="Freeform 728">
            <a:extLst>
              <a:ext uri="{FF2B5EF4-FFF2-40B4-BE49-F238E27FC236}">
                <a16:creationId xmlns:a16="http://schemas.microsoft.com/office/drawing/2014/main" id="{F1CB4538-C9EF-103A-1080-577149BDCEFF}"/>
              </a:ext>
            </a:extLst>
          </p:cNvPr>
          <p:cNvSpPr>
            <a:spLocks/>
          </p:cNvSpPr>
          <p:nvPr/>
        </p:nvSpPr>
        <p:spPr bwMode="auto">
          <a:xfrm>
            <a:off x="3071285" y="49424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4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4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9 w 26"/>
              <a:gd name="T31" fmla="*/ 2 h 26"/>
              <a:gd name="T32" fmla="*/ 23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4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4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9" y="2"/>
                </a:lnTo>
                <a:lnTo>
                  <a:pt x="23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3" name="Freeform 729">
            <a:extLst>
              <a:ext uri="{FF2B5EF4-FFF2-40B4-BE49-F238E27FC236}">
                <a16:creationId xmlns:a16="http://schemas.microsoft.com/office/drawing/2014/main" id="{8E8EFB3F-55AD-73E7-BD5E-89E3554F9994}"/>
              </a:ext>
            </a:extLst>
          </p:cNvPr>
          <p:cNvSpPr>
            <a:spLocks/>
          </p:cNvSpPr>
          <p:nvPr/>
        </p:nvSpPr>
        <p:spPr bwMode="auto">
          <a:xfrm>
            <a:off x="3272369" y="5437717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1 h 28"/>
              <a:gd name="T6" fmla="*/ 22 w 26"/>
              <a:gd name="T7" fmla="*/ 24 h 28"/>
              <a:gd name="T8" fmla="*/ 19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4 w 26"/>
              <a:gd name="T15" fmla="*/ 24 h 28"/>
              <a:gd name="T16" fmla="*/ 2 w 26"/>
              <a:gd name="T17" fmla="*/ 21 h 28"/>
              <a:gd name="T18" fmla="*/ 0 w 26"/>
              <a:gd name="T19" fmla="*/ 15 h 28"/>
              <a:gd name="T20" fmla="*/ 0 w 26"/>
              <a:gd name="T21" fmla="*/ 15 h 28"/>
              <a:gd name="T22" fmla="*/ 2 w 26"/>
              <a:gd name="T23" fmla="*/ 8 h 28"/>
              <a:gd name="T24" fmla="*/ 4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9 w 26"/>
              <a:gd name="T31" fmla="*/ 2 h 28"/>
              <a:gd name="T32" fmla="*/ 22 w 26"/>
              <a:gd name="T33" fmla="*/ 4 h 28"/>
              <a:gd name="T34" fmla="*/ 24 w 26"/>
              <a:gd name="T35" fmla="*/ 8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1"/>
                </a:lnTo>
                <a:lnTo>
                  <a:pt x="22" y="24"/>
                </a:lnTo>
                <a:lnTo>
                  <a:pt x="19" y="26"/>
                </a:lnTo>
                <a:lnTo>
                  <a:pt x="13" y="28"/>
                </a:lnTo>
                <a:lnTo>
                  <a:pt x="7" y="26"/>
                </a:lnTo>
                <a:lnTo>
                  <a:pt x="4" y="24"/>
                </a:lnTo>
                <a:lnTo>
                  <a:pt x="2" y="21"/>
                </a:lnTo>
                <a:lnTo>
                  <a:pt x="0" y="15"/>
                </a:lnTo>
                <a:lnTo>
                  <a:pt x="0" y="15"/>
                </a:lnTo>
                <a:lnTo>
                  <a:pt x="2" y="8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9" y="2"/>
                </a:lnTo>
                <a:lnTo>
                  <a:pt x="22" y="4"/>
                </a:lnTo>
                <a:lnTo>
                  <a:pt x="24" y="8"/>
                </a:lnTo>
                <a:lnTo>
                  <a:pt x="26" y="15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4" name="Freeform 730">
            <a:extLst>
              <a:ext uri="{FF2B5EF4-FFF2-40B4-BE49-F238E27FC236}">
                <a16:creationId xmlns:a16="http://schemas.microsoft.com/office/drawing/2014/main" id="{62C7BC08-71B5-8D5E-C039-01BCC9A2D24A}"/>
              </a:ext>
            </a:extLst>
          </p:cNvPr>
          <p:cNvSpPr>
            <a:spLocks/>
          </p:cNvSpPr>
          <p:nvPr/>
        </p:nvSpPr>
        <p:spPr bwMode="auto">
          <a:xfrm>
            <a:off x="3272369" y="5437717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1 h 28"/>
              <a:gd name="T6" fmla="*/ 22 w 26"/>
              <a:gd name="T7" fmla="*/ 24 h 28"/>
              <a:gd name="T8" fmla="*/ 19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4 w 26"/>
              <a:gd name="T15" fmla="*/ 24 h 28"/>
              <a:gd name="T16" fmla="*/ 2 w 26"/>
              <a:gd name="T17" fmla="*/ 21 h 28"/>
              <a:gd name="T18" fmla="*/ 0 w 26"/>
              <a:gd name="T19" fmla="*/ 15 h 28"/>
              <a:gd name="T20" fmla="*/ 0 w 26"/>
              <a:gd name="T21" fmla="*/ 15 h 28"/>
              <a:gd name="T22" fmla="*/ 2 w 26"/>
              <a:gd name="T23" fmla="*/ 8 h 28"/>
              <a:gd name="T24" fmla="*/ 4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9 w 26"/>
              <a:gd name="T31" fmla="*/ 2 h 28"/>
              <a:gd name="T32" fmla="*/ 22 w 26"/>
              <a:gd name="T33" fmla="*/ 4 h 28"/>
              <a:gd name="T34" fmla="*/ 24 w 26"/>
              <a:gd name="T35" fmla="*/ 8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1"/>
                </a:lnTo>
                <a:lnTo>
                  <a:pt x="22" y="24"/>
                </a:lnTo>
                <a:lnTo>
                  <a:pt x="19" y="26"/>
                </a:lnTo>
                <a:lnTo>
                  <a:pt x="13" y="28"/>
                </a:lnTo>
                <a:lnTo>
                  <a:pt x="7" y="26"/>
                </a:lnTo>
                <a:lnTo>
                  <a:pt x="4" y="24"/>
                </a:lnTo>
                <a:lnTo>
                  <a:pt x="2" y="21"/>
                </a:lnTo>
                <a:lnTo>
                  <a:pt x="0" y="15"/>
                </a:lnTo>
                <a:lnTo>
                  <a:pt x="0" y="15"/>
                </a:lnTo>
                <a:lnTo>
                  <a:pt x="2" y="8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9" y="2"/>
                </a:lnTo>
                <a:lnTo>
                  <a:pt x="22" y="4"/>
                </a:lnTo>
                <a:lnTo>
                  <a:pt x="24" y="8"/>
                </a:lnTo>
                <a:lnTo>
                  <a:pt x="26" y="15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5" name="Freeform 731">
            <a:extLst>
              <a:ext uri="{FF2B5EF4-FFF2-40B4-BE49-F238E27FC236}">
                <a16:creationId xmlns:a16="http://schemas.microsoft.com/office/drawing/2014/main" id="{861F4BF8-A13C-8183-FE89-A8B0C22B346E}"/>
              </a:ext>
            </a:extLst>
          </p:cNvPr>
          <p:cNvSpPr>
            <a:spLocks/>
          </p:cNvSpPr>
          <p:nvPr/>
        </p:nvSpPr>
        <p:spPr bwMode="auto">
          <a:xfrm>
            <a:off x="3456519" y="54969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3 w 26"/>
              <a:gd name="T7" fmla="*/ 22 h 26"/>
              <a:gd name="T8" fmla="*/ 19 w 26"/>
              <a:gd name="T9" fmla="*/ 26 h 26"/>
              <a:gd name="T10" fmla="*/ 13 w 26"/>
              <a:gd name="T11" fmla="*/ 26 h 26"/>
              <a:gd name="T12" fmla="*/ 10 w 26"/>
              <a:gd name="T13" fmla="*/ 26 h 26"/>
              <a:gd name="T14" fmla="*/ 6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6 w 26"/>
              <a:gd name="T25" fmla="*/ 4 h 26"/>
              <a:gd name="T26" fmla="*/ 10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4 h 26"/>
              <a:gd name="T34" fmla="*/ 26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3" y="22"/>
                </a:lnTo>
                <a:lnTo>
                  <a:pt x="19" y="26"/>
                </a:lnTo>
                <a:lnTo>
                  <a:pt x="13" y="26"/>
                </a:lnTo>
                <a:lnTo>
                  <a:pt x="10" y="26"/>
                </a:lnTo>
                <a:lnTo>
                  <a:pt x="6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6" y="4"/>
                </a:lnTo>
                <a:lnTo>
                  <a:pt x="10" y="0"/>
                </a:lnTo>
                <a:lnTo>
                  <a:pt x="13" y="0"/>
                </a:lnTo>
                <a:lnTo>
                  <a:pt x="19" y="0"/>
                </a:lnTo>
                <a:lnTo>
                  <a:pt x="23" y="4"/>
                </a:lnTo>
                <a:lnTo>
                  <a:pt x="26" y="8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6" name="Freeform 732">
            <a:extLst>
              <a:ext uri="{FF2B5EF4-FFF2-40B4-BE49-F238E27FC236}">
                <a16:creationId xmlns:a16="http://schemas.microsoft.com/office/drawing/2014/main" id="{2D1D3184-2ED5-6203-9C7D-4F2479096A54}"/>
              </a:ext>
            </a:extLst>
          </p:cNvPr>
          <p:cNvSpPr>
            <a:spLocks/>
          </p:cNvSpPr>
          <p:nvPr/>
        </p:nvSpPr>
        <p:spPr bwMode="auto">
          <a:xfrm>
            <a:off x="3456519" y="54969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3 w 26"/>
              <a:gd name="T7" fmla="*/ 22 h 26"/>
              <a:gd name="T8" fmla="*/ 19 w 26"/>
              <a:gd name="T9" fmla="*/ 26 h 26"/>
              <a:gd name="T10" fmla="*/ 13 w 26"/>
              <a:gd name="T11" fmla="*/ 26 h 26"/>
              <a:gd name="T12" fmla="*/ 10 w 26"/>
              <a:gd name="T13" fmla="*/ 26 h 26"/>
              <a:gd name="T14" fmla="*/ 6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6 w 26"/>
              <a:gd name="T25" fmla="*/ 4 h 26"/>
              <a:gd name="T26" fmla="*/ 10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4 h 26"/>
              <a:gd name="T34" fmla="*/ 26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3" y="22"/>
                </a:lnTo>
                <a:lnTo>
                  <a:pt x="19" y="26"/>
                </a:lnTo>
                <a:lnTo>
                  <a:pt x="13" y="26"/>
                </a:lnTo>
                <a:lnTo>
                  <a:pt x="10" y="26"/>
                </a:lnTo>
                <a:lnTo>
                  <a:pt x="6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6" y="4"/>
                </a:lnTo>
                <a:lnTo>
                  <a:pt x="10" y="0"/>
                </a:lnTo>
                <a:lnTo>
                  <a:pt x="13" y="0"/>
                </a:lnTo>
                <a:lnTo>
                  <a:pt x="19" y="0"/>
                </a:lnTo>
                <a:lnTo>
                  <a:pt x="23" y="4"/>
                </a:lnTo>
                <a:lnTo>
                  <a:pt x="26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7" name="Freeform 733">
            <a:extLst>
              <a:ext uri="{FF2B5EF4-FFF2-40B4-BE49-F238E27FC236}">
                <a16:creationId xmlns:a16="http://schemas.microsoft.com/office/drawing/2014/main" id="{AE6F6D23-09C8-3BB7-DE79-DC7547D878BD}"/>
              </a:ext>
            </a:extLst>
          </p:cNvPr>
          <p:cNvSpPr>
            <a:spLocks/>
          </p:cNvSpPr>
          <p:nvPr/>
        </p:nvSpPr>
        <p:spPr bwMode="auto">
          <a:xfrm>
            <a:off x="367241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9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8" name="Freeform 734">
            <a:extLst>
              <a:ext uri="{FF2B5EF4-FFF2-40B4-BE49-F238E27FC236}">
                <a16:creationId xmlns:a16="http://schemas.microsoft.com/office/drawing/2014/main" id="{7CB7DBE6-9A3B-EF38-0C36-792DD5DB7494}"/>
              </a:ext>
            </a:extLst>
          </p:cNvPr>
          <p:cNvSpPr>
            <a:spLocks/>
          </p:cNvSpPr>
          <p:nvPr/>
        </p:nvSpPr>
        <p:spPr bwMode="auto">
          <a:xfrm>
            <a:off x="367241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9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9" name="Freeform 735">
            <a:extLst>
              <a:ext uri="{FF2B5EF4-FFF2-40B4-BE49-F238E27FC236}">
                <a16:creationId xmlns:a16="http://schemas.microsoft.com/office/drawing/2014/main" id="{91A1DC73-A69C-FFCA-6450-6141BA6C79C8}"/>
              </a:ext>
            </a:extLst>
          </p:cNvPr>
          <p:cNvSpPr>
            <a:spLocks/>
          </p:cNvSpPr>
          <p:nvPr/>
        </p:nvSpPr>
        <p:spPr bwMode="auto">
          <a:xfrm>
            <a:off x="38586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2 w 26"/>
              <a:gd name="T7" fmla="*/ 22 h 26"/>
              <a:gd name="T8" fmla="*/ 18 w 26"/>
              <a:gd name="T9" fmla="*/ 24 h 26"/>
              <a:gd name="T10" fmla="*/ 13 w 26"/>
              <a:gd name="T11" fmla="*/ 26 h 26"/>
              <a:gd name="T12" fmla="*/ 9 w 26"/>
              <a:gd name="T13" fmla="*/ 24 h 26"/>
              <a:gd name="T14" fmla="*/ 5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5 w 26"/>
              <a:gd name="T25" fmla="*/ 2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2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2" y="22"/>
                </a:lnTo>
                <a:lnTo>
                  <a:pt x="18" y="24"/>
                </a:lnTo>
                <a:lnTo>
                  <a:pt x="13" y="26"/>
                </a:lnTo>
                <a:lnTo>
                  <a:pt x="9" y="24"/>
                </a:lnTo>
                <a:lnTo>
                  <a:pt x="5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5" y="2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2"/>
                </a:lnTo>
                <a:lnTo>
                  <a:pt x="26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0" name="Freeform 736">
            <a:extLst>
              <a:ext uri="{FF2B5EF4-FFF2-40B4-BE49-F238E27FC236}">
                <a16:creationId xmlns:a16="http://schemas.microsoft.com/office/drawing/2014/main" id="{47AD19FC-BEEC-F8E0-BA88-EEBFD7644D75}"/>
              </a:ext>
            </a:extLst>
          </p:cNvPr>
          <p:cNvSpPr>
            <a:spLocks/>
          </p:cNvSpPr>
          <p:nvPr/>
        </p:nvSpPr>
        <p:spPr bwMode="auto">
          <a:xfrm>
            <a:off x="38586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2 w 26"/>
              <a:gd name="T7" fmla="*/ 22 h 26"/>
              <a:gd name="T8" fmla="*/ 18 w 26"/>
              <a:gd name="T9" fmla="*/ 24 h 26"/>
              <a:gd name="T10" fmla="*/ 13 w 26"/>
              <a:gd name="T11" fmla="*/ 26 h 26"/>
              <a:gd name="T12" fmla="*/ 9 w 26"/>
              <a:gd name="T13" fmla="*/ 24 h 26"/>
              <a:gd name="T14" fmla="*/ 5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5 w 26"/>
              <a:gd name="T25" fmla="*/ 2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2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2" y="22"/>
                </a:lnTo>
                <a:lnTo>
                  <a:pt x="18" y="24"/>
                </a:lnTo>
                <a:lnTo>
                  <a:pt x="13" y="26"/>
                </a:lnTo>
                <a:lnTo>
                  <a:pt x="9" y="24"/>
                </a:lnTo>
                <a:lnTo>
                  <a:pt x="5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5" y="2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2"/>
                </a:lnTo>
                <a:lnTo>
                  <a:pt x="26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1" name="Freeform 737">
            <a:extLst>
              <a:ext uri="{FF2B5EF4-FFF2-40B4-BE49-F238E27FC236}">
                <a16:creationId xmlns:a16="http://schemas.microsoft.com/office/drawing/2014/main" id="{DBB726B4-2253-544E-19B5-87FA0801C080}"/>
              </a:ext>
            </a:extLst>
          </p:cNvPr>
          <p:cNvSpPr>
            <a:spLocks/>
          </p:cNvSpPr>
          <p:nvPr/>
        </p:nvSpPr>
        <p:spPr bwMode="auto">
          <a:xfrm>
            <a:off x="4074585" y="5437717"/>
            <a:ext cx="55033" cy="59267"/>
          </a:xfrm>
          <a:custGeom>
            <a:avLst/>
            <a:gdLst>
              <a:gd name="T0" fmla="*/ 26 w 26"/>
              <a:gd name="T1" fmla="*/ 13 h 28"/>
              <a:gd name="T2" fmla="*/ 26 w 26"/>
              <a:gd name="T3" fmla="*/ 13 h 28"/>
              <a:gd name="T4" fmla="*/ 24 w 26"/>
              <a:gd name="T5" fmla="*/ 21 h 28"/>
              <a:gd name="T6" fmla="*/ 22 w 26"/>
              <a:gd name="T7" fmla="*/ 24 h 28"/>
              <a:gd name="T8" fmla="*/ 17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4 w 26"/>
              <a:gd name="T15" fmla="*/ 24 h 28"/>
              <a:gd name="T16" fmla="*/ 2 w 26"/>
              <a:gd name="T17" fmla="*/ 21 h 28"/>
              <a:gd name="T18" fmla="*/ 0 w 26"/>
              <a:gd name="T19" fmla="*/ 13 h 28"/>
              <a:gd name="T20" fmla="*/ 0 w 26"/>
              <a:gd name="T21" fmla="*/ 13 h 28"/>
              <a:gd name="T22" fmla="*/ 2 w 26"/>
              <a:gd name="T23" fmla="*/ 8 h 28"/>
              <a:gd name="T24" fmla="*/ 4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7 w 26"/>
              <a:gd name="T31" fmla="*/ 2 h 28"/>
              <a:gd name="T32" fmla="*/ 22 w 26"/>
              <a:gd name="T33" fmla="*/ 4 h 28"/>
              <a:gd name="T34" fmla="*/ 24 w 26"/>
              <a:gd name="T35" fmla="*/ 8 h 28"/>
              <a:gd name="T36" fmla="*/ 26 w 26"/>
              <a:gd name="T37" fmla="*/ 1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3"/>
                </a:moveTo>
                <a:lnTo>
                  <a:pt x="26" y="13"/>
                </a:lnTo>
                <a:lnTo>
                  <a:pt x="24" y="21"/>
                </a:lnTo>
                <a:lnTo>
                  <a:pt x="22" y="24"/>
                </a:lnTo>
                <a:lnTo>
                  <a:pt x="17" y="26"/>
                </a:lnTo>
                <a:lnTo>
                  <a:pt x="13" y="28"/>
                </a:lnTo>
                <a:lnTo>
                  <a:pt x="7" y="26"/>
                </a:lnTo>
                <a:lnTo>
                  <a:pt x="4" y="24"/>
                </a:lnTo>
                <a:lnTo>
                  <a:pt x="2" y="21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2" name="Freeform 738">
            <a:extLst>
              <a:ext uri="{FF2B5EF4-FFF2-40B4-BE49-F238E27FC236}">
                <a16:creationId xmlns:a16="http://schemas.microsoft.com/office/drawing/2014/main" id="{47A04F47-6F41-92E1-1B3D-C706988E2ED5}"/>
              </a:ext>
            </a:extLst>
          </p:cNvPr>
          <p:cNvSpPr>
            <a:spLocks/>
          </p:cNvSpPr>
          <p:nvPr/>
        </p:nvSpPr>
        <p:spPr bwMode="auto">
          <a:xfrm>
            <a:off x="4074585" y="5437717"/>
            <a:ext cx="55033" cy="59267"/>
          </a:xfrm>
          <a:custGeom>
            <a:avLst/>
            <a:gdLst>
              <a:gd name="T0" fmla="*/ 26 w 26"/>
              <a:gd name="T1" fmla="*/ 13 h 28"/>
              <a:gd name="T2" fmla="*/ 26 w 26"/>
              <a:gd name="T3" fmla="*/ 13 h 28"/>
              <a:gd name="T4" fmla="*/ 24 w 26"/>
              <a:gd name="T5" fmla="*/ 21 h 28"/>
              <a:gd name="T6" fmla="*/ 22 w 26"/>
              <a:gd name="T7" fmla="*/ 24 h 28"/>
              <a:gd name="T8" fmla="*/ 17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4 w 26"/>
              <a:gd name="T15" fmla="*/ 24 h 28"/>
              <a:gd name="T16" fmla="*/ 2 w 26"/>
              <a:gd name="T17" fmla="*/ 21 h 28"/>
              <a:gd name="T18" fmla="*/ 0 w 26"/>
              <a:gd name="T19" fmla="*/ 13 h 28"/>
              <a:gd name="T20" fmla="*/ 0 w 26"/>
              <a:gd name="T21" fmla="*/ 13 h 28"/>
              <a:gd name="T22" fmla="*/ 2 w 26"/>
              <a:gd name="T23" fmla="*/ 8 h 28"/>
              <a:gd name="T24" fmla="*/ 4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7 w 26"/>
              <a:gd name="T31" fmla="*/ 2 h 28"/>
              <a:gd name="T32" fmla="*/ 22 w 26"/>
              <a:gd name="T33" fmla="*/ 4 h 28"/>
              <a:gd name="T34" fmla="*/ 24 w 26"/>
              <a:gd name="T35" fmla="*/ 8 h 28"/>
              <a:gd name="T36" fmla="*/ 26 w 26"/>
              <a:gd name="T37" fmla="*/ 1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3"/>
                </a:moveTo>
                <a:lnTo>
                  <a:pt x="26" y="13"/>
                </a:lnTo>
                <a:lnTo>
                  <a:pt x="24" y="21"/>
                </a:lnTo>
                <a:lnTo>
                  <a:pt x="22" y="24"/>
                </a:lnTo>
                <a:lnTo>
                  <a:pt x="17" y="26"/>
                </a:lnTo>
                <a:lnTo>
                  <a:pt x="13" y="28"/>
                </a:lnTo>
                <a:lnTo>
                  <a:pt x="7" y="26"/>
                </a:lnTo>
                <a:lnTo>
                  <a:pt x="4" y="24"/>
                </a:lnTo>
                <a:lnTo>
                  <a:pt x="2" y="21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3" name="Freeform 739">
            <a:extLst>
              <a:ext uri="{FF2B5EF4-FFF2-40B4-BE49-F238E27FC236}">
                <a16:creationId xmlns:a16="http://schemas.microsoft.com/office/drawing/2014/main" id="{2A8E917B-D6D8-50EE-02DE-D408B1B0327E}"/>
              </a:ext>
            </a:extLst>
          </p:cNvPr>
          <p:cNvSpPr>
            <a:spLocks/>
          </p:cNvSpPr>
          <p:nvPr/>
        </p:nvSpPr>
        <p:spPr bwMode="auto">
          <a:xfrm>
            <a:off x="42756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4" name="Freeform 740">
            <a:extLst>
              <a:ext uri="{FF2B5EF4-FFF2-40B4-BE49-F238E27FC236}">
                <a16:creationId xmlns:a16="http://schemas.microsoft.com/office/drawing/2014/main" id="{7D3F3A52-B2C0-0B0D-89E0-92741087665B}"/>
              </a:ext>
            </a:extLst>
          </p:cNvPr>
          <p:cNvSpPr>
            <a:spLocks/>
          </p:cNvSpPr>
          <p:nvPr/>
        </p:nvSpPr>
        <p:spPr bwMode="auto">
          <a:xfrm>
            <a:off x="42756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5" name="Freeform 741">
            <a:extLst>
              <a:ext uri="{FF2B5EF4-FFF2-40B4-BE49-F238E27FC236}">
                <a16:creationId xmlns:a16="http://schemas.microsoft.com/office/drawing/2014/main" id="{FD0EAC53-A13E-4C00-61B3-1737989EB4BA}"/>
              </a:ext>
            </a:extLst>
          </p:cNvPr>
          <p:cNvSpPr>
            <a:spLocks/>
          </p:cNvSpPr>
          <p:nvPr/>
        </p:nvSpPr>
        <p:spPr bwMode="auto">
          <a:xfrm>
            <a:off x="44746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6" name="Freeform 742">
            <a:extLst>
              <a:ext uri="{FF2B5EF4-FFF2-40B4-BE49-F238E27FC236}">
                <a16:creationId xmlns:a16="http://schemas.microsoft.com/office/drawing/2014/main" id="{F2BA29AC-4560-206D-3CCA-15D75D9BCAF3}"/>
              </a:ext>
            </a:extLst>
          </p:cNvPr>
          <p:cNvSpPr>
            <a:spLocks/>
          </p:cNvSpPr>
          <p:nvPr/>
        </p:nvSpPr>
        <p:spPr bwMode="auto">
          <a:xfrm>
            <a:off x="44746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7" name="Freeform 743">
            <a:extLst>
              <a:ext uri="{FF2B5EF4-FFF2-40B4-BE49-F238E27FC236}">
                <a16:creationId xmlns:a16="http://schemas.microsoft.com/office/drawing/2014/main" id="{8C56DCBC-6A2D-A5C2-A8D6-E8E214E076B4}"/>
              </a:ext>
            </a:extLst>
          </p:cNvPr>
          <p:cNvSpPr>
            <a:spLocks/>
          </p:cNvSpPr>
          <p:nvPr/>
        </p:nvSpPr>
        <p:spPr bwMode="auto">
          <a:xfrm>
            <a:off x="467571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8" name="Freeform 744">
            <a:extLst>
              <a:ext uri="{FF2B5EF4-FFF2-40B4-BE49-F238E27FC236}">
                <a16:creationId xmlns:a16="http://schemas.microsoft.com/office/drawing/2014/main" id="{CACF9DEA-1012-8B36-827B-555E003E516B}"/>
              </a:ext>
            </a:extLst>
          </p:cNvPr>
          <p:cNvSpPr>
            <a:spLocks/>
          </p:cNvSpPr>
          <p:nvPr/>
        </p:nvSpPr>
        <p:spPr bwMode="auto">
          <a:xfrm>
            <a:off x="467571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9" name="Freeform 745">
            <a:extLst>
              <a:ext uri="{FF2B5EF4-FFF2-40B4-BE49-F238E27FC236}">
                <a16:creationId xmlns:a16="http://schemas.microsoft.com/office/drawing/2014/main" id="{86D0775F-A952-BA03-FCC0-7836BD720920}"/>
              </a:ext>
            </a:extLst>
          </p:cNvPr>
          <p:cNvSpPr>
            <a:spLocks/>
          </p:cNvSpPr>
          <p:nvPr/>
        </p:nvSpPr>
        <p:spPr bwMode="auto">
          <a:xfrm>
            <a:off x="487680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0" name="Freeform 746">
            <a:extLst>
              <a:ext uri="{FF2B5EF4-FFF2-40B4-BE49-F238E27FC236}">
                <a16:creationId xmlns:a16="http://schemas.microsoft.com/office/drawing/2014/main" id="{C0C1402B-388B-AE95-38EF-876FC280428A}"/>
              </a:ext>
            </a:extLst>
          </p:cNvPr>
          <p:cNvSpPr>
            <a:spLocks/>
          </p:cNvSpPr>
          <p:nvPr/>
        </p:nvSpPr>
        <p:spPr bwMode="auto">
          <a:xfrm>
            <a:off x="487680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1" name="Freeform 747">
            <a:extLst>
              <a:ext uri="{FF2B5EF4-FFF2-40B4-BE49-F238E27FC236}">
                <a16:creationId xmlns:a16="http://schemas.microsoft.com/office/drawing/2014/main" id="{AB1B42AD-B0D3-163F-125E-53495F4CF7C3}"/>
              </a:ext>
            </a:extLst>
          </p:cNvPr>
          <p:cNvSpPr>
            <a:spLocks/>
          </p:cNvSpPr>
          <p:nvPr/>
        </p:nvSpPr>
        <p:spPr bwMode="auto">
          <a:xfrm>
            <a:off x="50778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1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1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1" y="19"/>
                </a:lnTo>
                <a:lnTo>
                  <a:pt x="0" y="13"/>
                </a:lnTo>
                <a:lnTo>
                  <a:pt x="0" y="13"/>
                </a:lnTo>
                <a:lnTo>
                  <a:pt x="1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2" name="Freeform 748">
            <a:extLst>
              <a:ext uri="{FF2B5EF4-FFF2-40B4-BE49-F238E27FC236}">
                <a16:creationId xmlns:a16="http://schemas.microsoft.com/office/drawing/2014/main" id="{F9E3F564-D490-CFD4-61FD-C736ED6F4E3A}"/>
              </a:ext>
            </a:extLst>
          </p:cNvPr>
          <p:cNvSpPr>
            <a:spLocks/>
          </p:cNvSpPr>
          <p:nvPr/>
        </p:nvSpPr>
        <p:spPr bwMode="auto">
          <a:xfrm>
            <a:off x="50778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1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1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1" y="19"/>
                </a:lnTo>
                <a:lnTo>
                  <a:pt x="0" y="13"/>
                </a:lnTo>
                <a:lnTo>
                  <a:pt x="0" y="13"/>
                </a:lnTo>
                <a:lnTo>
                  <a:pt x="1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3" name="Freeform 749">
            <a:extLst>
              <a:ext uri="{FF2B5EF4-FFF2-40B4-BE49-F238E27FC236}">
                <a16:creationId xmlns:a16="http://schemas.microsoft.com/office/drawing/2014/main" id="{476390F3-68F7-7DDE-9D52-11A9569E3BBF}"/>
              </a:ext>
            </a:extLst>
          </p:cNvPr>
          <p:cNvSpPr>
            <a:spLocks/>
          </p:cNvSpPr>
          <p:nvPr/>
        </p:nvSpPr>
        <p:spPr bwMode="auto">
          <a:xfrm>
            <a:off x="52768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4" name="Freeform 750">
            <a:extLst>
              <a:ext uri="{FF2B5EF4-FFF2-40B4-BE49-F238E27FC236}">
                <a16:creationId xmlns:a16="http://schemas.microsoft.com/office/drawing/2014/main" id="{0F21A6ED-C924-5320-B287-F0EBA5ABA01B}"/>
              </a:ext>
            </a:extLst>
          </p:cNvPr>
          <p:cNvSpPr>
            <a:spLocks/>
          </p:cNvSpPr>
          <p:nvPr/>
        </p:nvSpPr>
        <p:spPr bwMode="auto">
          <a:xfrm>
            <a:off x="52768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5" name="Freeform 751">
            <a:extLst>
              <a:ext uri="{FF2B5EF4-FFF2-40B4-BE49-F238E27FC236}">
                <a16:creationId xmlns:a16="http://schemas.microsoft.com/office/drawing/2014/main" id="{4074E596-F57C-09F7-436D-FEB070D64A6D}"/>
              </a:ext>
            </a:extLst>
          </p:cNvPr>
          <p:cNvSpPr>
            <a:spLocks/>
          </p:cNvSpPr>
          <p:nvPr/>
        </p:nvSpPr>
        <p:spPr bwMode="auto">
          <a:xfrm>
            <a:off x="54779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6" name="Freeform 752">
            <a:extLst>
              <a:ext uri="{FF2B5EF4-FFF2-40B4-BE49-F238E27FC236}">
                <a16:creationId xmlns:a16="http://schemas.microsoft.com/office/drawing/2014/main" id="{EB0AE49F-C073-178A-5659-DA448E795164}"/>
              </a:ext>
            </a:extLst>
          </p:cNvPr>
          <p:cNvSpPr>
            <a:spLocks/>
          </p:cNvSpPr>
          <p:nvPr/>
        </p:nvSpPr>
        <p:spPr bwMode="auto">
          <a:xfrm>
            <a:off x="54779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7" name="Freeform 753">
            <a:extLst>
              <a:ext uri="{FF2B5EF4-FFF2-40B4-BE49-F238E27FC236}">
                <a16:creationId xmlns:a16="http://schemas.microsoft.com/office/drawing/2014/main" id="{62D6AEAA-7411-E254-4F02-FD0AE7F3480E}"/>
              </a:ext>
            </a:extLst>
          </p:cNvPr>
          <p:cNvSpPr>
            <a:spLocks/>
          </p:cNvSpPr>
          <p:nvPr/>
        </p:nvSpPr>
        <p:spPr bwMode="auto">
          <a:xfrm>
            <a:off x="567901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8" name="Freeform 754">
            <a:extLst>
              <a:ext uri="{FF2B5EF4-FFF2-40B4-BE49-F238E27FC236}">
                <a16:creationId xmlns:a16="http://schemas.microsoft.com/office/drawing/2014/main" id="{B740A97A-3B9E-8345-DE1F-89BE2FF6F996}"/>
              </a:ext>
            </a:extLst>
          </p:cNvPr>
          <p:cNvSpPr>
            <a:spLocks/>
          </p:cNvSpPr>
          <p:nvPr/>
        </p:nvSpPr>
        <p:spPr bwMode="auto">
          <a:xfrm>
            <a:off x="567901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9" name="Freeform 755">
            <a:extLst>
              <a:ext uri="{FF2B5EF4-FFF2-40B4-BE49-F238E27FC236}">
                <a16:creationId xmlns:a16="http://schemas.microsoft.com/office/drawing/2014/main" id="{CD9AA99F-D6FB-04C8-7979-77F8F6D40A3C}"/>
              </a:ext>
            </a:extLst>
          </p:cNvPr>
          <p:cNvSpPr>
            <a:spLocks/>
          </p:cNvSpPr>
          <p:nvPr/>
        </p:nvSpPr>
        <p:spPr bwMode="auto">
          <a:xfrm>
            <a:off x="5877986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0" name="Freeform 756">
            <a:extLst>
              <a:ext uri="{FF2B5EF4-FFF2-40B4-BE49-F238E27FC236}">
                <a16:creationId xmlns:a16="http://schemas.microsoft.com/office/drawing/2014/main" id="{0AB63B86-F04B-3EE2-48AD-0E9AAEF9515D}"/>
              </a:ext>
            </a:extLst>
          </p:cNvPr>
          <p:cNvSpPr>
            <a:spLocks/>
          </p:cNvSpPr>
          <p:nvPr/>
        </p:nvSpPr>
        <p:spPr bwMode="auto">
          <a:xfrm>
            <a:off x="5877986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1" name="Freeform 757">
            <a:extLst>
              <a:ext uri="{FF2B5EF4-FFF2-40B4-BE49-F238E27FC236}">
                <a16:creationId xmlns:a16="http://schemas.microsoft.com/office/drawing/2014/main" id="{5BF84875-6CA4-D25A-BEF1-566EE695CEC1}"/>
              </a:ext>
            </a:extLst>
          </p:cNvPr>
          <p:cNvSpPr>
            <a:spLocks/>
          </p:cNvSpPr>
          <p:nvPr/>
        </p:nvSpPr>
        <p:spPr bwMode="auto">
          <a:xfrm>
            <a:off x="59774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2 w 26"/>
              <a:gd name="T7" fmla="*/ 22 h 26"/>
              <a:gd name="T8" fmla="*/ 18 w 26"/>
              <a:gd name="T9" fmla="*/ 24 h 26"/>
              <a:gd name="T10" fmla="*/ 13 w 26"/>
              <a:gd name="T11" fmla="*/ 26 h 26"/>
              <a:gd name="T12" fmla="*/ 9 w 26"/>
              <a:gd name="T13" fmla="*/ 24 h 26"/>
              <a:gd name="T14" fmla="*/ 5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5 w 26"/>
              <a:gd name="T25" fmla="*/ 2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2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2" y="22"/>
                </a:lnTo>
                <a:lnTo>
                  <a:pt x="18" y="24"/>
                </a:lnTo>
                <a:lnTo>
                  <a:pt x="13" y="26"/>
                </a:lnTo>
                <a:lnTo>
                  <a:pt x="9" y="24"/>
                </a:lnTo>
                <a:lnTo>
                  <a:pt x="5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5" y="2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2"/>
                </a:lnTo>
                <a:lnTo>
                  <a:pt x="26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2" name="Freeform 758">
            <a:extLst>
              <a:ext uri="{FF2B5EF4-FFF2-40B4-BE49-F238E27FC236}">
                <a16:creationId xmlns:a16="http://schemas.microsoft.com/office/drawing/2014/main" id="{D7E7DC75-60C1-1804-5C60-BF83AAAB9ED3}"/>
              </a:ext>
            </a:extLst>
          </p:cNvPr>
          <p:cNvSpPr>
            <a:spLocks/>
          </p:cNvSpPr>
          <p:nvPr/>
        </p:nvSpPr>
        <p:spPr bwMode="auto">
          <a:xfrm>
            <a:off x="59774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2 w 26"/>
              <a:gd name="T7" fmla="*/ 22 h 26"/>
              <a:gd name="T8" fmla="*/ 18 w 26"/>
              <a:gd name="T9" fmla="*/ 24 h 26"/>
              <a:gd name="T10" fmla="*/ 13 w 26"/>
              <a:gd name="T11" fmla="*/ 26 h 26"/>
              <a:gd name="T12" fmla="*/ 9 w 26"/>
              <a:gd name="T13" fmla="*/ 24 h 26"/>
              <a:gd name="T14" fmla="*/ 5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5 w 26"/>
              <a:gd name="T25" fmla="*/ 2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2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2" y="22"/>
                </a:lnTo>
                <a:lnTo>
                  <a:pt x="18" y="24"/>
                </a:lnTo>
                <a:lnTo>
                  <a:pt x="13" y="26"/>
                </a:lnTo>
                <a:lnTo>
                  <a:pt x="9" y="24"/>
                </a:lnTo>
                <a:lnTo>
                  <a:pt x="5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5" y="2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2"/>
                </a:lnTo>
                <a:lnTo>
                  <a:pt x="26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3" name="Freeform 759">
            <a:extLst>
              <a:ext uri="{FF2B5EF4-FFF2-40B4-BE49-F238E27FC236}">
                <a16:creationId xmlns:a16="http://schemas.microsoft.com/office/drawing/2014/main" id="{BBCF0464-B8AA-6B9C-D9AC-693CDAA300AB}"/>
              </a:ext>
            </a:extLst>
          </p:cNvPr>
          <p:cNvSpPr>
            <a:spLocks/>
          </p:cNvSpPr>
          <p:nvPr/>
        </p:nvSpPr>
        <p:spPr bwMode="auto">
          <a:xfrm>
            <a:off x="60790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4" name="Freeform 760">
            <a:extLst>
              <a:ext uri="{FF2B5EF4-FFF2-40B4-BE49-F238E27FC236}">
                <a16:creationId xmlns:a16="http://schemas.microsoft.com/office/drawing/2014/main" id="{92A8A287-FA17-D644-E63F-1D9D1EFEFF58}"/>
              </a:ext>
            </a:extLst>
          </p:cNvPr>
          <p:cNvSpPr>
            <a:spLocks/>
          </p:cNvSpPr>
          <p:nvPr/>
        </p:nvSpPr>
        <p:spPr bwMode="auto">
          <a:xfrm>
            <a:off x="60790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5" name="Line 761">
            <a:extLst>
              <a:ext uri="{FF2B5EF4-FFF2-40B4-BE49-F238E27FC236}">
                <a16:creationId xmlns:a16="http://schemas.microsoft.com/office/drawing/2014/main" id="{C8E7A4F2-52C6-3538-292E-CC408E503805}"/>
              </a:ext>
            </a:extLst>
          </p:cNvPr>
          <p:cNvSpPr>
            <a:spLocks noChangeShapeType="1"/>
          </p:cNvSpPr>
          <p:nvPr/>
        </p:nvSpPr>
        <p:spPr bwMode="auto">
          <a:xfrm>
            <a:off x="3314702" y="1003301"/>
            <a:ext cx="0" cy="4828117"/>
          </a:xfrm>
          <a:prstGeom prst="line">
            <a:avLst/>
          </a:prstGeom>
          <a:noFill/>
          <a:ln w="12700">
            <a:solidFill>
              <a:schemeClr val="accent1">
                <a:lumMod val="75000"/>
              </a:schemeClr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6" name="Line 762">
            <a:extLst>
              <a:ext uri="{FF2B5EF4-FFF2-40B4-BE49-F238E27FC236}">
                <a16:creationId xmlns:a16="http://schemas.microsoft.com/office/drawing/2014/main" id="{971C300B-8A1A-272F-DD40-913B9309163E}"/>
              </a:ext>
            </a:extLst>
          </p:cNvPr>
          <p:cNvSpPr>
            <a:spLocks noChangeShapeType="1"/>
          </p:cNvSpPr>
          <p:nvPr/>
        </p:nvSpPr>
        <p:spPr bwMode="auto">
          <a:xfrm>
            <a:off x="6112325" y="1311353"/>
            <a:ext cx="0" cy="4520065"/>
          </a:xfrm>
          <a:prstGeom prst="line">
            <a:avLst/>
          </a:prstGeom>
          <a:noFill/>
          <a:ln w="12700">
            <a:solidFill>
              <a:schemeClr val="accent1">
                <a:lumMod val="75000"/>
              </a:schemeClr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7" name="Line 763">
            <a:extLst>
              <a:ext uri="{FF2B5EF4-FFF2-40B4-BE49-F238E27FC236}">
                <a16:creationId xmlns:a16="http://schemas.microsoft.com/office/drawing/2014/main" id="{03AD653C-0783-33B0-9AFD-45F2409B587A}"/>
              </a:ext>
            </a:extLst>
          </p:cNvPr>
          <p:cNvSpPr>
            <a:spLocks noChangeShapeType="1"/>
          </p:cNvSpPr>
          <p:nvPr/>
        </p:nvSpPr>
        <p:spPr bwMode="auto">
          <a:xfrm>
            <a:off x="7321552" y="1003301"/>
            <a:ext cx="0" cy="4828117"/>
          </a:xfrm>
          <a:prstGeom prst="line">
            <a:avLst/>
          </a:prstGeom>
          <a:noFill/>
          <a:ln w="12700">
            <a:solidFill>
              <a:schemeClr val="accent1">
                <a:lumMod val="75000"/>
              </a:schemeClr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8" name="Rectangle 764">
            <a:extLst>
              <a:ext uri="{FF2B5EF4-FFF2-40B4-BE49-F238E27FC236}">
                <a16:creationId xmlns:a16="http://schemas.microsoft.com/office/drawing/2014/main" id="{F778CF5F-D367-16E3-7AB8-242B90E0B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9685" y="1001184"/>
            <a:ext cx="1623483" cy="484715"/>
          </a:xfrm>
          <a:prstGeom prst="rect">
            <a:avLst/>
          </a:prstGeom>
          <a:solidFill>
            <a:srgbClr val="55A2A8"/>
          </a:solidFill>
          <a:ln>
            <a:noFill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067" b="1" dirty="0">
                <a:latin typeface="Arial" panose="020B0604020202020204"/>
              </a:rPr>
              <a:t>Period 2</a:t>
            </a:r>
            <a:r>
              <a:rPr lang="en-US" altLang="en-US" sz="1067" b="1" baseline="30000" dirty="0">
                <a:latin typeface="Arial" panose="020B0604020202020204"/>
              </a:rPr>
              <a:t>a</a:t>
            </a:r>
            <a:endParaRPr lang="en-US" altLang="en-US" sz="1067" b="1" dirty="0">
              <a:latin typeface="Arial" panose="020B0604020202020204"/>
            </a:endParaRPr>
          </a:p>
          <a:p>
            <a:pPr algn="ctr" defTabSz="1219170"/>
            <a:r>
              <a:rPr lang="en-US" altLang="en-US" sz="1067" b="1" dirty="0">
                <a:latin typeface="Arial" panose="020B0604020202020204"/>
              </a:rPr>
              <a:t>VES + ATI</a:t>
            </a:r>
          </a:p>
        </p:txBody>
      </p:sp>
      <p:sp>
        <p:nvSpPr>
          <p:cNvPr id="225" name="Rectangle 791">
            <a:extLst>
              <a:ext uri="{FF2B5EF4-FFF2-40B4-BE49-F238E27FC236}">
                <a16:creationId xmlns:a16="http://schemas.microsoft.com/office/drawing/2014/main" id="{828309F5-4CBD-48E6-0269-9E9DCAD16A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7285" y="5954184"/>
            <a:ext cx="857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/>
            <a:r>
              <a:rPr lang="en-US" altLang="en-US" sz="1067" b="1">
                <a:solidFill>
                  <a:srgbClr val="000000"/>
                </a:solidFill>
              </a:rPr>
              <a:t>Weeks of ATI</a:t>
            </a:r>
            <a:endParaRPr lang="en-US" altLang="en-US" sz="2400" b="1">
              <a:solidFill>
                <a:srgbClr val="1E1E1E"/>
              </a:solidFill>
            </a:endParaRPr>
          </a:p>
        </p:txBody>
      </p:sp>
      <p:sp>
        <p:nvSpPr>
          <p:cNvPr id="229" name="Rectangle 795">
            <a:extLst>
              <a:ext uri="{FF2B5EF4-FFF2-40B4-BE49-F238E27FC236}">
                <a16:creationId xmlns:a16="http://schemas.microsoft.com/office/drawing/2014/main" id="{9BDE571E-348B-4BD3-06D3-11708581BD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6385" y="5844117"/>
            <a:ext cx="15028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/>
            <a:r>
              <a:rPr lang="en-US" altLang="en-US" sz="1067">
                <a:solidFill>
                  <a:srgbClr val="000000"/>
                </a:solidFill>
              </a:rPr>
              <a:t>16</a:t>
            </a:r>
            <a:endParaRPr lang="en-US" altLang="en-US" sz="2400">
              <a:solidFill>
                <a:srgbClr val="1E1E1E"/>
              </a:solidFill>
            </a:endParaRPr>
          </a:p>
        </p:txBody>
      </p:sp>
      <p:sp>
        <p:nvSpPr>
          <p:cNvPr id="230" name="Rectangle 796">
            <a:extLst>
              <a:ext uri="{FF2B5EF4-FFF2-40B4-BE49-F238E27FC236}">
                <a16:creationId xmlns:a16="http://schemas.microsoft.com/office/drawing/2014/main" id="{B1DF0F05-9BBE-E9C4-7406-386CF0C5E4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3086" y="5844117"/>
            <a:ext cx="15028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/>
            <a:r>
              <a:rPr lang="en-US" altLang="en-US" sz="1067">
                <a:solidFill>
                  <a:srgbClr val="000000"/>
                </a:solidFill>
              </a:rPr>
              <a:t>44</a:t>
            </a:r>
            <a:endParaRPr lang="en-US" altLang="en-US" sz="2400">
              <a:solidFill>
                <a:srgbClr val="1E1E1E"/>
              </a:solidFill>
            </a:endParaRPr>
          </a:p>
        </p:txBody>
      </p:sp>
      <p:sp>
        <p:nvSpPr>
          <p:cNvPr id="231" name="Rectangle 797">
            <a:extLst>
              <a:ext uri="{FF2B5EF4-FFF2-40B4-BE49-F238E27FC236}">
                <a16:creationId xmlns:a16="http://schemas.microsoft.com/office/drawing/2014/main" id="{E3120FD0-A08A-8490-1C58-81B8533E74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51702" y="5844117"/>
            <a:ext cx="15028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/>
            <a:r>
              <a:rPr lang="en-US" altLang="en-US" sz="1067">
                <a:solidFill>
                  <a:srgbClr val="000000"/>
                </a:solidFill>
              </a:rPr>
              <a:t>56</a:t>
            </a:r>
            <a:endParaRPr lang="en-US" altLang="en-US" sz="2400">
              <a:solidFill>
                <a:srgbClr val="1E1E1E"/>
              </a:solidFill>
            </a:endParaRPr>
          </a:p>
        </p:txBody>
      </p:sp>
      <p:sp>
        <p:nvSpPr>
          <p:cNvPr id="233" name="Rectangle 799">
            <a:extLst>
              <a:ext uri="{FF2B5EF4-FFF2-40B4-BE49-F238E27FC236}">
                <a16:creationId xmlns:a16="http://schemas.microsoft.com/office/drawing/2014/main" id="{0E0775F8-BD09-53C4-7459-E8E105879EBC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204635" y="3573734"/>
            <a:ext cx="158402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 b="1" dirty="0">
                <a:solidFill>
                  <a:srgbClr val="000000"/>
                </a:solidFill>
              </a:rPr>
              <a:t>HIV-1 RNA Copies/mL</a:t>
            </a:r>
            <a:endParaRPr lang="en-US" altLang="en-US" sz="1200" b="1" dirty="0">
              <a:solidFill>
                <a:srgbClr val="1E1E1E"/>
              </a:solidFill>
            </a:endParaRPr>
          </a:p>
        </p:txBody>
      </p:sp>
      <p:sp>
        <p:nvSpPr>
          <p:cNvPr id="840" name="Rectangle 764">
            <a:extLst>
              <a:ext uri="{FF2B5EF4-FFF2-40B4-BE49-F238E27FC236}">
                <a16:creationId xmlns:a16="http://schemas.microsoft.com/office/drawing/2014/main" id="{0CD685EE-260F-F12C-3BB9-A0F1723C80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3169" y="1001184"/>
            <a:ext cx="2798234" cy="493183"/>
          </a:xfrm>
          <a:prstGeom prst="rect">
            <a:avLst/>
          </a:prstGeom>
          <a:solidFill>
            <a:srgbClr val="55A2A8"/>
          </a:solidFill>
          <a:ln>
            <a:noFill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067" b="1">
                <a:latin typeface="Arial" panose="020B0604020202020204"/>
              </a:rPr>
              <a:t>Period 3</a:t>
            </a:r>
          </a:p>
          <a:p>
            <a:pPr algn="ctr" defTabSz="1219170"/>
            <a:r>
              <a:rPr lang="en-US" altLang="en-US" sz="1067" b="1">
                <a:latin typeface="Arial" panose="020B0604020202020204"/>
              </a:rPr>
              <a:t>ATI</a:t>
            </a:r>
            <a:endParaRPr lang="en-US" altLang="en-US" sz="2400">
              <a:latin typeface="Arial" panose="020B0604020202020204"/>
            </a:endParaRPr>
          </a:p>
        </p:txBody>
      </p:sp>
      <p:sp>
        <p:nvSpPr>
          <p:cNvPr id="841" name="Rectangle 764">
            <a:extLst>
              <a:ext uri="{FF2B5EF4-FFF2-40B4-BE49-F238E27FC236}">
                <a16:creationId xmlns:a16="http://schemas.microsoft.com/office/drawing/2014/main" id="{D21A2A9E-D86E-9D36-D878-B5403ED743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9286" y="1001184"/>
            <a:ext cx="1212850" cy="493183"/>
          </a:xfrm>
          <a:prstGeom prst="rect">
            <a:avLst/>
          </a:prstGeom>
          <a:solidFill>
            <a:srgbClr val="396C70"/>
          </a:solidFill>
          <a:ln>
            <a:noFill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067" b="1">
                <a:solidFill>
                  <a:schemeClr val="bg1"/>
                </a:solidFill>
                <a:latin typeface="Arial" panose="020B0604020202020204"/>
              </a:rPr>
              <a:t>Period 4</a:t>
            </a:r>
          </a:p>
          <a:p>
            <a:pPr algn="ctr" defTabSz="1219170"/>
            <a:r>
              <a:rPr lang="en-US" altLang="en-US" sz="1067" b="1">
                <a:solidFill>
                  <a:schemeClr val="bg1"/>
                </a:solidFill>
                <a:latin typeface="Arial" panose="020B0604020202020204"/>
              </a:rPr>
              <a:t>Optional </a:t>
            </a:r>
          </a:p>
          <a:p>
            <a:pPr algn="ctr" defTabSz="1219170"/>
            <a:r>
              <a:rPr lang="en-US" altLang="en-US" sz="1067" b="1">
                <a:solidFill>
                  <a:schemeClr val="bg1"/>
                </a:solidFill>
                <a:latin typeface="Arial" panose="020B0604020202020204"/>
              </a:rPr>
              <a:t>ATI Extension</a:t>
            </a:r>
            <a:endParaRPr lang="en-US" altLang="en-US" sz="240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6EA3067-9DEF-F7F6-5E38-623BF9BC83D7}"/>
              </a:ext>
            </a:extLst>
          </p:cNvPr>
          <p:cNvSpPr txBox="1"/>
          <p:nvPr/>
        </p:nvSpPr>
        <p:spPr>
          <a:xfrm>
            <a:off x="8050008" y="3174082"/>
            <a:ext cx="3682355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377"/>
            <a:r>
              <a:rPr lang="en-US" b="1" dirty="0">
                <a:solidFill>
                  <a:schemeClr val="accent2"/>
                </a:solidFill>
                <a:latin typeface="Arial" panose="020B0604020202020204"/>
              </a:rPr>
              <a:t>Group 2: Delayed ART Restart</a:t>
            </a:r>
          </a:p>
          <a:p>
            <a:pPr marL="380990" indent="-380990" defTabSz="914377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2"/>
                </a:solidFill>
                <a:latin typeface="Arial" panose="020B0604020202020204"/>
              </a:rPr>
              <a:t>7/20 (35%) participants restarted ART during Period 3</a:t>
            </a:r>
          </a:p>
        </p:txBody>
      </p:sp>
      <p:sp>
        <p:nvSpPr>
          <p:cNvPr id="66" name="Rectangle 783">
            <a:extLst>
              <a:ext uri="{FF2B5EF4-FFF2-40B4-BE49-F238E27FC236}">
                <a16:creationId xmlns:a16="http://schemas.microsoft.com/office/drawing/2014/main" id="{5010B2F1-5109-DEC0-6D71-5D1DFB4729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8124" y="4968980"/>
            <a:ext cx="490519" cy="16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/>
            <a:r>
              <a:rPr lang="en-US" altLang="en-US" sz="1067">
                <a:solidFill>
                  <a:srgbClr val="000000"/>
                </a:solidFill>
              </a:rPr>
              <a:t>100,000</a:t>
            </a:r>
            <a:endParaRPr lang="en-US" altLang="en-US" sz="2400">
              <a:solidFill>
                <a:srgbClr val="1E1E1E"/>
              </a:solidFill>
            </a:endParaRPr>
          </a:p>
        </p:txBody>
      </p:sp>
      <p:sp>
        <p:nvSpPr>
          <p:cNvPr id="67" name="Rectangle 784">
            <a:extLst>
              <a:ext uri="{FF2B5EF4-FFF2-40B4-BE49-F238E27FC236}">
                <a16:creationId xmlns:a16="http://schemas.microsoft.com/office/drawing/2014/main" id="{AB54250A-CD9F-EDA9-7C0D-1DD909E1D0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0523" y="5341514"/>
            <a:ext cx="301365" cy="16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/>
            <a:r>
              <a:rPr lang="en-US" altLang="en-US" sz="1067">
                <a:solidFill>
                  <a:srgbClr val="000000"/>
                </a:solidFill>
              </a:rPr>
              <a:t>1000</a:t>
            </a:r>
            <a:endParaRPr lang="en-US" altLang="en-US" sz="2400">
              <a:solidFill>
                <a:srgbClr val="1E1E1E"/>
              </a:solidFill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86C30EE6-BE0C-C67E-1E3D-A96DCCC35F7E}"/>
              </a:ext>
            </a:extLst>
          </p:cNvPr>
          <p:cNvGrpSpPr/>
          <p:nvPr/>
        </p:nvGrpSpPr>
        <p:grpSpPr>
          <a:xfrm>
            <a:off x="964057" y="4552406"/>
            <a:ext cx="6733289" cy="1579578"/>
            <a:chOff x="981663" y="3133920"/>
            <a:chExt cx="6733289" cy="3125548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3612B1AC-1AF1-71BE-13FC-2C888BE95554}"/>
                </a:ext>
              </a:extLst>
            </p:cNvPr>
            <p:cNvSpPr/>
            <p:nvPr/>
          </p:nvSpPr>
          <p:spPr>
            <a:xfrm>
              <a:off x="981663" y="3133920"/>
              <a:ext cx="6733289" cy="312554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020ABABC-6A97-4858-9E2E-485EF5D72380}"/>
                </a:ext>
              </a:extLst>
            </p:cNvPr>
            <p:cNvGrpSpPr/>
            <p:nvPr/>
          </p:nvGrpSpPr>
          <p:grpSpPr>
            <a:xfrm>
              <a:off x="3245022" y="3146978"/>
              <a:ext cx="4185235" cy="475470"/>
              <a:chOff x="3372618" y="5996517"/>
              <a:chExt cx="4185235" cy="475470"/>
            </a:xfrm>
          </p:grpSpPr>
          <p:sp>
            <p:nvSpPr>
              <p:cNvPr id="79" name="Rectangle 791">
                <a:extLst>
                  <a:ext uri="{FF2B5EF4-FFF2-40B4-BE49-F238E27FC236}">
                    <a16:creationId xmlns:a16="http://schemas.microsoft.com/office/drawing/2014/main" id="{8FAEC25B-E51D-935F-9581-9426D4ED2B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9685" y="6106584"/>
                <a:ext cx="946734" cy="3654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1219170"/>
                <a:r>
                  <a:rPr lang="en-US" altLang="en-US" sz="1200" b="1" dirty="0">
                    <a:solidFill>
                      <a:srgbClr val="000000"/>
                    </a:solidFill>
                  </a:rPr>
                  <a:t>Weeks of ATI</a:t>
                </a:r>
                <a:endParaRPr lang="en-US" altLang="en-US" sz="1200" b="1" dirty="0">
                  <a:solidFill>
                    <a:srgbClr val="1E1E1E"/>
                  </a:solidFill>
                </a:endParaRPr>
              </a:p>
            </p:txBody>
          </p:sp>
          <p:sp>
            <p:nvSpPr>
              <p:cNvPr id="80" name="Rectangle 795">
                <a:extLst>
                  <a:ext uri="{FF2B5EF4-FFF2-40B4-BE49-F238E27FC236}">
                    <a16:creationId xmlns:a16="http://schemas.microsoft.com/office/drawing/2014/main" id="{802C6AD9-7578-A0F2-5B76-A37307547F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2618" y="5996517"/>
                <a:ext cx="169918" cy="3654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1219170"/>
                <a:r>
                  <a:rPr lang="en-US" altLang="en-US" sz="1200" dirty="0">
                    <a:solidFill>
                      <a:srgbClr val="000000"/>
                    </a:solidFill>
                  </a:rPr>
                  <a:t>16</a:t>
                </a:r>
                <a:endParaRPr lang="en-US" altLang="en-US" sz="1200" dirty="0">
                  <a:solidFill>
                    <a:srgbClr val="1E1E1E"/>
                  </a:solidFill>
                </a:endParaRPr>
              </a:p>
            </p:txBody>
          </p:sp>
          <p:sp>
            <p:nvSpPr>
              <p:cNvPr id="81" name="Rectangle 796">
                <a:extLst>
                  <a:ext uri="{FF2B5EF4-FFF2-40B4-BE49-F238E27FC236}">
                    <a16:creationId xmlns:a16="http://schemas.microsoft.com/office/drawing/2014/main" id="{FC01A0AD-9829-9E72-8D3D-216398619D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72969" y="5996517"/>
                <a:ext cx="169918" cy="3654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1219170"/>
                <a:r>
                  <a:rPr lang="en-US" altLang="en-US" sz="1200" dirty="0">
                    <a:solidFill>
                      <a:srgbClr val="000000"/>
                    </a:solidFill>
                  </a:rPr>
                  <a:t>44</a:t>
                </a:r>
                <a:endParaRPr lang="en-US" altLang="en-US" sz="1200" dirty="0">
                  <a:solidFill>
                    <a:srgbClr val="1E1E1E"/>
                  </a:solidFill>
                </a:endParaRPr>
              </a:p>
            </p:txBody>
          </p:sp>
          <p:sp>
            <p:nvSpPr>
              <p:cNvPr id="82" name="Rectangle 797">
                <a:extLst>
                  <a:ext uri="{FF2B5EF4-FFF2-40B4-BE49-F238E27FC236}">
                    <a16:creationId xmlns:a16="http://schemas.microsoft.com/office/drawing/2014/main" id="{AE46E5E9-94A0-1945-6F90-FC757847AD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87935" y="5996517"/>
                <a:ext cx="169918" cy="3654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1219170"/>
                <a:r>
                  <a:rPr lang="en-US" altLang="en-US" sz="1200">
                    <a:solidFill>
                      <a:srgbClr val="000000"/>
                    </a:solidFill>
                  </a:rPr>
                  <a:t>56</a:t>
                </a:r>
                <a:endParaRPr lang="en-US" altLang="en-US" sz="1200">
                  <a:solidFill>
                    <a:srgbClr val="1E1E1E"/>
                  </a:solidFill>
                </a:endParaRPr>
              </a:p>
            </p:txBody>
          </p:sp>
        </p:grpSp>
      </p:grpSp>
      <p:sp>
        <p:nvSpPr>
          <p:cNvPr id="2" name="Rectangle 783">
            <a:extLst>
              <a:ext uri="{FF2B5EF4-FFF2-40B4-BE49-F238E27FC236}">
                <a16:creationId xmlns:a16="http://schemas.microsoft.com/office/drawing/2014/main" id="{84ED6887-A6A0-EBBF-962A-CEF57D6013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8104" y="2172229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 dirty="0">
                <a:solidFill>
                  <a:srgbClr val="000000"/>
                </a:solidFill>
              </a:rPr>
              <a:t>100,000</a:t>
            </a:r>
            <a:endParaRPr lang="en-US" altLang="en-US" sz="1200" dirty="0">
              <a:solidFill>
                <a:srgbClr val="1E1E1E"/>
              </a:solidFill>
            </a:endParaRPr>
          </a:p>
        </p:txBody>
      </p:sp>
      <p:sp>
        <p:nvSpPr>
          <p:cNvPr id="3" name="Rectangle 784">
            <a:extLst>
              <a:ext uri="{FF2B5EF4-FFF2-40B4-BE49-F238E27FC236}">
                <a16:creationId xmlns:a16="http://schemas.microsoft.com/office/drawing/2014/main" id="{DA6257B9-46F0-8D25-0FAC-918DEC6840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1304" y="2525715"/>
            <a:ext cx="3398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 dirty="0">
                <a:solidFill>
                  <a:srgbClr val="000000"/>
                </a:solidFill>
              </a:rPr>
              <a:t>1000</a:t>
            </a:r>
            <a:endParaRPr lang="en-US" altLang="en-US" sz="1200" dirty="0">
              <a:solidFill>
                <a:srgbClr val="1E1E1E"/>
              </a:solidFill>
            </a:endParaRPr>
          </a:p>
        </p:txBody>
      </p:sp>
      <p:sp>
        <p:nvSpPr>
          <p:cNvPr id="5" name="Rectangle 783">
            <a:extLst>
              <a:ext uri="{FF2B5EF4-FFF2-40B4-BE49-F238E27FC236}">
                <a16:creationId xmlns:a16="http://schemas.microsoft.com/office/drawing/2014/main" id="{1764F0A3-CDC2-8118-7454-5FFC365867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8104" y="3570724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 dirty="0">
                <a:solidFill>
                  <a:srgbClr val="000000"/>
                </a:solidFill>
              </a:rPr>
              <a:t>100,000</a:t>
            </a:r>
            <a:endParaRPr lang="en-US" altLang="en-US" sz="1200" dirty="0">
              <a:solidFill>
                <a:srgbClr val="1E1E1E"/>
              </a:solidFill>
            </a:endParaRPr>
          </a:p>
        </p:txBody>
      </p:sp>
      <p:sp>
        <p:nvSpPr>
          <p:cNvPr id="7" name="Rectangle 784">
            <a:extLst>
              <a:ext uri="{FF2B5EF4-FFF2-40B4-BE49-F238E27FC236}">
                <a16:creationId xmlns:a16="http://schemas.microsoft.com/office/drawing/2014/main" id="{AA46C8C2-EB8A-E2B8-7BC7-28FF0A0963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1304" y="3926591"/>
            <a:ext cx="3398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 dirty="0">
                <a:solidFill>
                  <a:srgbClr val="000000"/>
                </a:solidFill>
              </a:rPr>
              <a:t>1000</a:t>
            </a:r>
            <a:endParaRPr lang="en-US" altLang="en-US" sz="1200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7081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93FFB4-8068-BB9F-2AC4-EAA4686C79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D4906F-EAE7-A95D-BC21-489D8242E5BF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noFill/>
        </p:spPr>
        <p:txBody>
          <a:bodyPr vert="horz" lIns="0" tIns="0" rIns="0" bIns="0" rtlCol="0" anchor="ctr"/>
          <a:lstStyle/>
          <a:p>
            <a:fld id="{4BEAA09E-D67E-864E-8466-C38E88600C4F}" type="slidenum">
              <a:rPr lang="en-US"/>
              <a:pPr/>
              <a:t>15</a:t>
            </a:fld>
            <a:endParaRPr lang="en-US" dirty="0"/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063BACE7-3E40-AE3B-18CF-7959E376D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3200" dirty="0">
                <a:latin typeface="Arial" panose="020B0604020202020204" pitchFamily="34" charset="0"/>
              </a:rPr>
              <a:t>Three Distinct ATI Outcome Patterns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4F699814-F844-B5AB-D4B7-A55F5F58C0D8}"/>
              </a:ext>
            </a:extLst>
          </p:cNvPr>
          <p:cNvSpPr txBox="1">
            <a:spLocks/>
          </p:cNvSpPr>
          <p:nvPr/>
        </p:nvSpPr>
        <p:spPr>
          <a:xfrm>
            <a:off x="399605" y="6257106"/>
            <a:ext cx="11201200" cy="371512"/>
          </a:xfrm>
          <a:prstGeom prst="rect">
            <a:avLst/>
          </a:prstGeom>
        </p:spPr>
        <p:txBody>
          <a:bodyPr anchor="b" anchorCtr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lnSpc>
                <a:spcPct val="85000"/>
              </a:lnSpc>
            </a:pPr>
            <a:r>
              <a:rPr lang="en-US" sz="1067" b="1" baseline="300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a</a:t>
            </a:r>
            <a:r>
              <a:rPr lang="en-US" sz="1067" dirty="0" err="1">
                <a:solidFill>
                  <a:srgbClr val="000000"/>
                </a:solidFill>
                <a:latin typeface="Arial Narrow" panose="020B0606020202030204" pitchFamily="34" charset="0"/>
              </a:rPr>
              <a:t>bNAb</a:t>
            </a:r>
            <a:r>
              <a:rPr lang="en-US" sz="1067" dirty="0">
                <a:solidFill>
                  <a:srgbClr val="000000"/>
                </a:solidFill>
                <a:latin typeface="Arial Narrow" panose="020B0606020202030204" pitchFamily="34" charset="0"/>
              </a:rPr>
              <a:t> concentrations remained above therapeutic levels for all participants throughout Period 2.</a:t>
            </a:r>
          </a:p>
          <a:p>
            <a:pPr defTabSz="914377">
              <a:lnSpc>
                <a:spcPct val="85000"/>
              </a:lnSpc>
            </a:pPr>
            <a:r>
              <a:rPr lang="en-US" sz="1067" b="1" dirty="0">
                <a:solidFill>
                  <a:srgbClr val="000000"/>
                </a:solidFill>
                <a:latin typeface="Arial Narrow" panose="020B0606020202030204" pitchFamily="34" charset="0"/>
              </a:rPr>
              <a:t>ART</a:t>
            </a:r>
            <a:r>
              <a:rPr lang="en-US" sz="1067" dirty="0">
                <a:solidFill>
                  <a:srgbClr val="000000"/>
                </a:solidFill>
                <a:latin typeface="Arial Narrow" panose="020B0606020202030204" pitchFamily="34" charset="0"/>
              </a:rPr>
              <a:t>, antiretroviral therapy; </a:t>
            </a:r>
            <a:r>
              <a:rPr lang="en-US" sz="1067" b="1" dirty="0">
                <a:solidFill>
                  <a:srgbClr val="000000"/>
                </a:solidFill>
                <a:latin typeface="Arial Narrow" panose="020B0606020202030204" pitchFamily="34" charset="0"/>
              </a:rPr>
              <a:t>ATI</a:t>
            </a:r>
            <a:r>
              <a:rPr lang="en-US" sz="1067" dirty="0">
                <a:solidFill>
                  <a:srgbClr val="000000"/>
                </a:solidFill>
                <a:latin typeface="Arial Narrow" panose="020B0606020202030204" pitchFamily="34" charset="0"/>
              </a:rPr>
              <a:t>, analytical treatment interruption; </a:t>
            </a:r>
            <a:r>
              <a:rPr lang="en-US" sz="1000" b="1" dirty="0"/>
              <a:t>VES</a:t>
            </a:r>
            <a:r>
              <a:rPr lang="en-US" sz="1000" dirty="0"/>
              <a:t>, </a:t>
            </a:r>
            <a:r>
              <a:rPr lang="en-US" sz="1000" dirty="0" err="1"/>
              <a:t>vesatolimod</a:t>
            </a:r>
            <a:r>
              <a:rPr lang="en-US" sz="1000" dirty="0"/>
              <a:t>.</a:t>
            </a:r>
            <a:endParaRPr lang="en-US" sz="1067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AutoShape 3">
            <a:extLst>
              <a:ext uri="{FF2B5EF4-FFF2-40B4-BE49-F238E27FC236}">
                <a16:creationId xmlns:a16="http://schemas.microsoft.com/office/drawing/2014/main" id="{99533353-4AA8-D555-0805-B80B3406379C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66752" y="912284"/>
            <a:ext cx="6828367" cy="521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grpSp>
        <p:nvGrpSpPr>
          <p:cNvPr id="13" name="Group 205">
            <a:extLst>
              <a:ext uri="{FF2B5EF4-FFF2-40B4-BE49-F238E27FC236}">
                <a16:creationId xmlns:a16="http://schemas.microsoft.com/office/drawing/2014/main" id="{FF9A9D46-D81E-1030-4F83-ECFE7C4DB64B}"/>
              </a:ext>
            </a:extLst>
          </p:cNvPr>
          <p:cNvGrpSpPr>
            <a:grpSpLocks/>
          </p:cNvGrpSpPr>
          <p:nvPr/>
        </p:nvGrpSpPr>
        <p:grpSpPr bwMode="auto">
          <a:xfrm>
            <a:off x="1515535" y="1780117"/>
            <a:ext cx="5971117" cy="3992033"/>
            <a:chOff x="716" y="841"/>
            <a:chExt cx="2821" cy="1886"/>
          </a:xfrm>
        </p:grpSpPr>
        <p:sp>
          <p:nvSpPr>
            <p:cNvPr id="638" name="Line 5">
              <a:extLst>
                <a:ext uri="{FF2B5EF4-FFF2-40B4-BE49-F238E27FC236}">
                  <a16:creationId xmlns:a16="http://schemas.microsoft.com/office/drawing/2014/main" id="{D2E91E12-8665-7A2E-C701-AC3130A1B6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902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9" name="Line 6">
              <a:extLst>
                <a:ext uri="{FF2B5EF4-FFF2-40B4-BE49-F238E27FC236}">
                  <a16:creationId xmlns:a16="http://schemas.microsoft.com/office/drawing/2014/main" id="{76979428-4013-1772-0C5F-B70846C020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9" y="841"/>
              <a:ext cx="0" cy="558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0" name="Line 7">
              <a:extLst>
                <a:ext uri="{FF2B5EF4-FFF2-40B4-BE49-F238E27FC236}">
                  <a16:creationId xmlns:a16="http://schemas.microsoft.com/office/drawing/2014/main" id="{120510E6-6201-17F1-7C86-F1F7CB8E0A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2" y="841"/>
              <a:ext cx="0" cy="558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1" name="Line 8">
              <a:extLst>
                <a:ext uri="{FF2B5EF4-FFF2-40B4-BE49-F238E27FC236}">
                  <a16:creationId xmlns:a16="http://schemas.microsoft.com/office/drawing/2014/main" id="{B71FDEB7-DFBD-316C-8281-CD82F08224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56" y="841"/>
              <a:ext cx="0" cy="558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2" name="Line 9">
              <a:extLst>
                <a:ext uri="{FF2B5EF4-FFF2-40B4-BE49-F238E27FC236}">
                  <a16:creationId xmlns:a16="http://schemas.microsoft.com/office/drawing/2014/main" id="{B062087D-C392-06A4-BCAA-1617FB9B9B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28" y="841"/>
              <a:ext cx="0" cy="558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3" name="Line 10">
              <a:extLst>
                <a:ext uri="{FF2B5EF4-FFF2-40B4-BE49-F238E27FC236}">
                  <a16:creationId xmlns:a16="http://schemas.microsoft.com/office/drawing/2014/main" id="{9AB9727F-A98E-DC24-3767-A7F4C8505D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01" y="841"/>
              <a:ext cx="0" cy="558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4" name="Line 11">
              <a:extLst>
                <a:ext uri="{FF2B5EF4-FFF2-40B4-BE49-F238E27FC236}">
                  <a16:creationId xmlns:a16="http://schemas.microsoft.com/office/drawing/2014/main" id="{5F1226FD-8683-163A-6E3A-58FC9191C3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5" y="841"/>
              <a:ext cx="0" cy="558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5" name="Line 12">
              <a:extLst>
                <a:ext uri="{FF2B5EF4-FFF2-40B4-BE49-F238E27FC236}">
                  <a16:creationId xmlns:a16="http://schemas.microsoft.com/office/drawing/2014/main" id="{F6B2DF14-95F1-E499-2D1C-D74A9477D8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985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6" name="Line 13">
              <a:extLst>
                <a:ext uri="{FF2B5EF4-FFF2-40B4-BE49-F238E27FC236}">
                  <a16:creationId xmlns:a16="http://schemas.microsoft.com/office/drawing/2014/main" id="{7E066D6F-A902-2766-224F-F267084A60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069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7" name="Line 14">
              <a:extLst>
                <a:ext uri="{FF2B5EF4-FFF2-40B4-BE49-F238E27FC236}">
                  <a16:creationId xmlns:a16="http://schemas.microsoft.com/office/drawing/2014/main" id="{35AD55FD-2030-9845-C783-C410C7C770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152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8" name="Line 15">
              <a:extLst>
                <a:ext uri="{FF2B5EF4-FFF2-40B4-BE49-F238E27FC236}">
                  <a16:creationId xmlns:a16="http://schemas.microsoft.com/office/drawing/2014/main" id="{D16744A7-4D4C-74FC-406F-6EE0615DD8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236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49" name="Line 16">
              <a:extLst>
                <a:ext uri="{FF2B5EF4-FFF2-40B4-BE49-F238E27FC236}">
                  <a16:creationId xmlns:a16="http://schemas.microsoft.com/office/drawing/2014/main" id="{F3C653BB-6FA6-82A5-61A4-AF1A265CCA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320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0" name="Line 17">
              <a:extLst>
                <a:ext uri="{FF2B5EF4-FFF2-40B4-BE49-F238E27FC236}">
                  <a16:creationId xmlns:a16="http://schemas.microsoft.com/office/drawing/2014/main" id="{D8ED67D3-63F0-00EC-A8BC-7CDB89B553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403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1" name="Line 18">
              <a:extLst>
                <a:ext uri="{FF2B5EF4-FFF2-40B4-BE49-F238E27FC236}">
                  <a16:creationId xmlns:a16="http://schemas.microsoft.com/office/drawing/2014/main" id="{66EE7EA5-1B97-92A1-2676-D9277E4898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565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2" name="Line 19">
              <a:extLst>
                <a:ext uri="{FF2B5EF4-FFF2-40B4-BE49-F238E27FC236}">
                  <a16:creationId xmlns:a16="http://schemas.microsoft.com/office/drawing/2014/main" id="{698FD21D-16B3-EF5D-6637-C9D6F95297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9" y="1503"/>
              <a:ext cx="0" cy="559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3" name="Line 20">
              <a:extLst>
                <a:ext uri="{FF2B5EF4-FFF2-40B4-BE49-F238E27FC236}">
                  <a16:creationId xmlns:a16="http://schemas.microsoft.com/office/drawing/2014/main" id="{CFB2B9B7-51D6-BA4F-D0BC-BBC7256716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2" y="1503"/>
              <a:ext cx="0" cy="559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4" name="Line 21">
              <a:extLst>
                <a:ext uri="{FF2B5EF4-FFF2-40B4-BE49-F238E27FC236}">
                  <a16:creationId xmlns:a16="http://schemas.microsoft.com/office/drawing/2014/main" id="{92642DEA-D5FF-F9C6-F82E-B4EB9C52A2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56" y="1503"/>
              <a:ext cx="0" cy="559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5" name="Line 22">
              <a:extLst>
                <a:ext uri="{FF2B5EF4-FFF2-40B4-BE49-F238E27FC236}">
                  <a16:creationId xmlns:a16="http://schemas.microsoft.com/office/drawing/2014/main" id="{FA050F01-50D2-F8ED-2525-BEC147C168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28" y="1503"/>
              <a:ext cx="0" cy="559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6" name="Line 23">
              <a:extLst>
                <a:ext uri="{FF2B5EF4-FFF2-40B4-BE49-F238E27FC236}">
                  <a16:creationId xmlns:a16="http://schemas.microsoft.com/office/drawing/2014/main" id="{D910952F-8729-E16A-A422-0CCBDC9DD2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01" y="1503"/>
              <a:ext cx="0" cy="559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7" name="Line 24">
              <a:extLst>
                <a:ext uri="{FF2B5EF4-FFF2-40B4-BE49-F238E27FC236}">
                  <a16:creationId xmlns:a16="http://schemas.microsoft.com/office/drawing/2014/main" id="{14A44B92-305B-D92A-ABA0-86DFD1043D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5" y="1503"/>
              <a:ext cx="0" cy="559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8" name="Line 25">
              <a:extLst>
                <a:ext uri="{FF2B5EF4-FFF2-40B4-BE49-F238E27FC236}">
                  <a16:creationId xmlns:a16="http://schemas.microsoft.com/office/drawing/2014/main" id="{79C5CCEA-7A3F-2C66-DD5C-93437440B8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648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59" name="Line 26">
              <a:extLst>
                <a:ext uri="{FF2B5EF4-FFF2-40B4-BE49-F238E27FC236}">
                  <a16:creationId xmlns:a16="http://schemas.microsoft.com/office/drawing/2014/main" id="{0871E77F-8950-C0AF-6A47-26B71F2B0C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732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0" name="Line 27">
              <a:extLst>
                <a:ext uri="{FF2B5EF4-FFF2-40B4-BE49-F238E27FC236}">
                  <a16:creationId xmlns:a16="http://schemas.microsoft.com/office/drawing/2014/main" id="{9C1C1D4B-2363-42A1-F708-65BC184BE3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815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1" name="Line 28">
              <a:extLst>
                <a:ext uri="{FF2B5EF4-FFF2-40B4-BE49-F238E27FC236}">
                  <a16:creationId xmlns:a16="http://schemas.microsoft.com/office/drawing/2014/main" id="{348F30C6-E961-FA6A-430C-88C0C5B2A1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899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2" name="Line 29">
              <a:extLst>
                <a:ext uri="{FF2B5EF4-FFF2-40B4-BE49-F238E27FC236}">
                  <a16:creationId xmlns:a16="http://schemas.microsoft.com/office/drawing/2014/main" id="{123B22B1-3B11-5712-B07E-7511274808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1981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3" name="Line 30">
              <a:extLst>
                <a:ext uri="{FF2B5EF4-FFF2-40B4-BE49-F238E27FC236}">
                  <a16:creationId xmlns:a16="http://schemas.microsoft.com/office/drawing/2014/main" id="{39CA82EA-4CAC-740F-3505-ADF28DA303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064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4" name="Line 31">
              <a:extLst>
                <a:ext uri="{FF2B5EF4-FFF2-40B4-BE49-F238E27FC236}">
                  <a16:creationId xmlns:a16="http://schemas.microsoft.com/office/drawing/2014/main" id="{7E42DCB2-B48D-7BE8-892A-E9C4282DB0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226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5" name="Line 32">
              <a:extLst>
                <a:ext uri="{FF2B5EF4-FFF2-40B4-BE49-F238E27FC236}">
                  <a16:creationId xmlns:a16="http://schemas.microsoft.com/office/drawing/2014/main" id="{28DE63AD-2FED-AAC6-808C-23B77E3877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9" y="2165"/>
              <a:ext cx="0" cy="56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6" name="Line 33">
              <a:extLst>
                <a:ext uri="{FF2B5EF4-FFF2-40B4-BE49-F238E27FC236}">
                  <a16:creationId xmlns:a16="http://schemas.microsoft.com/office/drawing/2014/main" id="{7A6974BA-C504-829C-C31C-CBC3B46D94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2" y="2165"/>
              <a:ext cx="0" cy="56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7" name="Line 34">
              <a:extLst>
                <a:ext uri="{FF2B5EF4-FFF2-40B4-BE49-F238E27FC236}">
                  <a16:creationId xmlns:a16="http://schemas.microsoft.com/office/drawing/2014/main" id="{9999285D-663B-B1C0-A193-801191959E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56" y="2165"/>
              <a:ext cx="0" cy="56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8" name="Line 35">
              <a:extLst>
                <a:ext uri="{FF2B5EF4-FFF2-40B4-BE49-F238E27FC236}">
                  <a16:creationId xmlns:a16="http://schemas.microsoft.com/office/drawing/2014/main" id="{2C812BD7-9DEC-0764-FF45-706B00C42E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28" y="2165"/>
              <a:ext cx="0" cy="56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69" name="Line 36">
              <a:extLst>
                <a:ext uri="{FF2B5EF4-FFF2-40B4-BE49-F238E27FC236}">
                  <a16:creationId xmlns:a16="http://schemas.microsoft.com/office/drawing/2014/main" id="{77FE51ED-EA8F-04D5-7D2F-FAA5AA5543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01" y="2165"/>
              <a:ext cx="0" cy="56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0" name="Line 37">
              <a:extLst>
                <a:ext uri="{FF2B5EF4-FFF2-40B4-BE49-F238E27FC236}">
                  <a16:creationId xmlns:a16="http://schemas.microsoft.com/office/drawing/2014/main" id="{9DDC4D91-B35F-C8F5-2B2E-CF14F0474C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5" y="2165"/>
              <a:ext cx="0" cy="56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1" name="Line 38">
              <a:extLst>
                <a:ext uri="{FF2B5EF4-FFF2-40B4-BE49-F238E27FC236}">
                  <a16:creationId xmlns:a16="http://schemas.microsoft.com/office/drawing/2014/main" id="{0161B424-FDED-EDC1-C6B9-A93FD6557C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309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2" name="Line 39">
              <a:extLst>
                <a:ext uri="{FF2B5EF4-FFF2-40B4-BE49-F238E27FC236}">
                  <a16:creationId xmlns:a16="http://schemas.microsoft.com/office/drawing/2014/main" id="{CF9DA3F5-211B-E6AE-7E83-A93386AE8F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393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3" name="Line 40">
              <a:extLst>
                <a:ext uri="{FF2B5EF4-FFF2-40B4-BE49-F238E27FC236}">
                  <a16:creationId xmlns:a16="http://schemas.microsoft.com/office/drawing/2014/main" id="{C6318E9B-5BBF-1C80-FCCF-CE96836198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476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4" name="Line 41">
              <a:extLst>
                <a:ext uri="{FF2B5EF4-FFF2-40B4-BE49-F238E27FC236}">
                  <a16:creationId xmlns:a16="http://schemas.microsoft.com/office/drawing/2014/main" id="{088CCDA1-877E-A904-934E-6DF4421799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560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5" name="Line 42">
              <a:extLst>
                <a:ext uri="{FF2B5EF4-FFF2-40B4-BE49-F238E27FC236}">
                  <a16:creationId xmlns:a16="http://schemas.microsoft.com/office/drawing/2014/main" id="{F58080AE-4152-BFD2-94A3-F8798625B0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644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6" name="Line 43">
              <a:extLst>
                <a:ext uri="{FF2B5EF4-FFF2-40B4-BE49-F238E27FC236}">
                  <a16:creationId xmlns:a16="http://schemas.microsoft.com/office/drawing/2014/main" id="{BB26381B-C5CC-0826-CEFE-48B688CF9F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2727"/>
              <a:ext cx="2821" cy="0"/>
            </a:xfrm>
            <a:prstGeom prst="line">
              <a:avLst/>
            </a:prstGeom>
            <a:noFill/>
            <a:ln w="11113">
              <a:solidFill>
                <a:srgbClr val="E1E1E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7" name="Freeform 44">
              <a:extLst>
                <a:ext uri="{FF2B5EF4-FFF2-40B4-BE49-F238E27FC236}">
                  <a16:creationId xmlns:a16="http://schemas.microsoft.com/office/drawing/2014/main" id="{399E0883-8B7E-98F7-3972-1774557782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" y="1024"/>
              <a:ext cx="332" cy="355"/>
            </a:xfrm>
            <a:custGeom>
              <a:avLst/>
              <a:gdLst>
                <a:gd name="T0" fmla="*/ 0 w 332"/>
                <a:gd name="T1" fmla="*/ 355 h 355"/>
                <a:gd name="T2" fmla="*/ 95 w 332"/>
                <a:gd name="T3" fmla="*/ 355 h 355"/>
                <a:gd name="T4" fmla="*/ 189 w 332"/>
                <a:gd name="T5" fmla="*/ 296 h 355"/>
                <a:gd name="T6" fmla="*/ 238 w 332"/>
                <a:gd name="T7" fmla="*/ 91 h 355"/>
                <a:gd name="T8" fmla="*/ 284 w 332"/>
                <a:gd name="T9" fmla="*/ 13 h 355"/>
                <a:gd name="T10" fmla="*/ 332 w 332"/>
                <a:gd name="T11" fmla="*/ 0 h 355"/>
                <a:gd name="T12" fmla="*/ 332 w 332"/>
                <a:gd name="T13" fmla="*/ 2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2" h="355">
                  <a:moveTo>
                    <a:pt x="0" y="355"/>
                  </a:moveTo>
                  <a:lnTo>
                    <a:pt x="95" y="355"/>
                  </a:lnTo>
                  <a:lnTo>
                    <a:pt x="189" y="296"/>
                  </a:lnTo>
                  <a:lnTo>
                    <a:pt x="238" y="91"/>
                  </a:lnTo>
                  <a:lnTo>
                    <a:pt x="284" y="13"/>
                  </a:lnTo>
                  <a:lnTo>
                    <a:pt x="332" y="0"/>
                  </a:lnTo>
                  <a:lnTo>
                    <a:pt x="332" y="2"/>
                  </a:lnTo>
                </a:path>
              </a:pathLst>
            </a:custGeom>
            <a:noFill/>
            <a:ln w="11113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8" name="Freeform 45">
              <a:extLst>
                <a:ext uri="{FF2B5EF4-FFF2-40B4-BE49-F238E27FC236}">
                  <a16:creationId xmlns:a16="http://schemas.microsoft.com/office/drawing/2014/main" id="{BDECEA61-0290-E0C3-641A-5AB8DE5DF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932"/>
              <a:ext cx="520" cy="432"/>
            </a:xfrm>
            <a:custGeom>
              <a:avLst/>
              <a:gdLst>
                <a:gd name="T0" fmla="*/ 0 w 520"/>
                <a:gd name="T1" fmla="*/ 432 h 432"/>
                <a:gd name="T2" fmla="*/ 378 w 520"/>
                <a:gd name="T3" fmla="*/ 432 h 432"/>
                <a:gd name="T4" fmla="*/ 471 w 520"/>
                <a:gd name="T5" fmla="*/ 0 h 432"/>
                <a:gd name="T6" fmla="*/ 507 w 520"/>
                <a:gd name="T7" fmla="*/ 70 h 432"/>
                <a:gd name="T8" fmla="*/ 520 w 520"/>
                <a:gd name="T9" fmla="*/ 78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0" h="432">
                  <a:moveTo>
                    <a:pt x="0" y="432"/>
                  </a:moveTo>
                  <a:lnTo>
                    <a:pt x="378" y="432"/>
                  </a:lnTo>
                  <a:lnTo>
                    <a:pt x="471" y="0"/>
                  </a:lnTo>
                  <a:lnTo>
                    <a:pt x="507" y="70"/>
                  </a:lnTo>
                  <a:lnTo>
                    <a:pt x="520" y="78"/>
                  </a:lnTo>
                </a:path>
              </a:pathLst>
            </a:custGeom>
            <a:noFill/>
            <a:ln w="11113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79" name="Freeform 46">
              <a:extLst>
                <a:ext uri="{FF2B5EF4-FFF2-40B4-BE49-F238E27FC236}">
                  <a16:creationId xmlns:a16="http://schemas.microsoft.com/office/drawing/2014/main" id="{72154230-93EB-7DA8-6F44-0BFFD010D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" y="1024"/>
              <a:ext cx="479" cy="340"/>
            </a:xfrm>
            <a:custGeom>
              <a:avLst/>
              <a:gdLst>
                <a:gd name="T0" fmla="*/ 0 w 479"/>
                <a:gd name="T1" fmla="*/ 340 h 340"/>
                <a:gd name="T2" fmla="*/ 102 w 479"/>
                <a:gd name="T3" fmla="*/ 340 h 340"/>
                <a:gd name="T4" fmla="*/ 149 w 479"/>
                <a:gd name="T5" fmla="*/ 212 h 340"/>
                <a:gd name="T6" fmla="*/ 197 w 479"/>
                <a:gd name="T7" fmla="*/ 123 h 340"/>
                <a:gd name="T8" fmla="*/ 243 w 479"/>
                <a:gd name="T9" fmla="*/ 154 h 340"/>
                <a:gd name="T10" fmla="*/ 292 w 479"/>
                <a:gd name="T11" fmla="*/ 123 h 340"/>
                <a:gd name="T12" fmla="*/ 338 w 479"/>
                <a:gd name="T13" fmla="*/ 132 h 340"/>
                <a:gd name="T14" fmla="*/ 386 w 479"/>
                <a:gd name="T15" fmla="*/ 65 h 340"/>
                <a:gd name="T16" fmla="*/ 433 w 479"/>
                <a:gd name="T17" fmla="*/ 0 h 340"/>
                <a:gd name="T18" fmla="*/ 466 w 479"/>
                <a:gd name="T19" fmla="*/ 10 h 340"/>
                <a:gd name="T20" fmla="*/ 479 w 479"/>
                <a:gd name="T21" fmla="*/ 69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9" h="340">
                  <a:moveTo>
                    <a:pt x="0" y="340"/>
                  </a:moveTo>
                  <a:lnTo>
                    <a:pt x="102" y="340"/>
                  </a:lnTo>
                  <a:lnTo>
                    <a:pt x="149" y="212"/>
                  </a:lnTo>
                  <a:lnTo>
                    <a:pt x="197" y="123"/>
                  </a:lnTo>
                  <a:lnTo>
                    <a:pt x="243" y="154"/>
                  </a:lnTo>
                  <a:lnTo>
                    <a:pt x="292" y="123"/>
                  </a:lnTo>
                  <a:lnTo>
                    <a:pt x="338" y="132"/>
                  </a:lnTo>
                  <a:lnTo>
                    <a:pt x="386" y="65"/>
                  </a:lnTo>
                  <a:lnTo>
                    <a:pt x="433" y="0"/>
                  </a:lnTo>
                  <a:lnTo>
                    <a:pt x="466" y="10"/>
                  </a:lnTo>
                  <a:lnTo>
                    <a:pt x="479" y="69"/>
                  </a:lnTo>
                </a:path>
              </a:pathLst>
            </a:custGeom>
            <a:noFill/>
            <a:ln w="11113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0" name="Freeform 47">
              <a:extLst>
                <a:ext uri="{FF2B5EF4-FFF2-40B4-BE49-F238E27FC236}">
                  <a16:creationId xmlns:a16="http://schemas.microsoft.com/office/drawing/2014/main" id="{A196DE06-81DB-3DFA-10B2-16CF63E24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867"/>
              <a:ext cx="425" cy="497"/>
            </a:xfrm>
            <a:custGeom>
              <a:avLst/>
              <a:gdLst>
                <a:gd name="T0" fmla="*/ 0 w 425"/>
                <a:gd name="T1" fmla="*/ 497 h 497"/>
                <a:gd name="T2" fmla="*/ 284 w 425"/>
                <a:gd name="T3" fmla="*/ 497 h 497"/>
                <a:gd name="T4" fmla="*/ 378 w 425"/>
                <a:gd name="T5" fmla="*/ 174 h 497"/>
                <a:gd name="T6" fmla="*/ 412 w 425"/>
                <a:gd name="T7" fmla="*/ 27 h 497"/>
                <a:gd name="T8" fmla="*/ 425 w 425"/>
                <a:gd name="T9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5" h="497">
                  <a:moveTo>
                    <a:pt x="0" y="497"/>
                  </a:moveTo>
                  <a:lnTo>
                    <a:pt x="284" y="497"/>
                  </a:lnTo>
                  <a:lnTo>
                    <a:pt x="378" y="174"/>
                  </a:lnTo>
                  <a:lnTo>
                    <a:pt x="412" y="27"/>
                  </a:lnTo>
                  <a:lnTo>
                    <a:pt x="425" y="0"/>
                  </a:lnTo>
                </a:path>
              </a:pathLst>
            </a:custGeom>
            <a:noFill/>
            <a:ln w="11113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1" name="Freeform 48">
              <a:extLst>
                <a:ext uri="{FF2B5EF4-FFF2-40B4-BE49-F238E27FC236}">
                  <a16:creationId xmlns:a16="http://schemas.microsoft.com/office/drawing/2014/main" id="{89029565-5DBC-CAB7-D1BE-A4614BCF40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924"/>
              <a:ext cx="297" cy="440"/>
            </a:xfrm>
            <a:custGeom>
              <a:avLst/>
              <a:gdLst>
                <a:gd name="T0" fmla="*/ 0 w 297"/>
                <a:gd name="T1" fmla="*/ 440 h 440"/>
                <a:gd name="T2" fmla="*/ 189 w 297"/>
                <a:gd name="T3" fmla="*/ 440 h 440"/>
                <a:gd name="T4" fmla="*/ 284 w 297"/>
                <a:gd name="T5" fmla="*/ 58 h 440"/>
                <a:gd name="T6" fmla="*/ 289 w 297"/>
                <a:gd name="T7" fmla="*/ 21 h 440"/>
                <a:gd name="T8" fmla="*/ 297 w 297"/>
                <a:gd name="T9" fmla="*/ 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7" h="440">
                  <a:moveTo>
                    <a:pt x="0" y="440"/>
                  </a:moveTo>
                  <a:lnTo>
                    <a:pt x="189" y="440"/>
                  </a:lnTo>
                  <a:lnTo>
                    <a:pt x="284" y="58"/>
                  </a:lnTo>
                  <a:lnTo>
                    <a:pt x="289" y="21"/>
                  </a:lnTo>
                  <a:lnTo>
                    <a:pt x="297" y="0"/>
                  </a:lnTo>
                </a:path>
              </a:pathLst>
            </a:custGeom>
            <a:noFill/>
            <a:ln w="11113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2" name="Freeform 49">
              <a:extLst>
                <a:ext uri="{FF2B5EF4-FFF2-40B4-BE49-F238E27FC236}">
                  <a16:creationId xmlns:a16="http://schemas.microsoft.com/office/drawing/2014/main" id="{48254F38-F6DC-6C90-D1F0-7A5BDCAAD2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073"/>
              <a:ext cx="622" cy="291"/>
            </a:xfrm>
            <a:custGeom>
              <a:avLst/>
              <a:gdLst>
                <a:gd name="T0" fmla="*/ 0 w 622"/>
                <a:gd name="T1" fmla="*/ 291 h 291"/>
                <a:gd name="T2" fmla="*/ 189 w 622"/>
                <a:gd name="T3" fmla="*/ 291 h 291"/>
                <a:gd name="T4" fmla="*/ 284 w 622"/>
                <a:gd name="T5" fmla="*/ 7 h 291"/>
                <a:gd name="T6" fmla="*/ 330 w 622"/>
                <a:gd name="T7" fmla="*/ 0 h 291"/>
                <a:gd name="T8" fmla="*/ 378 w 622"/>
                <a:gd name="T9" fmla="*/ 24 h 291"/>
                <a:gd name="T10" fmla="*/ 425 w 622"/>
                <a:gd name="T11" fmla="*/ 0 h 291"/>
                <a:gd name="T12" fmla="*/ 471 w 622"/>
                <a:gd name="T13" fmla="*/ 3 h 291"/>
                <a:gd name="T14" fmla="*/ 520 w 622"/>
                <a:gd name="T15" fmla="*/ 14 h 291"/>
                <a:gd name="T16" fmla="*/ 566 w 622"/>
                <a:gd name="T17" fmla="*/ 13 h 291"/>
                <a:gd name="T18" fmla="*/ 622 w 622"/>
                <a:gd name="T19" fmla="*/ 2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2" h="291">
                  <a:moveTo>
                    <a:pt x="0" y="291"/>
                  </a:moveTo>
                  <a:lnTo>
                    <a:pt x="189" y="291"/>
                  </a:lnTo>
                  <a:lnTo>
                    <a:pt x="284" y="7"/>
                  </a:lnTo>
                  <a:lnTo>
                    <a:pt x="330" y="0"/>
                  </a:lnTo>
                  <a:lnTo>
                    <a:pt x="378" y="24"/>
                  </a:lnTo>
                  <a:lnTo>
                    <a:pt x="425" y="0"/>
                  </a:lnTo>
                  <a:lnTo>
                    <a:pt x="471" y="3"/>
                  </a:lnTo>
                  <a:lnTo>
                    <a:pt x="520" y="14"/>
                  </a:lnTo>
                  <a:lnTo>
                    <a:pt x="566" y="13"/>
                  </a:lnTo>
                  <a:lnTo>
                    <a:pt x="622" y="20"/>
                  </a:lnTo>
                </a:path>
              </a:pathLst>
            </a:custGeom>
            <a:noFill/>
            <a:ln w="11113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3" name="Freeform 50">
              <a:extLst>
                <a:ext uri="{FF2B5EF4-FFF2-40B4-BE49-F238E27FC236}">
                  <a16:creationId xmlns:a16="http://schemas.microsoft.com/office/drawing/2014/main" id="{C892FC26-7B18-0FBF-0F17-A35B8DCC8F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117"/>
              <a:ext cx="573" cy="247"/>
            </a:xfrm>
            <a:custGeom>
              <a:avLst/>
              <a:gdLst>
                <a:gd name="T0" fmla="*/ 0 w 573"/>
                <a:gd name="T1" fmla="*/ 247 h 247"/>
                <a:gd name="T2" fmla="*/ 94 w 573"/>
                <a:gd name="T3" fmla="*/ 247 h 247"/>
                <a:gd name="T4" fmla="*/ 189 w 573"/>
                <a:gd name="T5" fmla="*/ 169 h 247"/>
                <a:gd name="T6" fmla="*/ 235 w 573"/>
                <a:gd name="T7" fmla="*/ 43 h 247"/>
                <a:gd name="T8" fmla="*/ 284 w 573"/>
                <a:gd name="T9" fmla="*/ 0 h 247"/>
                <a:gd name="T10" fmla="*/ 330 w 573"/>
                <a:gd name="T11" fmla="*/ 32 h 247"/>
                <a:gd name="T12" fmla="*/ 378 w 573"/>
                <a:gd name="T13" fmla="*/ 32 h 247"/>
                <a:gd name="T14" fmla="*/ 425 w 573"/>
                <a:gd name="T15" fmla="*/ 26 h 247"/>
                <a:gd name="T16" fmla="*/ 471 w 573"/>
                <a:gd name="T17" fmla="*/ 50 h 247"/>
                <a:gd name="T18" fmla="*/ 520 w 573"/>
                <a:gd name="T19" fmla="*/ 54 h 247"/>
                <a:gd name="T20" fmla="*/ 566 w 573"/>
                <a:gd name="T21" fmla="*/ 93 h 247"/>
                <a:gd name="T22" fmla="*/ 573 w 573"/>
                <a:gd name="T23" fmla="*/ 10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3" h="247">
                  <a:moveTo>
                    <a:pt x="0" y="247"/>
                  </a:moveTo>
                  <a:lnTo>
                    <a:pt x="94" y="247"/>
                  </a:lnTo>
                  <a:lnTo>
                    <a:pt x="189" y="169"/>
                  </a:lnTo>
                  <a:lnTo>
                    <a:pt x="235" y="43"/>
                  </a:lnTo>
                  <a:lnTo>
                    <a:pt x="284" y="0"/>
                  </a:lnTo>
                  <a:lnTo>
                    <a:pt x="330" y="32"/>
                  </a:lnTo>
                  <a:lnTo>
                    <a:pt x="378" y="32"/>
                  </a:lnTo>
                  <a:lnTo>
                    <a:pt x="425" y="26"/>
                  </a:lnTo>
                  <a:lnTo>
                    <a:pt x="471" y="50"/>
                  </a:lnTo>
                  <a:lnTo>
                    <a:pt x="520" y="54"/>
                  </a:lnTo>
                  <a:lnTo>
                    <a:pt x="566" y="93"/>
                  </a:lnTo>
                  <a:lnTo>
                    <a:pt x="573" y="100"/>
                  </a:lnTo>
                </a:path>
              </a:pathLst>
            </a:custGeom>
            <a:noFill/>
            <a:ln w="11113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4" name="Freeform 51">
              <a:extLst>
                <a:ext uri="{FF2B5EF4-FFF2-40B4-BE49-F238E27FC236}">
                  <a16:creationId xmlns:a16="http://schemas.microsoft.com/office/drawing/2014/main" id="{07A973DA-559B-0706-C7B2-509FC169A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1366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0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5" name="Freeform 52">
              <a:extLst>
                <a:ext uri="{FF2B5EF4-FFF2-40B4-BE49-F238E27FC236}">
                  <a16:creationId xmlns:a16="http://schemas.microsoft.com/office/drawing/2014/main" id="{A113BC54-EDA2-7CED-ECDD-67216BA83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1366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0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6" name="Freeform 53">
              <a:extLst>
                <a:ext uri="{FF2B5EF4-FFF2-40B4-BE49-F238E27FC236}">
                  <a16:creationId xmlns:a16="http://schemas.microsoft.com/office/drawing/2014/main" id="{92C496F6-A9E7-F860-9362-141DB3538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366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0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7" name="Freeform 54">
              <a:extLst>
                <a:ext uri="{FF2B5EF4-FFF2-40B4-BE49-F238E27FC236}">
                  <a16:creationId xmlns:a16="http://schemas.microsoft.com/office/drawing/2014/main" id="{35288B89-08B9-64E4-7E0B-4DCC583B4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366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0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8" name="Freeform 55">
              <a:extLst>
                <a:ext uri="{FF2B5EF4-FFF2-40B4-BE49-F238E27FC236}">
                  <a16:creationId xmlns:a16="http://schemas.microsoft.com/office/drawing/2014/main" id="{0B00535C-AB05-0EB7-FA50-B5DF51EC3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" y="130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3 w 26"/>
                <a:gd name="T33" fmla="*/ 3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89" name="Freeform 56">
              <a:extLst>
                <a:ext uri="{FF2B5EF4-FFF2-40B4-BE49-F238E27FC236}">
                  <a16:creationId xmlns:a16="http://schemas.microsoft.com/office/drawing/2014/main" id="{7EF37B9B-939A-76EB-4742-D22D041ED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" y="130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3 w 26"/>
                <a:gd name="T33" fmla="*/ 3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0" name="Freeform 57">
              <a:extLst>
                <a:ext uri="{FF2B5EF4-FFF2-40B4-BE49-F238E27FC236}">
                  <a16:creationId xmlns:a16="http://schemas.microsoft.com/office/drawing/2014/main" id="{7C51B4ED-77F2-51CA-27F4-F10D234BA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00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1 h 28"/>
                <a:gd name="T6" fmla="*/ 20 w 24"/>
                <a:gd name="T7" fmla="*/ 25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5 h 28"/>
                <a:gd name="T16" fmla="*/ 0 w 24"/>
                <a:gd name="T17" fmla="*/ 21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8 h 28"/>
                <a:gd name="T24" fmla="*/ 3 w 24"/>
                <a:gd name="T25" fmla="*/ 4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4 h 28"/>
                <a:gd name="T34" fmla="*/ 24 w 24"/>
                <a:gd name="T35" fmla="*/ 8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1"/>
                  </a:lnTo>
                  <a:lnTo>
                    <a:pt x="20" y="25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5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1" name="Freeform 58">
              <a:extLst>
                <a:ext uri="{FF2B5EF4-FFF2-40B4-BE49-F238E27FC236}">
                  <a16:creationId xmlns:a16="http://schemas.microsoft.com/office/drawing/2014/main" id="{857DC5D1-9619-06CC-FC87-404609A40A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00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1 h 28"/>
                <a:gd name="T6" fmla="*/ 20 w 24"/>
                <a:gd name="T7" fmla="*/ 25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5 h 28"/>
                <a:gd name="T16" fmla="*/ 0 w 24"/>
                <a:gd name="T17" fmla="*/ 21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8 h 28"/>
                <a:gd name="T24" fmla="*/ 3 w 24"/>
                <a:gd name="T25" fmla="*/ 4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4 h 28"/>
                <a:gd name="T34" fmla="*/ 24 w 24"/>
                <a:gd name="T35" fmla="*/ 8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1"/>
                  </a:lnTo>
                  <a:lnTo>
                    <a:pt x="20" y="25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5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2" name="Freeform 59">
              <a:extLst>
                <a:ext uri="{FF2B5EF4-FFF2-40B4-BE49-F238E27FC236}">
                  <a16:creationId xmlns:a16="http://schemas.microsoft.com/office/drawing/2014/main" id="{3ECB051C-118D-BD0E-C8D6-64B607552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02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3" name="Freeform 60">
              <a:extLst>
                <a:ext uri="{FF2B5EF4-FFF2-40B4-BE49-F238E27FC236}">
                  <a16:creationId xmlns:a16="http://schemas.microsoft.com/office/drawing/2014/main" id="{31A5BEDE-0E88-7222-DBC8-9950C71B0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02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4" name="Freeform 61">
              <a:extLst>
                <a:ext uri="{FF2B5EF4-FFF2-40B4-BE49-F238E27FC236}">
                  <a16:creationId xmlns:a16="http://schemas.microsoft.com/office/drawing/2014/main" id="{5A615B80-51E2-B477-BEDE-75A8A049E2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11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3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3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3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5" name="Freeform 62">
              <a:extLst>
                <a:ext uri="{FF2B5EF4-FFF2-40B4-BE49-F238E27FC236}">
                  <a16:creationId xmlns:a16="http://schemas.microsoft.com/office/drawing/2014/main" id="{CDF4E46C-E854-3056-62B4-466CA52CBD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11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3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3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3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6" name="Freeform 63">
              <a:extLst>
                <a:ext uri="{FF2B5EF4-FFF2-40B4-BE49-F238E27FC236}">
                  <a16:creationId xmlns:a16="http://schemas.microsoft.com/office/drawing/2014/main" id="{F35CC057-A3BC-0749-E1DD-5658B94F1E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13"/>
              <a:ext cx="25" cy="28"/>
            </a:xfrm>
            <a:custGeom>
              <a:avLst/>
              <a:gdLst>
                <a:gd name="T0" fmla="*/ 25 w 25"/>
                <a:gd name="T1" fmla="*/ 13 h 28"/>
                <a:gd name="T2" fmla="*/ 25 w 25"/>
                <a:gd name="T3" fmla="*/ 13 h 28"/>
                <a:gd name="T4" fmla="*/ 25 w 25"/>
                <a:gd name="T5" fmla="*/ 21 h 28"/>
                <a:gd name="T6" fmla="*/ 21 w 25"/>
                <a:gd name="T7" fmla="*/ 24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4 h 28"/>
                <a:gd name="T16" fmla="*/ 0 w 25"/>
                <a:gd name="T17" fmla="*/ 21 h 28"/>
                <a:gd name="T18" fmla="*/ 0 w 25"/>
                <a:gd name="T19" fmla="*/ 13 h 28"/>
                <a:gd name="T20" fmla="*/ 0 w 25"/>
                <a:gd name="T21" fmla="*/ 13 h 28"/>
                <a:gd name="T22" fmla="*/ 0 w 25"/>
                <a:gd name="T23" fmla="*/ 8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8 h 28"/>
                <a:gd name="T36" fmla="*/ 25 w 25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3"/>
                  </a:moveTo>
                  <a:lnTo>
                    <a:pt x="25" y="13"/>
                  </a:lnTo>
                  <a:lnTo>
                    <a:pt x="25" y="21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E31A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7" name="Freeform 64">
              <a:extLst>
                <a:ext uri="{FF2B5EF4-FFF2-40B4-BE49-F238E27FC236}">
                  <a16:creationId xmlns:a16="http://schemas.microsoft.com/office/drawing/2014/main" id="{B9E75771-1111-3144-13B3-A42B14AA2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13"/>
              <a:ext cx="25" cy="28"/>
            </a:xfrm>
            <a:custGeom>
              <a:avLst/>
              <a:gdLst>
                <a:gd name="T0" fmla="*/ 25 w 25"/>
                <a:gd name="T1" fmla="*/ 13 h 28"/>
                <a:gd name="T2" fmla="*/ 25 w 25"/>
                <a:gd name="T3" fmla="*/ 13 h 28"/>
                <a:gd name="T4" fmla="*/ 25 w 25"/>
                <a:gd name="T5" fmla="*/ 21 h 28"/>
                <a:gd name="T6" fmla="*/ 21 w 25"/>
                <a:gd name="T7" fmla="*/ 24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4 h 28"/>
                <a:gd name="T16" fmla="*/ 0 w 25"/>
                <a:gd name="T17" fmla="*/ 21 h 28"/>
                <a:gd name="T18" fmla="*/ 0 w 25"/>
                <a:gd name="T19" fmla="*/ 13 h 28"/>
                <a:gd name="T20" fmla="*/ 0 w 25"/>
                <a:gd name="T21" fmla="*/ 13 h 28"/>
                <a:gd name="T22" fmla="*/ 0 w 25"/>
                <a:gd name="T23" fmla="*/ 8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8 h 28"/>
                <a:gd name="T36" fmla="*/ 25 w 25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3"/>
                  </a:moveTo>
                  <a:lnTo>
                    <a:pt x="25" y="13"/>
                  </a:lnTo>
                  <a:lnTo>
                    <a:pt x="25" y="21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E31A1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8" name="Freeform 65">
              <a:extLst>
                <a:ext uri="{FF2B5EF4-FFF2-40B4-BE49-F238E27FC236}">
                  <a16:creationId xmlns:a16="http://schemas.microsoft.com/office/drawing/2014/main" id="{BF56004C-61D4-F380-3C2F-D7ABACC34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99" name="Freeform 66">
              <a:extLst>
                <a:ext uri="{FF2B5EF4-FFF2-40B4-BE49-F238E27FC236}">
                  <a16:creationId xmlns:a16="http://schemas.microsoft.com/office/drawing/2014/main" id="{F76B3BEC-DDBF-3209-01C4-86D542F76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0" name="Freeform 67">
              <a:extLst>
                <a:ext uri="{FF2B5EF4-FFF2-40B4-BE49-F238E27FC236}">
                  <a16:creationId xmlns:a16="http://schemas.microsoft.com/office/drawing/2014/main" id="{A7E20126-4AC4-BA1B-E711-A3CF0AE3A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1" name="Freeform 68">
              <a:extLst>
                <a:ext uri="{FF2B5EF4-FFF2-40B4-BE49-F238E27FC236}">
                  <a16:creationId xmlns:a16="http://schemas.microsoft.com/office/drawing/2014/main" id="{0E29C88D-0BE5-6729-829B-3ACC4ED22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2" name="Freeform 69">
              <a:extLst>
                <a:ext uri="{FF2B5EF4-FFF2-40B4-BE49-F238E27FC236}">
                  <a16:creationId xmlns:a16="http://schemas.microsoft.com/office/drawing/2014/main" id="{119C465D-C8BF-B6B8-F283-C5CAFFE305F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3" name="Freeform 70">
              <a:extLst>
                <a:ext uri="{FF2B5EF4-FFF2-40B4-BE49-F238E27FC236}">
                  <a16:creationId xmlns:a16="http://schemas.microsoft.com/office/drawing/2014/main" id="{6A1C40C2-CB6C-D306-A5C1-FEDA22759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4" name="Freeform 71">
              <a:extLst>
                <a:ext uri="{FF2B5EF4-FFF2-40B4-BE49-F238E27FC236}">
                  <a16:creationId xmlns:a16="http://schemas.microsoft.com/office/drawing/2014/main" id="{8EFFDA61-4E1A-BC26-F1D2-EF6729A280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5" name="Freeform 72">
              <a:extLst>
                <a:ext uri="{FF2B5EF4-FFF2-40B4-BE49-F238E27FC236}">
                  <a16:creationId xmlns:a16="http://schemas.microsoft.com/office/drawing/2014/main" id="{25F462BD-5E0E-0652-29E7-8928E2F8A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6" name="Freeform 73">
              <a:extLst>
                <a:ext uri="{FF2B5EF4-FFF2-40B4-BE49-F238E27FC236}">
                  <a16:creationId xmlns:a16="http://schemas.microsoft.com/office/drawing/2014/main" id="{78D6FAE8-4256-81C3-D447-AFA93A7A2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7" name="Freeform 74">
              <a:extLst>
                <a:ext uri="{FF2B5EF4-FFF2-40B4-BE49-F238E27FC236}">
                  <a16:creationId xmlns:a16="http://schemas.microsoft.com/office/drawing/2014/main" id="{F40886FB-58AD-496C-EA3D-B9B5CB2FD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8" name="Freeform 75">
              <a:extLst>
                <a:ext uri="{FF2B5EF4-FFF2-40B4-BE49-F238E27FC236}">
                  <a16:creationId xmlns:a16="http://schemas.microsoft.com/office/drawing/2014/main" id="{A012308C-49B9-A062-2F73-54004962C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09" name="Freeform 76">
              <a:extLst>
                <a:ext uri="{FF2B5EF4-FFF2-40B4-BE49-F238E27FC236}">
                  <a16:creationId xmlns:a16="http://schemas.microsoft.com/office/drawing/2014/main" id="{DB3D2DEE-08CE-D0F0-4CA6-F7139E9AB5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0" name="Freeform 77">
              <a:extLst>
                <a:ext uri="{FF2B5EF4-FFF2-40B4-BE49-F238E27FC236}">
                  <a16:creationId xmlns:a16="http://schemas.microsoft.com/office/drawing/2014/main" id="{8306BCBB-770B-4300-EB78-B49F40705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351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4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4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2 h 26"/>
                <a:gd name="T28" fmla="*/ 13 w 25"/>
                <a:gd name="T29" fmla="*/ 0 h 26"/>
                <a:gd name="T30" fmla="*/ 17 w 25"/>
                <a:gd name="T31" fmla="*/ 2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1" name="Freeform 78">
              <a:extLst>
                <a:ext uri="{FF2B5EF4-FFF2-40B4-BE49-F238E27FC236}">
                  <a16:creationId xmlns:a16="http://schemas.microsoft.com/office/drawing/2014/main" id="{F0A56861-6D71-0476-9830-7D82DC9C34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351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4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4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2 h 26"/>
                <a:gd name="T28" fmla="*/ 13 w 25"/>
                <a:gd name="T29" fmla="*/ 0 h 26"/>
                <a:gd name="T30" fmla="*/ 17 w 25"/>
                <a:gd name="T31" fmla="*/ 2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2" name="Freeform 79">
              <a:extLst>
                <a:ext uri="{FF2B5EF4-FFF2-40B4-BE49-F238E27FC236}">
                  <a16:creationId xmlns:a16="http://schemas.microsoft.com/office/drawing/2014/main" id="{92ACBF9E-5ABC-28E1-CF42-74A904513C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91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1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3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3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3" name="Freeform 80">
              <a:extLst>
                <a:ext uri="{FF2B5EF4-FFF2-40B4-BE49-F238E27FC236}">
                  <a16:creationId xmlns:a16="http://schemas.microsoft.com/office/drawing/2014/main" id="{19D9D95E-60EB-C40A-DDF2-6F1D82AD4A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91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1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3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3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4" name="Freeform 81">
              <a:extLst>
                <a:ext uri="{FF2B5EF4-FFF2-40B4-BE49-F238E27FC236}">
                  <a16:creationId xmlns:a16="http://schemas.microsoft.com/office/drawing/2014/main" id="{31A2E449-953B-716D-815E-B140D8939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987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0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5" name="Freeform 82">
              <a:extLst>
                <a:ext uri="{FF2B5EF4-FFF2-40B4-BE49-F238E27FC236}">
                  <a16:creationId xmlns:a16="http://schemas.microsoft.com/office/drawing/2014/main" id="{98841D4F-F768-2295-08E7-8A73425FA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987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0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6" name="Freeform 83">
              <a:extLst>
                <a:ext uri="{FF2B5EF4-FFF2-40B4-BE49-F238E27FC236}">
                  <a16:creationId xmlns:a16="http://schemas.microsoft.com/office/drawing/2014/main" id="{116CBC0D-B854-50A1-B475-C65E7595B2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987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0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7" name="Freeform 84">
              <a:extLst>
                <a:ext uri="{FF2B5EF4-FFF2-40B4-BE49-F238E27FC236}">
                  <a16:creationId xmlns:a16="http://schemas.microsoft.com/office/drawing/2014/main" id="{A7063E41-4F82-2B73-8640-CDE481510B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987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0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8" name="Freeform 85">
              <a:extLst>
                <a:ext uri="{FF2B5EF4-FFF2-40B4-BE49-F238E27FC236}">
                  <a16:creationId xmlns:a16="http://schemas.microsoft.com/office/drawing/2014/main" id="{410D5213-6F5A-DD2F-3790-95721B88B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99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1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3 h 26"/>
                <a:gd name="T26" fmla="*/ 7 w 26"/>
                <a:gd name="T27" fmla="*/ 1 h 26"/>
                <a:gd name="T28" fmla="*/ 13 w 26"/>
                <a:gd name="T29" fmla="*/ 0 h 26"/>
                <a:gd name="T30" fmla="*/ 18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8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D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19" name="Freeform 86">
              <a:extLst>
                <a:ext uri="{FF2B5EF4-FFF2-40B4-BE49-F238E27FC236}">
                  <a16:creationId xmlns:a16="http://schemas.microsoft.com/office/drawing/2014/main" id="{A5703EF4-D180-7A29-280E-FD67843E6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99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1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3 h 26"/>
                <a:gd name="T26" fmla="*/ 7 w 26"/>
                <a:gd name="T27" fmla="*/ 1 h 26"/>
                <a:gd name="T28" fmla="*/ 13 w 26"/>
                <a:gd name="T29" fmla="*/ 0 h 26"/>
                <a:gd name="T30" fmla="*/ 18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8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D7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0" name="Freeform 87">
              <a:extLst>
                <a:ext uri="{FF2B5EF4-FFF2-40B4-BE49-F238E27FC236}">
                  <a16:creationId xmlns:a16="http://schemas.microsoft.com/office/drawing/2014/main" id="{711B898F-A5DE-E66D-BFBB-FE338719F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1" name="Freeform 88">
              <a:extLst>
                <a:ext uri="{FF2B5EF4-FFF2-40B4-BE49-F238E27FC236}">
                  <a16:creationId xmlns:a16="http://schemas.microsoft.com/office/drawing/2014/main" id="{F9B65131-86AE-E0B6-DD6C-DA094AAAE5D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2" name="Freeform 89">
              <a:extLst>
                <a:ext uri="{FF2B5EF4-FFF2-40B4-BE49-F238E27FC236}">
                  <a16:creationId xmlns:a16="http://schemas.microsoft.com/office/drawing/2014/main" id="{BAB7650C-72C1-CB0A-1790-4A1E473C7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3" name="Freeform 90">
              <a:extLst>
                <a:ext uri="{FF2B5EF4-FFF2-40B4-BE49-F238E27FC236}">
                  <a16:creationId xmlns:a16="http://schemas.microsoft.com/office/drawing/2014/main" id="{8950A855-2C9E-85D8-6059-029EB8868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4" name="Freeform 91">
              <a:extLst>
                <a:ext uri="{FF2B5EF4-FFF2-40B4-BE49-F238E27FC236}">
                  <a16:creationId xmlns:a16="http://schemas.microsoft.com/office/drawing/2014/main" id="{EFD509A5-E351-CD24-9831-5AA1E9119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5" name="Freeform 92">
              <a:extLst>
                <a:ext uri="{FF2B5EF4-FFF2-40B4-BE49-F238E27FC236}">
                  <a16:creationId xmlns:a16="http://schemas.microsoft.com/office/drawing/2014/main" id="{19D5634B-A958-5451-1777-5A5C50CA2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6" name="Freeform 93">
              <a:extLst>
                <a:ext uri="{FF2B5EF4-FFF2-40B4-BE49-F238E27FC236}">
                  <a16:creationId xmlns:a16="http://schemas.microsoft.com/office/drawing/2014/main" id="{9CE81137-0069-AC3D-D258-37D840D97F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22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7" name="Freeform 94">
              <a:extLst>
                <a:ext uri="{FF2B5EF4-FFF2-40B4-BE49-F238E27FC236}">
                  <a16:creationId xmlns:a16="http://schemas.microsoft.com/office/drawing/2014/main" id="{FA23F6C9-DC94-6032-DB24-CBAD8AF13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22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8" name="Freeform 95">
              <a:extLst>
                <a:ext uri="{FF2B5EF4-FFF2-40B4-BE49-F238E27FC236}">
                  <a16:creationId xmlns:a16="http://schemas.microsoft.com/office/drawing/2014/main" id="{4086FDF8-E9C7-8035-B4E7-B0D33AFEC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13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29" name="Freeform 96">
              <a:extLst>
                <a:ext uri="{FF2B5EF4-FFF2-40B4-BE49-F238E27FC236}">
                  <a16:creationId xmlns:a16="http://schemas.microsoft.com/office/drawing/2014/main" id="{72AE762D-1347-D969-4C5F-B8D811F51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13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0" name="Freeform 97">
              <a:extLst>
                <a:ext uri="{FF2B5EF4-FFF2-40B4-BE49-F238E27FC236}">
                  <a16:creationId xmlns:a16="http://schemas.microsoft.com/office/drawing/2014/main" id="{F5B7A8DD-6460-54ED-4581-C4AC06556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" y="116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5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5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1" name="Freeform 98">
              <a:extLst>
                <a:ext uri="{FF2B5EF4-FFF2-40B4-BE49-F238E27FC236}">
                  <a16:creationId xmlns:a16="http://schemas.microsoft.com/office/drawing/2014/main" id="{DC7E720C-1184-13D1-99FA-60E7712A7F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" y="116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5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5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2" name="Freeform 99">
              <a:extLst>
                <a:ext uri="{FF2B5EF4-FFF2-40B4-BE49-F238E27FC236}">
                  <a16:creationId xmlns:a16="http://schemas.microsoft.com/office/drawing/2014/main" id="{3309B33C-2302-B2D3-76F1-B50DB74B0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32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0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0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7 h 28"/>
                <a:gd name="T24" fmla="*/ 3 w 24"/>
                <a:gd name="T25" fmla="*/ 4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4 h 28"/>
                <a:gd name="T34" fmla="*/ 24 w 24"/>
                <a:gd name="T35" fmla="*/ 7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5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3" name="Freeform 100">
              <a:extLst>
                <a:ext uri="{FF2B5EF4-FFF2-40B4-BE49-F238E27FC236}">
                  <a16:creationId xmlns:a16="http://schemas.microsoft.com/office/drawing/2014/main" id="{EAB9893D-16CB-FA1D-A8F7-9702987426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32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0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0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7 h 28"/>
                <a:gd name="T24" fmla="*/ 3 w 24"/>
                <a:gd name="T25" fmla="*/ 4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4 h 28"/>
                <a:gd name="T34" fmla="*/ 24 w 24"/>
                <a:gd name="T35" fmla="*/ 7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5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4" name="Freeform 101">
              <a:extLst>
                <a:ext uri="{FF2B5EF4-FFF2-40B4-BE49-F238E27FC236}">
                  <a16:creationId xmlns:a16="http://schemas.microsoft.com/office/drawing/2014/main" id="{4858F179-71A3-13A6-88D6-0B82B6CCA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14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5" name="Freeform 102">
              <a:extLst>
                <a:ext uri="{FF2B5EF4-FFF2-40B4-BE49-F238E27FC236}">
                  <a16:creationId xmlns:a16="http://schemas.microsoft.com/office/drawing/2014/main" id="{709C291D-46DA-A00F-043C-E16742E9B6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14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6" name="Freeform 103">
              <a:extLst>
                <a:ext uri="{FF2B5EF4-FFF2-40B4-BE49-F238E27FC236}">
                  <a16:creationId xmlns:a16="http://schemas.microsoft.com/office/drawing/2014/main" id="{A792ED04-07FF-2631-3CC8-24653FFA7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76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3 h 26"/>
                <a:gd name="T8" fmla="*/ 17 w 25"/>
                <a:gd name="T9" fmla="*/ 24 h 26"/>
                <a:gd name="T10" fmla="*/ 13 w 25"/>
                <a:gd name="T11" fmla="*/ 26 h 26"/>
                <a:gd name="T12" fmla="*/ 8 w 25"/>
                <a:gd name="T13" fmla="*/ 24 h 26"/>
                <a:gd name="T14" fmla="*/ 4 w 25"/>
                <a:gd name="T15" fmla="*/ 23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2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2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3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5" y="8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7" name="Freeform 104">
              <a:extLst>
                <a:ext uri="{FF2B5EF4-FFF2-40B4-BE49-F238E27FC236}">
                  <a16:creationId xmlns:a16="http://schemas.microsoft.com/office/drawing/2014/main" id="{8934AE99-4003-AB18-05D6-4892FCC39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76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3 h 26"/>
                <a:gd name="T8" fmla="*/ 17 w 25"/>
                <a:gd name="T9" fmla="*/ 24 h 26"/>
                <a:gd name="T10" fmla="*/ 13 w 25"/>
                <a:gd name="T11" fmla="*/ 26 h 26"/>
                <a:gd name="T12" fmla="*/ 8 w 25"/>
                <a:gd name="T13" fmla="*/ 24 h 26"/>
                <a:gd name="T14" fmla="*/ 4 w 25"/>
                <a:gd name="T15" fmla="*/ 23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2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2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3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5" y="8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8" name="Freeform 105">
              <a:extLst>
                <a:ext uri="{FF2B5EF4-FFF2-40B4-BE49-F238E27FC236}">
                  <a16:creationId xmlns:a16="http://schemas.microsoft.com/office/drawing/2014/main" id="{E37EF8CD-788C-CAE2-DFA9-B565F8A99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01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39" name="Freeform 106">
              <a:extLst>
                <a:ext uri="{FF2B5EF4-FFF2-40B4-BE49-F238E27FC236}">
                  <a16:creationId xmlns:a16="http://schemas.microsoft.com/office/drawing/2014/main" id="{BDD22F58-DDA7-280D-BF73-7263F8C6E8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01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0" name="Freeform 107">
              <a:extLst>
                <a:ext uri="{FF2B5EF4-FFF2-40B4-BE49-F238E27FC236}">
                  <a16:creationId xmlns:a16="http://schemas.microsoft.com/office/drawing/2014/main" id="{025CCCF7-443C-8E07-EE35-13BA14AF2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102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1" name="Freeform 108">
              <a:extLst>
                <a:ext uri="{FF2B5EF4-FFF2-40B4-BE49-F238E27FC236}">
                  <a16:creationId xmlns:a16="http://schemas.microsoft.com/office/drawing/2014/main" id="{FBB327B5-B2AC-4D29-D009-06128C55BE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102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2" name="Freeform 109">
              <a:extLst>
                <a:ext uri="{FF2B5EF4-FFF2-40B4-BE49-F238E27FC236}">
                  <a16:creationId xmlns:a16="http://schemas.microsoft.com/office/drawing/2014/main" id="{3274937C-CD32-9CB0-C173-DACAAC9AED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102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3" name="Freeform 110">
              <a:extLst>
                <a:ext uri="{FF2B5EF4-FFF2-40B4-BE49-F238E27FC236}">
                  <a16:creationId xmlns:a16="http://schemas.microsoft.com/office/drawing/2014/main" id="{D14ADF36-6F33-043F-75CC-F1EB9CEFB9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102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4" name="Freeform 111">
              <a:extLst>
                <a:ext uri="{FF2B5EF4-FFF2-40B4-BE49-F238E27FC236}">
                  <a16:creationId xmlns:a16="http://schemas.microsoft.com/office/drawing/2014/main" id="{160B4EAC-54D9-7FC4-43C6-2F741C1DD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080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7EC0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5" name="Freeform 112">
              <a:extLst>
                <a:ext uri="{FF2B5EF4-FFF2-40B4-BE49-F238E27FC236}">
                  <a16:creationId xmlns:a16="http://schemas.microsoft.com/office/drawing/2014/main" id="{387FC587-D89C-54F6-3AF2-516E1BC72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080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7EC0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6" name="Freeform 113">
              <a:extLst>
                <a:ext uri="{FF2B5EF4-FFF2-40B4-BE49-F238E27FC236}">
                  <a16:creationId xmlns:a16="http://schemas.microsoft.com/office/drawing/2014/main" id="{57E9CEEA-1AAD-40ED-FDE7-04835703D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7" name="Freeform 114">
              <a:extLst>
                <a:ext uri="{FF2B5EF4-FFF2-40B4-BE49-F238E27FC236}">
                  <a16:creationId xmlns:a16="http://schemas.microsoft.com/office/drawing/2014/main" id="{213C5D99-DEC1-DEE9-C9F5-0EC61F774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8" name="Freeform 115">
              <a:extLst>
                <a:ext uri="{FF2B5EF4-FFF2-40B4-BE49-F238E27FC236}">
                  <a16:creationId xmlns:a16="http://schemas.microsoft.com/office/drawing/2014/main" id="{3A40DEF6-4AD4-938F-C7A3-B31CB5277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49" name="Freeform 116">
              <a:extLst>
                <a:ext uri="{FF2B5EF4-FFF2-40B4-BE49-F238E27FC236}">
                  <a16:creationId xmlns:a16="http://schemas.microsoft.com/office/drawing/2014/main" id="{B7D225DF-B692-093D-E001-067DC9F37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0" name="Freeform 117">
              <a:extLst>
                <a:ext uri="{FF2B5EF4-FFF2-40B4-BE49-F238E27FC236}">
                  <a16:creationId xmlns:a16="http://schemas.microsoft.com/office/drawing/2014/main" id="{72C7D997-EA9E-0669-D983-CB4BFD849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1" name="Freeform 118">
              <a:extLst>
                <a:ext uri="{FF2B5EF4-FFF2-40B4-BE49-F238E27FC236}">
                  <a16:creationId xmlns:a16="http://schemas.microsoft.com/office/drawing/2014/main" id="{937DF7F1-2683-0FDC-3105-B339AD1A50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2" name="Freeform 119">
              <a:extLst>
                <a:ext uri="{FF2B5EF4-FFF2-40B4-BE49-F238E27FC236}">
                  <a16:creationId xmlns:a16="http://schemas.microsoft.com/office/drawing/2014/main" id="{4F86DFAD-AF8A-F50B-F1C4-0A08E2FB0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3" name="Freeform 120">
              <a:extLst>
                <a:ext uri="{FF2B5EF4-FFF2-40B4-BE49-F238E27FC236}">
                  <a16:creationId xmlns:a16="http://schemas.microsoft.com/office/drawing/2014/main" id="{140E3735-12B7-F0BE-D270-994B8B07D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4" name="Freeform 121">
              <a:extLst>
                <a:ext uri="{FF2B5EF4-FFF2-40B4-BE49-F238E27FC236}">
                  <a16:creationId xmlns:a16="http://schemas.microsoft.com/office/drawing/2014/main" id="{F42E7B44-0519-4CAE-8697-9378FCDCE9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5" name="Freeform 122">
              <a:extLst>
                <a:ext uri="{FF2B5EF4-FFF2-40B4-BE49-F238E27FC236}">
                  <a16:creationId xmlns:a16="http://schemas.microsoft.com/office/drawing/2014/main" id="{E81C62F3-01F0-13B0-C4E0-074FFBD11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6" name="Freeform 123">
              <a:extLst>
                <a:ext uri="{FF2B5EF4-FFF2-40B4-BE49-F238E27FC236}">
                  <a16:creationId xmlns:a16="http://schemas.microsoft.com/office/drawing/2014/main" id="{583CAD02-45BF-C729-F2D8-213C32C175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28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7" name="Freeform 124">
              <a:extLst>
                <a:ext uri="{FF2B5EF4-FFF2-40B4-BE49-F238E27FC236}">
                  <a16:creationId xmlns:a16="http://schemas.microsoft.com/office/drawing/2014/main" id="{0F0D9CB3-8F00-206E-9FCC-BCB0F8CA37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28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8" name="Freeform 125">
              <a:extLst>
                <a:ext uri="{FF2B5EF4-FFF2-40B4-BE49-F238E27FC236}">
                  <a16:creationId xmlns:a16="http://schemas.microsoft.com/office/drawing/2014/main" id="{DF96A422-E92B-38F0-27BB-9EBD9BF366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88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7 w 26"/>
                <a:gd name="T9" fmla="*/ 25 h 26"/>
                <a:gd name="T10" fmla="*/ 13 w 26"/>
                <a:gd name="T11" fmla="*/ 26 h 26"/>
                <a:gd name="T12" fmla="*/ 7 w 26"/>
                <a:gd name="T13" fmla="*/ 25 h 26"/>
                <a:gd name="T14" fmla="*/ 4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7" y="25"/>
                  </a:lnTo>
                  <a:lnTo>
                    <a:pt x="13" y="26"/>
                  </a:lnTo>
                  <a:lnTo>
                    <a:pt x="7" y="25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59" name="Freeform 126">
              <a:extLst>
                <a:ext uri="{FF2B5EF4-FFF2-40B4-BE49-F238E27FC236}">
                  <a16:creationId xmlns:a16="http://schemas.microsoft.com/office/drawing/2014/main" id="{D3FC119C-B0B2-9335-1DCD-FCCE53CE8F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88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7 w 26"/>
                <a:gd name="T9" fmla="*/ 25 h 26"/>
                <a:gd name="T10" fmla="*/ 13 w 26"/>
                <a:gd name="T11" fmla="*/ 26 h 26"/>
                <a:gd name="T12" fmla="*/ 7 w 26"/>
                <a:gd name="T13" fmla="*/ 25 h 26"/>
                <a:gd name="T14" fmla="*/ 4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7" y="25"/>
                  </a:lnTo>
                  <a:lnTo>
                    <a:pt x="13" y="26"/>
                  </a:lnTo>
                  <a:lnTo>
                    <a:pt x="7" y="25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0" name="Freeform 127">
              <a:extLst>
                <a:ext uri="{FF2B5EF4-FFF2-40B4-BE49-F238E27FC236}">
                  <a16:creationId xmlns:a16="http://schemas.microsoft.com/office/drawing/2014/main" id="{0FB87852-97E3-5DEF-F4C9-4A03F3964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88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7 w 26"/>
                <a:gd name="T9" fmla="*/ 25 h 26"/>
                <a:gd name="T10" fmla="*/ 13 w 26"/>
                <a:gd name="T11" fmla="*/ 26 h 26"/>
                <a:gd name="T12" fmla="*/ 7 w 26"/>
                <a:gd name="T13" fmla="*/ 25 h 26"/>
                <a:gd name="T14" fmla="*/ 4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7" y="25"/>
                  </a:lnTo>
                  <a:lnTo>
                    <a:pt x="13" y="26"/>
                  </a:lnTo>
                  <a:lnTo>
                    <a:pt x="7" y="25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1" name="Freeform 128">
              <a:extLst>
                <a:ext uri="{FF2B5EF4-FFF2-40B4-BE49-F238E27FC236}">
                  <a16:creationId xmlns:a16="http://schemas.microsoft.com/office/drawing/2014/main" id="{09AADD40-A13C-DEEE-F355-704FE007D7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88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7 w 26"/>
                <a:gd name="T9" fmla="*/ 25 h 26"/>
                <a:gd name="T10" fmla="*/ 13 w 26"/>
                <a:gd name="T11" fmla="*/ 26 h 26"/>
                <a:gd name="T12" fmla="*/ 7 w 26"/>
                <a:gd name="T13" fmla="*/ 25 h 26"/>
                <a:gd name="T14" fmla="*/ 4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7" y="25"/>
                  </a:lnTo>
                  <a:lnTo>
                    <a:pt x="13" y="26"/>
                  </a:lnTo>
                  <a:lnTo>
                    <a:pt x="7" y="25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2" name="Freeform 129">
              <a:extLst>
                <a:ext uri="{FF2B5EF4-FFF2-40B4-BE49-F238E27FC236}">
                  <a16:creationId xmlns:a16="http://schemas.microsoft.com/office/drawing/2014/main" id="{183AD559-6268-0AA4-4A8A-C638223FB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85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B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3" name="Freeform 130">
              <a:extLst>
                <a:ext uri="{FF2B5EF4-FFF2-40B4-BE49-F238E27FC236}">
                  <a16:creationId xmlns:a16="http://schemas.microsoft.com/office/drawing/2014/main" id="{9829B0F5-A424-F2BA-6126-F306E10CA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85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B9A9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4" name="Freeform 131">
              <a:extLst>
                <a:ext uri="{FF2B5EF4-FFF2-40B4-BE49-F238E27FC236}">
                  <a16:creationId xmlns:a16="http://schemas.microsoft.com/office/drawing/2014/main" id="{630F5EBC-122A-5B1C-1C84-CDCF26C91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5" name="Freeform 132">
              <a:extLst>
                <a:ext uri="{FF2B5EF4-FFF2-40B4-BE49-F238E27FC236}">
                  <a16:creationId xmlns:a16="http://schemas.microsoft.com/office/drawing/2014/main" id="{AF0135C5-9D36-4BFB-F4FF-123C0EBC4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6" name="Freeform 133">
              <a:extLst>
                <a:ext uri="{FF2B5EF4-FFF2-40B4-BE49-F238E27FC236}">
                  <a16:creationId xmlns:a16="http://schemas.microsoft.com/office/drawing/2014/main" id="{F903D5B7-667F-61D8-8CBB-49F849AA608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7" name="Freeform 134">
              <a:extLst>
                <a:ext uri="{FF2B5EF4-FFF2-40B4-BE49-F238E27FC236}">
                  <a16:creationId xmlns:a16="http://schemas.microsoft.com/office/drawing/2014/main" id="{64713AC1-EE5B-D1BB-1F5E-04705DEF2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8" name="Freeform 135">
              <a:extLst>
                <a:ext uri="{FF2B5EF4-FFF2-40B4-BE49-F238E27FC236}">
                  <a16:creationId xmlns:a16="http://schemas.microsoft.com/office/drawing/2014/main" id="{4AE18DE0-CF3C-4556-67C3-99DFF913A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69" name="Freeform 136">
              <a:extLst>
                <a:ext uri="{FF2B5EF4-FFF2-40B4-BE49-F238E27FC236}">
                  <a16:creationId xmlns:a16="http://schemas.microsoft.com/office/drawing/2014/main" id="{77B2E379-BCE4-A6AB-D62B-979B6E16E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0" name="Freeform 137">
              <a:extLst>
                <a:ext uri="{FF2B5EF4-FFF2-40B4-BE49-F238E27FC236}">
                  <a16:creationId xmlns:a16="http://schemas.microsoft.com/office/drawing/2014/main" id="{B5874538-1CB3-0C1E-F589-902687F953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969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0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0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7 h 28"/>
                <a:gd name="T24" fmla="*/ 3 w 24"/>
                <a:gd name="T25" fmla="*/ 3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3 h 28"/>
                <a:gd name="T34" fmla="*/ 24 w 24"/>
                <a:gd name="T35" fmla="*/ 7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1" name="Freeform 138">
              <a:extLst>
                <a:ext uri="{FF2B5EF4-FFF2-40B4-BE49-F238E27FC236}">
                  <a16:creationId xmlns:a16="http://schemas.microsoft.com/office/drawing/2014/main" id="{17F678AA-9A99-F6DA-9629-44914F9E9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969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0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0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7 h 28"/>
                <a:gd name="T24" fmla="*/ 3 w 24"/>
                <a:gd name="T25" fmla="*/ 3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3 h 28"/>
                <a:gd name="T34" fmla="*/ 24 w 24"/>
                <a:gd name="T35" fmla="*/ 7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2" name="Freeform 139">
              <a:extLst>
                <a:ext uri="{FF2B5EF4-FFF2-40B4-BE49-F238E27FC236}">
                  <a16:creationId xmlns:a16="http://schemas.microsoft.com/office/drawing/2014/main" id="{EA3CBF03-88E8-6114-D7CB-A672F90B8A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932"/>
              <a:ext cx="26" cy="27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6 w 26"/>
                <a:gd name="T5" fmla="*/ 20 h 27"/>
                <a:gd name="T6" fmla="*/ 23 w 26"/>
                <a:gd name="T7" fmla="*/ 24 h 27"/>
                <a:gd name="T8" fmla="*/ 19 w 26"/>
                <a:gd name="T9" fmla="*/ 26 h 27"/>
                <a:gd name="T10" fmla="*/ 13 w 26"/>
                <a:gd name="T11" fmla="*/ 27 h 27"/>
                <a:gd name="T12" fmla="*/ 10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3 h 27"/>
                <a:gd name="T20" fmla="*/ 0 w 26"/>
                <a:gd name="T21" fmla="*/ 13 h 27"/>
                <a:gd name="T22" fmla="*/ 2 w 26"/>
                <a:gd name="T23" fmla="*/ 7 h 27"/>
                <a:gd name="T24" fmla="*/ 4 w 26"/>
                <a:gd name="T25" fmla="*/ 3 h 27"/>
                <a:gd name="T26" fmla="*/ 10 w 26"/>
                <a:gd name="T27" fmla="*/ 1 h 27"/>
                <a:gd name="T28" fmla="*/ 13 w 26"/>
                <a:gd name="T29" fmla="*/ 0 h 27"/>
                <a:gd name="T30" fmla="*/ 19 w 26"/>
                <a:gd name="T31" fmla="*/ 1 h 27"/>
                <a:gd name="T32" fmla="*/ 23 w 26"/>
                <a:gd name="T33" fmla="*/ 3 h 27"/>
                <a:gd name="T34" fmla="*/ 26 w 26"/>
                <a:gd name="T35" fmla="*/ 7 h 27"/>
                <a:gd name="T36" fmla="*/ 26 w 26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6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7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3" name="Freeform 140">
              <a:extLst>
                <a:ext uri="{FF2B5EF4-FFF2-40B4-BE49-F238E27FC236}">
                  <a16:creationId xmlns:a16="http://schemas.microsoft.com/office/drawing/2014/main" id="{41E73FBA-5C11-44AB-75F9-A3E7FA1D9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932"/>
              <a:ext cx="26" cy="27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6 w 26"/>
                <a:gd name="T5" fmla="*/ 20 h 27"/>
                <a:gd name="T6" fmla="*/ 23 w 26"/>
                <a:gd name="T7" fmla="*/ 24 h 27"/>
                <a:gd name="T8" fmla="*/ 19 w 26"/>
                <a:gd name="T9" fmla="*/ 26 h 27"/>
                <a:gd name="T10" fmla="*/ 13 w 26"/>
                <a:gd name="T11" fmla="*/ 27 h 27"/>
                <a:gd name="T12" fmla="*/ 10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3 h 27"/>
                <a:gd name="T20" fmla="*/ 0 w 26"/>
                <a:gd name="T21" fmla="*/ 13 h 27"/>
                <a:gd name="T22" fmla="*/ 2 w 26"/>
                <a:gd name="T23" fmla="*/ 7 h 27"/>
                <a:gd name="T24" fmla="*/ 4 w 26"/>
                <a:gd name="T25" fmla="*/ 3 h 27"/>
                <a:gd name="T26" fmla="*/ 10 w 26"/>
                <a:gd name="T27" fmla="*/ 1 h 27"/>
                <a:gd name="T28" fmla="*/ 13 w 26"/>
                <a:gd name="T29" fmla="*/ 0 h 27"/>
                <a:gd name="T30" fmla="*/ 19 w 26"/>
                <a:gd name="T31" fmla="*/ 1 h 27"/>
                <a:gd name="T32" fmla="*/ 23 w 26"/>
                <a:gd name="T33" fmla="*/ 3 h 27"/>
                <a:gd name="T34" fmla="*/ 26 w 26"/>
                <a:gd name="T35" fmla="*/ 7 h 27"/>
                <a:gd name="T36" fmla="*/ 26 w 26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6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7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4" name="Freeform 141">
              <a:extLst>
                <a:ext uri="{FF2B5EF4-FFF2-40B4-BE49-F238E27FC236}">
                  <a16:creationId xmlns:a16="http://schemas.microsoft.com/office/drawing/2014/main" id="{E55810E2-B4F1-AD0C-EA39-14647BA9E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932"/>
              <a:ext cx="26" cy="27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6 w 26"/>
                <a:gd name="T5" fmla="*/ 20 h 27"/>
                <a:gd name="T6" fmla="*/ 23 w 26"/>
                <a:gd name="T7" fmla="*/ 24 h 27"/>
                <a:gd name="T8" fmla="*/ 19 w 26"/>
                <a:gd name="T9" fmla="*/ 26 h 27"/>
                <a:gd name="T10" fmla="*/ 13 w 26"/>
                <a:gd name="T11" fmla="*/ 27 h 27"/>
                <a:gd name="T12" fmla="*/ 10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3 h 27"/>
                <a:gd name="T20" fmla="*/ 0 w 26"/>
                <a:gd name="T21" fmla="*/ 13 h 27"/>
                <a:gd name="T22" fmla="*/ 2 w 26"/>
                <a:gd name="T23" fmla="*/ 7 h 27"/>
                <a:gd name="T24" fmla="*/ 4 w 26"/>
                <a:gd name="T25" fmla="*/ 3 h 27"/>
                <a:gd name="T26" fmla="*/ 10 w 26"/>
                <a:gd name="T27" fmla="*/ 1 h 27"/>
                <a:gd name="T28" fmla="*/ 13 w 26"/>
                <a:gd name="T29" fmla="*/ 0 h 27"/>
                <a:gd name="T30" fmla="*/ 19 w 26"/>
                <a:gd name="T31" fmla="*/ 1 h 27"/>
                <a:gd name="T32" fmla="*/ 23 w 26"/>
                <a:gd name="T33" fmla="*/ 3 h 27"/>
                <a:gd name="T34" fmla="*/ 26 w 26"/>
                <a:gd name="T35" fmla="*/ 7 h 27"/>
                <a:gd name="T36" fmla="*/ 26 w 26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6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7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5" name="Freeform 142">
              <a:extLst>
                <a:ext uri="{FF2B5EF4-FFF2-40B4-BE49-F238E27FC236}">
                  <a16:creationId xmlns:a16="http://schemas.microsoft.com/office/drawing/2014/main" id="{5D801C7F-8B48-718C-F7FC-7B313EEB2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932"/>
              <a:ext cx="26" cy="27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6 w 26"/>
                <a:gd name="T5" fmla="*/ 20 h 27"/>
                <a:gd name="T6" fmla="*/ 23 w 26"/>
                <a:gd name="T7" fmla="*/ 24 h 27"/>
                <a:gd name="T8" fmla="*/ 19 w 26"/>
                <a:gd name="T9" fmla="*/ 26 h 27"/>
                <a:gd name="T10" fmla="*/ 13 w 26"/>
                <a:gd name="T11" fmla="*/ 27 h 27"/>
                <a:gd name="T12" fmla="*/ 10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3 h 27"/>
                <a:gd name="T20" fmla="*/ 0 w 26"/>
                <a:gd name="T21" fmla="*/ 13 h 27"/>
                <a:gd name="T22" fmla="*/ 2 w 26"/>
                <a:gd name="T23" fmla="*/ 7 h 27"/>
                <a:gd name="T24" fmla="*/ 4 w 26"/>
                <a:gd name="T25" fmla="*/ 3 h 27"/>
                <a:gd name="T26" fmla="*/ 10 w 26"/>
                <a:gd name="T27" fmla="*/ 1 h 27"/>
                <a:gd name="T28" fmla="*/ 13 w 26"/>
                <a:gd name="T29" fmla="*/ 0 h 27"/>
                <a:gd name="T30" fmla="*/ 19 w 26"/>
                <a:gd name="T31" fmla="*/ 1 h 27"/>
                <a:gd name="T32" fmla="*/ 23 w 26"/>
                <a:gd name="T33" fmla="*/ 3 h 27"/>
                <a:gd name="T34" fmla="*/ 26 w 26"/>
                <a:gd name="T35" fmla="*/ 7 h 27"/>
                <a:gd name="T36" fmla="*/ 26 w 26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6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7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6" name="Freeform 143">
              <a:extLst>
                <a:ext uri="{FF2B5EF4-FFF2-40B4-BE49-F238E27FC236}">
                  <a16:creationId xmlns:a16="http://schemas.microsoft.com/office/drawing/2014/main" id="{4EB55601-5822-5EA5-295E-2A941FD89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" y="911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0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7" name="Freeform 144">
              <a:extLst>
                <a:ext uri="{FF2B5EF4-FFF2-40B4-BE49-F238E27FC236}">
                  <a16:creationId xmlns:a16="http://schemas.microsoft.com/office/drawing/2014/main" id="{7425FFC1-18B0-736C-0DC9-30F4B49C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4" y="911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0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3B3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8" name="Freeform 145">
              <a:extLst>
                <a:ext uri="{FF2B5EF4-FFF2-40B4-BE49-F238E27FC236}">
                  <a16:creationId xmlns:a16="http://schemas.microsoft.com/office/drawing/2014/main" id="{C8A5B582-295A-E113-B2B4-3675AB7D8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79" name="Freeform 146">
              <a:extLst>
                <a:ext uri="{FF2B5EF4-FFF2-40B4-BE49-F238E27FC236}">
                  <a16:creationId xmlns:a16="http://schemas.microsoft.com/office/drawing/2014/main" id="{C8640019-5212-4C21-BF13-413AEC87E9D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0" name="Freeform 147">
              <a:extLst>
                <a:ext uri="{FF2B5EF4-FFF2-40B4-BE49-F238E27FC236}">
                  <a16:creationId xmlns:a16="http://schemas.microsoft.com/office/drawing/2014/main" id="{1B9F52D7-782A-3AA1-12AA-E52B1E571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1" name="Freeform 148">
              <a:extLst>
                <a:ext uri="{FF2B5EF4-FFF2-40B4-BE49-F238E27FC236}">
                  <a16:creationId xmlns:a16="http://schemas.microsoft.com/office/drawing/2014/main" id="{E8F99E8B-13ED-4277-975A-EA5E2F10C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2" name="Freeform 149">
              <a:extLst>
                <a:ext uri="{FF2B5EF4-FFF2-40B4-BE49-F238E27FC236}">
                  <a16:creationId xmlns:a16="http://schemas.microsoft.com/office/drawing/2014/main" id="{0B7F6891-2CAE-04A2-24A8-92054D596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3" name="Freeform 150">
              <a:extLst>
                <a:ext uri="{FF2B5EF4-FFF2-40B4-BE49-F238E27FC236}">
                  <a16:creationId xmlns:a16="http://schemas.microsoft.com/office/drawing/2014/main" id="{776FBFFB-B425-7B5E-1082-ADFD1C7C4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35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4" name="Freeform 151">
              <a:extLst>
                <a:ext uri="{FF2B5EF4-FFF2-40B4-BE49-F238E27FC236}">
                  <a16:creationId xmlns:a16="http://schemas.microsoft.com/office/drawing/2014/main" id="{017C0B31-6A7A-6069-45DC-A2D60F4EB6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06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5" name="Freeform 152">
              <a:extLst>
                <a:ext uri="{FF2B5EF4-FFF2-40B4-BE49-F238E27FC236}">
                  <a16:creationId xmlns:a16="http://schemas.microsoft.com/office/drawing/2014/main" id="{F5B5F7DD-A7B9-DD66-C0DE-2CD7C5A50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06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6" name="Freeform 153">
              <a:extLst>
                <a:ext uri="{FF2B5EF4-FFF2-40B4-BE49-F238E27FC236}">
                  <a16:creationId xmlns:a16="http://schemas.microsoft.com/office/drawing/2014/main" id="{D900D3B0-4C15-3ED5-FCFE-D3C2872F0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06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7" name="Freeform 154">
              <a:extLst>
                <a:ext uri="{FF2B5EF4-FFF2-40B4-BE49-F238E27FC236}">
                  <a16:creationId xmlns:a16="http://schemas.microsoft.com/office/drawing/2014/main" id="{073A9185-0A44-C4C8-B767-526DDF831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06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8" name="Freeform 155">
              <a:extLst>
                <a:ext uri="{FF2B5EF4-FFF2-40B4-BE49-F238E27FC236}">
                  <a16:creationId xmlns:a16="http://schemas.microsoft.com/office/drawing/2014/main" id="{34A5558B-BC03-2485-D594-369371825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06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89" name="Freeform 156">
              <a:extLst>
                <a:ext uri="{FF2B5EF4-FFF2-40B4-BE49-F238E27FC236}">
                  <a16:creationId xmlns:a16="http://schemas.microsoft.com/office/drawing/2014/main" id="{A0445335-218A-C8AF-A175-3BB28AA0A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06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0" name="Freeform 157">
              <a:extLst>
                <a:ext uri="{FF2B5EF4-FFF2-40B4-BE49-F238E27FC236}">
                  <a16:creationId xmlns:a16="http://schemas.microsoft.com/office/drawing/2014/main" id="{632A1707-1A46-D867-C74B-7F904DCE6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82"/>
              <a:ext cx="25" cy="28"/>
            </a:xfrm>
            <a:custGeom>
              <a:avLst/>
              <a:gdLst>
                <a:gd name="T0" fmla="*/ 25 w 25"/>
                <a:gd name="T1" fmla="*/ 15 h 28"/>
                <a:gd name="T2" fmla="*/ 25 w 25"/>
                <a:gd name="T3" fmla="*/ 15 h 28"/>
                <a:gd name="T4" fmla="*/ 25 w 25"/>
                <a:gd name="T5" fmla="*/ 20 h 28"/>
                <a:gd name="T6" fmla="*/ 21 w 25"/>
                <a:gd name="T7" fmla="*/ 24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4 h 28"/>
                <a:gd name="T16" fmla="*/ 0 w 25"/>
                <a:gd name="T17" fmla="*/ 20 h 28"/>
                <a:gd name="T18" fmla="*/ 0 w 25"/>
                <a:gd name="T19" fmla="*/ 15 h 28"/>
                <a:gd name="T20" fmla="*/ 0 w 25"/>
                <a:gd name="T21" fmla="*/ 15 h 28"/>
                <a:gd name="T22" fmla="*/ 0 w 25"/>
                <a:gd name="T23" fmla="*/ 7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7 h 28"/>
                <a:gd name="T36" fmla="*/ 25 w 25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5"/>
                  </a:moveTo>
                  <a:lnTo>
                    <a:pt x="25" y="15"/>
                  </a:lnTo>
                  <a:lnTo>
                    <a:pt x="25" y="20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5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1" name="Freeform 158">
              <a:extLst>
                <a:ext uri="{FF2B5EF4-FFF2-40B4-BE49-F238E27FC236}">
                  <a16:creationId xmlns:a16="http://schemas.microsoft.com/office/drawing/2014/main" id="{4AE8F9F9-BCCD-787E-41BB-8413D8C97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082"/>
              <a:ext cx="25" cy="28"/>
            </a:xfrm>
            <a:custGeom>
              <a:avLst/>
              <a:gdLst>
                <a:gd name="T0" fmla="*/ 25 w 25"/>
                <a:gd name="T1" fmla="*/ 15 h 28"/>
                <a:gd name="T2" fmla="*/ 25 w 25"/>
                <a:gd name="T3" fmla="*/ 15 h 28"/>
                <a:gd name="T4" fmla="*/ 25 w 25"/>
                <a:gd name="T5" fmla="*/ 20 h 28"/>
                <a:gd name="T6" fmla="*/ 21 w 25"/>
                <a:gd name="T7" fmla="*/ 24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4 h 28"/>
                <a:gd name="T16" fmla="*/ 0 w 25"/>
                <a:gd name="T17" fmla="*/ 20 h 28"/>
                <a:gd name="T18" fmla="*/ 0 w 25"/>
                <a:gd name="T19" fmla="*/ 15 h 28"/>
                <a:gd name="T20" fmla="*/ 0 w 25"/>
                <a:gd name="T21" fmla="*/ 15 h 28"/>
                <a:gd name="T22" fmla="*/ 0 w 25"/>
                <a:gd name="T23" fmla="*/ 7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7 h 28"/>
                <a:gd name="T36" fmla="*/ 25 w 25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5"/>
                  </a:moveTo>
                  <a:lnTo>
                    <a:pt x="25" y="15"/>
                  </a:lnTo>
                  <a:lnTo>
                    <a:pt x="25" y="20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5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2" name="Freeform 159">
              <a:extLst>
                <a:ext uri="{FF2B5EF4-FFF2-40B4-BE49-F238E27FC236}">
                  <a16:creationId xmlns:a16="http://schemas.microsoft.com/office/drawing/2014/main" id="{4C19B679-4D64-3E49-11C3-57CAB3E1F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06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3" name="Freeform 160">
              <a:extLst>
                <a:ext uri="{FF2B5EF4-FFF2-40B4-BE49-F238E27FC236}">
                  <a16:creationId xmlns:a16="http://schemas.microsoft.com/office/drawing/2014/main" id="{A3DD5B7F-1109-E386-E991-318DFE639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06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4" name="Freeform 161">
              <a:extLst>
                <a:ext uri="{FF2B5EF4-FFF2-40B4-BE49-F238E27FC236}">
                  <a16:creationId xmlns:a16="http://schemas.microsoft.com/office/drawing/2014/main" id="{33E264A9-6D09-0694-56BE-BA15ABC9D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063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3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3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5" name="Freeform 162">
              <a:extLst>
                <a:ext uri="{FF2B5EF4-FFF2-40B4-BE49-F238E27FC236}">
                  <a16:creationId xmlns:a16="http://schemas.microsoft.com/office/drawing/2014/main" id="{98991206-DD70-5F17-F237-2D7E0D603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063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3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3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6" name="Freeform 163">
              <a:extLst>
                <a:ext uri="{FF2B5EF4-FFF2-40B4-BE49-F238E27FC236}">
                  <a16:creationId xmlns:a16="http://schemas.microsoft.com/office/drawing/2014/main" id="{8A05994C-C759-F4D5-3836-7356E6078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07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5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7" name="Freeform 164">
              <a:extLst>
                <a:ext uri="{FF2B5EF4-FFF2-40B4-BE49-F238E27FC236}">
                  <a16:creationId xmlns:a16="http://schemas.microsoft.com/office/drawing/2014/main" id="{76C67069-2D9E-4B65-DE7C-74BC0FD008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07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5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8" name="Freeform 165">
              <a:extLst>
                <a:ext uri="{FF2B5EF4-FFF2-40B4-BE49-F238E27FC236}">
                  <a16:creationId xmlns:a16="http://schemas.microsoft.com/office/drawing/2014/main" id="{048A0255-20BA-E6CE-60A0-E652821D38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073"/>
              <a:ext cx="24" cy="27"/>
            </a:xfrm>
            <a:custGeom>
              <a:avLst/>
              <a:gdLst>
                <a:gd name="T0" fmla="*/ 24 w 24"/>
                <a:gd name="T1" fmla="*/ 13 h 27"/>
                <a:gd name="T2" fmla="*/ 24 w 24"/>
                <a:gd name="T3" fmla="*/ 13 h 27"/>
                <a:gd name="T4" fmla="*/ 24 w 24"/>
                <a:gd name="T5" fmla="*/ 20 h 27"/>
                <a:gd name="T6" fmla="*/ 20 w 24"/>
                <a:gd name="T7" fmla="*/ 24 h 27"/>
                <a:gd name="T8" fmla="*/ 17 w 24"/>
                <a:gd name="T9" fmla="*/ 26 h 27"/>
                <a:gd name="T10" fmla="*/ 11 w 24"/>
                <a:gd name="T11" fmla="*/ 27 h 27"/>
                <a:gd name="T12" fmla="*/ 7 w 24"/>
                <a:gd name="T13" fmla="*/ 26 h 27"/>
                <a:gd name="T14" fmla="*/ 4 w 24"/>
                <a:gd name="T15" fmla="*/ 24 h 27"/>
                <a:gd name="T16" fmla="*/ 0 w 24"/>
                <a:gd name="T17" fmla="*/ 20 h 27"/>
                <a:gd name="T18" fmla="*/ 0 w 24"/>
                <a:gd name="T19" fmla="*/ 13 h 27"/>
                <a:gd name="T20" fmla="*/ 0 w 24"/>
                <a:gd name="T21" fmla="*/ 13 h 27"/>
                <a:gd name="T22" fmla="*/ 0 w 24"/>
                <a:gd name="T23" fmla="*/ 7 h 27"/>
                <a:gd name="T24" fmla="*/ 4 w 24"/>
                <a:gd name="T25" fmla="*/ 3 h 27"/>
                <a:gd name="T26" fmla="*/ 7 w 24"/>
                <a:gd name="T27" fmla="*/ 1 h 27"/>
                <a:gd name="T28" fmla="*/ 11 w 24"/>
                <a:gd name="T29" fmla="*/ 0 h 27"/>
                <a:gd name="T30" fmla="*/ 17 w 24"/>
                <a:gd name="T31" fmla="*/ 1 h 27"/>
                <a:gd name="T32" fmla="*/ 20 w 24"/>
                <a:gd name="T33" fmla="*/ 3 h 27"/>
                <a:gd name="T34" fmla="*/ 24 w 24"/>
                <a:gd name="T35" fmla="*/ 7 h 27"/>
                <a:gd name="T36" fmla="*/ 24 w 24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7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1" y="27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799" name="Freeform 166">
              <a:extLst>
                <a:ext uri="{FF2B5EF4-FFF2-40B4-BE49-F238E27FC236}">
                  <a16:creationId xmlns:a16="http://schemas.microsoft.com/office/drawing/2014/main" id="{47FA988D-0626-F040-1FEE-7D4BCDDB0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073"/>
              <a:ext cx="24" cy="27"/>
            </a:xfrm>
            <a:custGeom>
              <a:avLst/>
              <a:gdLst>
                <a:gd name="T0" fmla="*/ 24 w 24"/>
                <a:gd name="T1" fmla="*/ 13 h 27"/>
                <a:gd name="T2" fmla="*/ 24 w 24"/>
                <a:gd name="T3" fmla="*/ 13 h 27"/>
                <a:gd name="T4" fmla="*/ 24 w 24"/>
                <a:gd name="T5" fmla="*/ 20 h 27"/>
                <a:gd name="T6" fmla="*/ 20 w 24"/>
                <a:gd name="T7" fmla="*/ 24 h 27"/>
                <a:gd name="T8" fmla="*/ 17 w 24"/>
                <a:gd name="T9" fmla="*/ 26 h 27"/>
                <a:gd name="T10" fmla="*/ 11 w 24"/>
                <a:gd name="T11" fmla="*/ 27 h 27"/>
                <a:gd name="T12" fmla="*/ 7 w 24"/>
                <a:gd name="T13" fmla="*/ 26 h 27"/>
                <a:gd name="T14" fmla="*/ 4 w 24"/>
                <a:gd name="T15" fmla="*/ 24 h 27"/>
                <a:gd name="T16" fmla="*/ 0 w 24"/>
                <a:gd name="T17" fmla="*/ 20 h 27"/>
                <a:gd name="T18" fmla="*/ 0 w 24"/>
                <a:gd name="T19" fmla="*/ 13 h 27"/>
                <a:gd name="T20" fmla="*/ 0 w 24"/>
                <a:gd name="T21" fmla="*/ 13 h 27"/>
                <a:gd name="T22" fmla="*/ 0 w 24"/>
                <a:gd name="T23" fmla="*/ 7 h 27"/>
                <a:gd name="T24" fmla="*/ 4 w 24"/>
                <a:gd name="T25" fmla="*/ 3 h 27"/>
                <a:gd name="T26" fmla="*/ 7 w 24"/>
                <a:gd name="T27" fmla="*/ 1 h 27"/>
                <a:gd name="T28" fmla="*/ 11 w 24"/>
                <a:gd name="T29" fmla="*/ 0 h 27"/>
                <a:gd name="T30" fmla="*/ 17 w 24"/>
                <a:gd name="T31" fmla="*/ 1 h 27"/>
                <a:gd name="T32" fmla="*/ 20 w 24"/>
                <a:gd name="T33" fmla="*/ 3 h 27"/>
                <a:gd name="T34" fmla="*/ 24 w 24"/>
                <a:gd name="T35" fmla="*/ 7 h 27"/>
                <a:gd name="T36" fmla="*/ 24 w 24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7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1" y="27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0" name="Freeform 167">
              <a:extLst>
                <a:ext uri="{FF2B5EF4-FFF2-40B4-BE49-F238E27FC236}">
                  <a16:creationId xmlns:a16="http://schemas.microsoft.com/office/drawing/2014/main" id="{52D47A54-9D1F-89EB-3B98-2A5C13E68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" y="1080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0 h 28"/>
                <a:gd name="T6" fmla="*/ 20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0 w 26"/>
                <a:gd name="T23" fmla="*/ 7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0 w 26"/>
                <a:gd name="T33" fmla="*/ 4 h 28"/>
                <a:gd name="T34" fmla="*/ 24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B03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1" name="Freeform 168">
              <a:extLst>
                <a:ext uri="{FF2B5EF4-FFF2-40B4-BE49-F238E27FC236}">
                  <a16:creationId xmlns:a16="http://schemas.microsoft.com/office/drawing/2014/main" id="{E068870E-A4ED-7ACC-34F7-F5CEF8D55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" y="1080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0 h 28"/>
                <a:gd name="T6" fmla="*/ 20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0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0 w 26"/>
                <a:gd name="T23" fmla="*/ 7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0 w 26"/>
                <a:gd name="T33" fmla="*/ 4 h 28"/>
                <a:gd name="T34" fmla="*/ 24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B03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2" name="Freeform 169">
              <a:extLst>
                <a:ext uri="{FF2B5EF4-FFF2-40B4-BE49-F238E27FC236}">
                  <a16:creationId xmlns:a16="http://schemas.microsoft.com/office/drawing/2014/main" id="{60542C73-8152-2555-C7B7-D8E9DCF05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3" name="Freeform 170">
              <a:extLst>
                <a:ext uri="{FF2B5EF4-FFF2-40B4-BE49-F238E27FC236}">
                  <a16:creationId xmlns:a16="http://schemas.microsoft.com/office/drawing/2014/main" id="{1E8C7B0A-85F5-E0E4-1429-58401983F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4" name="Freeform 171">
              <a:extLst>
                <a:ext uri="{FF2B5EF4-FFF2-40B4-BE49-F238E27FC236}">
                  <a16:creationId xmlns:a16="http://schemas.microsoft.com/office/drawing/2014/main" id="{7E9E6033-7F5D-04E9-261E-E5AD95C22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5" name="Freeform 172">
              <a:extLst>
                <a:ext uri="{FF2B5EF4-FFF2-40B4-BE49-F238E27FC236}">
                  <a16:creationId xmlns:a16="http://schemas.microsoft.com/office/drawing/2014/main" id="{781D5952-A052-344D-59EA-31829F577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6" name="Freeform 173">
              <a:extLst>
                <a:ext uri="{FF2B5EF4-FFF2-40B4-BE49-F238E27FC236}">
                  <a16:creationId xmlns:a16="http://schemas.microsoft.com/office/drawing/2014/main" id="{99EABD0F-DD65-63E3-9EA0-EB34B8A8A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7" name="Freeform 174">
              <a:extLst>
                <a:ext uri="{FF2B5EF4-FFF2-40B4-BE49-F238E27FC236}">
                  <a16:creationId xmlns:a16="http://schemas.microsoft.com/office/drawing/2014/main" id="{1663775D-6FB8-1031-7EF4-F70E70254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8" name="Freeform 175">
              <a:extLst>
                <a:ext uri="{FF2B5EF4-FFF2-40B4-BE49-F238E27FC236}">
                  <a16:creationId xmlns:a16="http://schemas.microsoft.com/office/drawing/2014/main" id="{BDC9EA8F-6563-E260-95E6-9BBBAAD5C5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09" name="Freeform 176">
              <a:extLst>
                <a:ext uri="{FF2B5EF4-FFF2-40B4-BE49-F238E27FC236}">
                  <a16:creationId xmlns:a16="http://schemas.microsoft.com/office/drawing/2014/main" id="{3A4828E3-9004-69D1-BFE7-6EA0C5A13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135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0" name="Freeform 177">
              <a:extLst>
                <a:ext uri="{FF2B5EF4-FFF2-40B4-BE49-F238E27FC236}">
                  <a16:creationId xmlns:a16="http://schemas.microsoft.com/office/drawing/2014/main" id="{991498A5-5DC1-2CCD-B179-122ABD165B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273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1" name="Freeform 178">
              <a:extLst>
                <a:ext uri="{FF2B5EF4-FFF2-40B4-BE49-F238E27FC236}">
                  <a16:creationId xmlns:a16="http://schemas.microsoft.com/office/drawing/2014/main" id="{2D6F317B-0457-B45C-6DF4-71131EB93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1273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2" name="Freeform 179">
              <a:extLst>
                <a:ext uri="{FF2B5EF4-FFF2-40B4-BE49-F238E27FC236}">
                  <a16:creationId xmlns:a16="http://schemas.microsoft.com/office/drawing/2014/main" id="{3E995C29-5ADB-5B61-85D3-48E5C1806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" y="1147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5 w 26"/>
                <a:gd name="T5" fmla="*/ 20 h 28"/>
                <a:gd name="T6" fmla="*/ 23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5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5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3" name="Freeform 180">
              <a:extLst>
                <a:ext uri="{FF2B5EF4-FFF2-40B4-BE49-F238E27FC236}">
                  <a16:creationId xmlns:a16="http://schemas.microsoft.com/office/drawing/2014/main" id="{6C20C8E0-D74B-C4CE-6349-C12FB40570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" y="1147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5 w 26"/>
                <a:gd name="T5" fmla="*/ 20 h 28"/>
                <a:gd name="T6" fmla="*/ 23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5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5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4" name="Freeform 181">
              <a:extLst>
                <a:ext uri="{FF2B5EF4-FFF2-40B4-BE49-F238E27FC236}">
                  <a16:creationId xmlns:a16="http://schemas.microsoft.com/office/drawing/2014/main" id="{80EEAECF-2F02-792D-62C3-FC92A6B0A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0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5" name="Freeform 182">
              <a:extLst>
                <a:ext uri="{FF2B5EF4-FFF2-40B4-BE49-F238E27FC236}">
                  <a16:creationId xmlns:a16="http://schemas.microsoft.com/office/drawing/2014/main" id="{68381632-BDD5-4C5C-3CF5-7FE838A218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0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6" name="Freeform 183">
              <a:extLst>
                <a:ext uri="{FF2B5EF4-FFF2-40B4-BE49-F238E27FC236}">
                  <a16:creationId xmlns:a16="http://schemas.microsoft.com/office/drawing/2014/main" id="{9D713999-E701-DD52-2132-7A5A45276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0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7" name="Freeform 184">
              <a:extLst>
                <a:ext uri="{FF2B5EF4-FFF2-40B4-BE49-F238E27FC236}">
                  <a16:creationId xmlns:a16="http://schemas.microsoft.com/office/drawing/2014/main" id="{56B32237-D138-AE80-FC5D-6C7AF1BEE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10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8" name="Freeform 185">
              <a:extLst>
                <a:ext uri="{FF2B5EF4-FFF2-40B4-BE49-F238E27FC236}">
                  <a16:creationId xmlns:a16="http://schemas.microsoft.com/office/drawing/2014/main" id="{2AF2E2BB-AC6A-7580-F902-A0A3D8A36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136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19" name="Freeform 186">
              <a:extLst>
                <a:ext uri="{FF2B5EF4-FFF2-40B4-BE49-F238E27FC236}">
                  <a16:creationId xmlns:a16="http://schemas.microsoft.com/office/drawing/2014/main" id="{E4B19FE0-1136-9A56-DECD-3A997AA66A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136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0" name="Freeform 187">
              <a:extLst>
                <a:ext uri="{FF2B5EF4-FFF2-40B4-BE49-F238E27FC236}">
                  <a16:creationId xmlns:a16="http://schemas.microsoft.com/office/drawing/2014/main" id="{5B8510B9-E31D-6213-558C-3A68372BF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136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8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8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3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3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5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1" name="Freeform 188">
              <a:extLst>
                <a:ext uri="{FF2B5EF4-FFF2-40B4-BE49-F238E27FC236}">
                  <a16:creationId xmlns:a16="http://schemas.microsoft.com/office/drawing/2014/main" id="{7BA5D8C1-B07A-E8D8-73F1-6CC35A74F9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136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8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8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3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3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5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2" name="Freeform 189">
              <a:extLst>
                <a:ext uri="{FF2B5EF4-FFF2-40B4-BE49-F238E27FC236}">
                  <a16:creationId xmlns:a16="http://schemas.microsoft.com/office/drawing/2014/main" id="{106664F0-D912-7DAA-27AC-9724E33CD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13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3" name="Freeform 190">
              <a:extLst>
                <a:ext uri="{FF2B5EF4-FFF2-40B4-BE49-F238E27FC236}">
                  <a16:creationId xmlns:a16="http://schemas.microsoft.com/office/drawing/2014/main" id="{D1A0A2FD-AD72-1EB4-B24C-9C980E7123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13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4" name="Freeform 191">
              <a:extLst>
                <a:ext uri="{FF2B5EF4-FFF2-40B4-BE49-F238E27FC236}">
                  <a16:creationId xmlns:a16="http://schemas.microsoft.com/office/drawing/2014/main" id="{86786313-F2CE-3676-AF97-EA4D1B5F5A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15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4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8 w 24"/>
                <a:gd name="T27" fmla="*/ 2 h 26"/>
                <a:gd name="T28" fmla="*/ 11 w 24"/>
                <a:gd name="T29" fmla="*/ 0 h 26"/>
                <a:gd name="T30" fmla="*/ 17 w 24"/>
                <a:gd name="T31" fmla="*/ 2 h 26"/>
                <a:gd name="T32" fmla="*/ 21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5" name="Freeform 192">
              <a:extLst>
                <a:ext uri="{FF2B5EF4-FFF2-40B4-BE49-F238E27FC236}">
                  <a16:creationId xmlns:a16="http://schemas.microsoft.com/office/drawing/2014/main" id="{A58CD201-AF5F-088D-D928-141ACBAB1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15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4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8 w 24"/>
                <a:gd name="T27" fmla="*/ 2 h 26"/>
                <a:gd name="T28" fmla="*/ 11 w 24"/>
                <a:gd name="T29" fmla="*/ 0 h 26"/>
                <a:gd name="T30" fmla="*/ 17 w 24"/>
                <a:gd name="T31" fmla="*/ 2 h 26"/>
                <a:gd name="T32" fmla="*/ 21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6" name="Freeform 193">
              <a:extLst>
                <a:ext uri="{FF2B5EF4-FFF2-40B4-BE49-F238E27FC236}">
                  <a16:creationId xmlns:a16="http://schemas.microsoft.com/office/drawing/2014/main" id="{4F6D8257-5363-E82C-3A1F-285FB1285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15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7" name="Freeform 194">
              <a:extLst>
                <a:ext uri="{FF2B5EF4-FFF2-40B4-BE49-F238E27FC236}">
                  <a16:creationId xmlns:a16="http://schemas.microsoft.com/office/drawing/2014/main" id="{1213524D-6728-C6EC-D042-9EB70DB5C9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15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8" name="Freeform 195">
              <a:extLst>
                <a:ext uri="{FF2B5EF4-FFF2-40B4-BE49-F238E27FC236}">
                  <a16:creationId xmlns:a16="http://schemas.microsoft.com/office/drawing/2014/main" id="{0AE48174-1AF3-8E6B-8081-668D0E744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195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1 h 28"/>
                <a:gd name="T6" fmla="*/ 20 w 24"/>
                <a:gd name="T7" fmla="*/ 24 h 28"/>
                <a:gd name="T8" fmla="*/ 17 w 24"/>
                <a:gd name="T9" fmla="*/ 26 h 28"/>
                <a:gd name="T10" fmla="*/ 11 w 24"/>
                <a:gd name="T11" fmla="*/ 28 h 28"/>
                <a:gd name="T12" fmla="*/ 7 w 24"/>
                <a:gd name="T13" fmla="*/ 26 h 28"/>
                <a:gd name="T14" fmla="*/ 4 w 24"/>
                <a:gd name="T15" fmla="*/ 24 h 28"/>
                <a:gd name="T16" fmla="*/ 0 w 24"/>
                <a:gd name="T17" fmla="*/ 21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8 h 28"/>
                <a:gd name="T24" fmla="*/ 4 w 24"/>
                <a:gd name="T25" fmla="*/ 4 h 28"/>
                <a:gd name="T26" fmla="*/ 7 w 24"/>
                <a:gd name="T27" fmla="*/ 2 h 28"/>
                <a:gd name="T28" fmla="*/ 11 w 24"/>
                <a:gd name="T29" fmla="*/ 0 h 28"/>
                <a:gd name="T30" fmla="*/ 17 w 24"/>
                <a:gd name="T31" fmla="*/ 2 h 28"/>
                <a:gd name="T32" fmla="*/ 20 w 24"/>
                <a:gd name="T33" fmla="*/ 4 h 28"/>
                <a:gd name="T34" fmla="*/ 24 w 24"/>
                <a:gd name="T35" fmla="*/ 8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1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5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29" name="Freeform 196">
              <a:extLst>
                <a:ext uri="{FF2B5EF4-FFF2-40B4-BE49-F238E27FC236}">
                  <a16:creationId xmlns:a16="http://schemas.microsoft.com/office/drawing/2014/main" id="{2BCED4C9-A5A4-D648-2B36-5676E8C3E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195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1 h 28"/>
                <a:gd name="T6" fmla="*/ 20 w 24"/>
                <a:gd name="T7" fmla="*/ 24 h 28"/>
                <a:gd name="T8" fmla="*/ 17 w 24"/>
                <a:gd name="T9" fmla="*/ 26 h 28"/>
                <a:gd name="T10" fmla="*/ 11 w 24"/>
                <a:gd name="T11" fmla="*/ 28 h 28"/>
                <a:gd name="T12" fmla="*/ 7 w 24"/>
                <a:gd name="T13" fmla="*/ 26 h 28"/>
                <a:gd name="T14" fmla="*/ 4 w 24"/>
                <a:gd name="T15" fmla="*/ 24 h 28"/>
                <a:gd name="T16" fmla="*/ 0 w 24"/>
                <a:gd name="T17" fmla="*/ 21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8 h 28"/>
                <a:gd name="T24" fmla="*/ 4 w 24"/>
                <a:gd name="T25" fmla="*/ 4 h 28"/>
                <a:gd name="T26" fmla="*/ 7 w 24"/>
                <a:gd name="T27" fmla="*/ 2 h 28"/>
                <a:gd name="T28" fmla="*/ 11 w 24"/>
                <a:gd name="T29" fmla="*/ 0 h 28"/>
                <a:gd name="T30" fmla="*/ 17 w 24"/>
                <a:gd name="T31" fmla="*/ 2 h 28"/>
                <a:gd name="T32" fmla="*/ 20 w 24"/>
                <a:gd name="T33" fmla="*/ 4 h 28"/>
                <a:gd name="T34" fmla="*/ 24 w 24"/>
                <a:gd name="T35" fmla="*/ 8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1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5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0" name="Freeform 197">
              <a:extLst>
                <a:ext uri="{FF2B5EF4-FFF2-40B4-BE49-F238E27FC236}">
                  <a16:creationId xmlns:a16="http://schemas.microsoft.com/office/drawing/2014/main" id="{B1C203BA-B387-3F45-DC4B-7B6029E247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1204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6 w 26"/>
                <a:gd name="T5" fmla="*/ 21 h 28"/>
                <a:gd name="T6" fmla="*/ 23 w 26"/>
                <a:gd name="T7" fmla="*/ 25 h 28"/>
                <a:gd name="T8" fmla="*/ 19 w 26"/>
                <a:gd name="T9" fmla="*/ 26 h 28"/>
                <a:gd name="T10" fmla="*/ 13 w 26"/>
                <a:gd name="T11" fmla="*/ 28 h 28"/>
                <a:gd name="T12" fmla="*/ 10 w 26"/>
                <a:gd name="T13" fmla="*/ 26 h 28"/>
                <a:gd name="T14" fmla="*/ 4 w 26"/>
                <a:gd name="T15" fmla="*/ 25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10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6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6" y="21"/>
                  </a:lnTo>
                  <a:lnTo>
                    <a:pt x="23" y="25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10" y="26"/>
                  </a:lnTo>
                  <a:lnTo>
                    <a:pt x="4" y="25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83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1" name="Freeform 198">
              <a:extLst>
                <a:ext uri="{FF2B5EF4-FFF2-40B4-BE49-F238E27FC236}">
                  <a16:creationId xmlns:a16="http://schemas.microsoft.com/office/drawing/2014/main" id="{F62CBC02-E1B1-45D1-5B29-3DEF664D0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1204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6 w 26"/>
                <a:gd name="T5" fmla="*/ 21 h 28"/>
                <a:gd name="T6" fmla="*/ 23 w 26"/>
                <a:gd name="T7" fmla="*/ 25 h 28"/>
                <a:gd name="T8" fmla="*/ 19 w 26"/>
                <a:gd name="T9" fmla="*/ 26 h 28"/>
                <a:gd name="T10" fmla="*/ 13 w 26"/>
                <a:gd name="T11" fmla="*/ 28 h 28"/>
                <a:gd name="T12" fmla="*/ 10 w 26"/>
                <a:gd name="T13" fmla="*/ 26 h 28"/>
                <a:gd name="T14" fmla="*/ 4 w 26"/>
                <a:gd name="T15" fmla="*/ 25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10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6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6" y="21"/>
                  </a:lnTo>
                  <a:lnTo>
                    <a:pt x="23" y="25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10" y="26"/>
                  </a:lnTo>
                  <a:lnTo>
                    <a:pt x="4" y="25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83F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2" name="Freeform 199">
              <a:extLst>
                <a:ext uri="{FF2B5EF4-FFF2-40B4-BE49-F238E27FC236}">
                  <a16:creationId xmlns:a16="http://schemas.microsoft.com/office/drawing/2014/main" id="{EAAF62B7-8FD6-C812-0864-CDCD02FAD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648"/>
              <a:ext cx="1339" cy="394"/>
            </a:xfrm>
            <a:custGeom>
              <a:avLst/>
              <a:gdLst>
                <a:gd name="T0" fmla="*/ 0 w 1339"/>
                <a:gd name="T1" fmla="*/ 394 h 394"/>
                <a:gd name="T2" fmla="*/ 804 w 1339"/>
                <a:gd name="T3" fmla="*/ 394 h 394"/>
                <a:gd name="T4" fmla="*/ 898 w 1339"/>
                <a:gd name="T5" fmla="*/ 266 h 394"/>
                <a:gd name="T6" fmla="*/ 993 w 1339"/>
                <a:gd name="T7" fmla="*/ 394 h 394"/>
                <a:gd name="T8" fmla="*/ 1088 w 1339"/>
                <a:gd name="T9" fmla="*/ 394 h 394"/>
                <a:gd name="T10" fmla="*/ 1183 w 1339"/>
                <a:gd name="T11" fmla="*/ 260 h 394"/>
                <a:gd name="T12" fmla="*/ 1277 w 1339"/>
                <a:gd name="T13" fmla="*/ 47 h 394"/>
                <a:gd name="T14" fmla="*/ 1339 w 1339"/>
                <a:gd name="T1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9" h="394">
                  <a:moveTo>
                    <a:pt x="0" y="394"/>
                  </a:moveTo>
                  <a:lnTo>
                    <a:pt x="804" y="394"/>
                  </a:lnTo>
                  <a:lnTo>
                    <a:pt x="898" y="266"/>
                  </a:lnTo>
                  <a:lnTo>
                    <a:pt x="993" y="394"/>
                  </a:lnTo>
                  <a:lnTo>
                    <a:pt x="1088" y="394"/>
                  </a:lnTo>
                  <a:lnTo>
                    <a:pt x="1183" y="260"/>
                  </a:lnTo>
                  <a:lnTo>
                    <a:pt x="1277" y="47"/>
                  </a:lnTo>
                  <a:lnTo>
                    <a:pt x="1339" y="0"/>
                  </a:lnTo>
                </a:path>
              </a:pathLst>
            </a:custGeom>
            <a:noFill/>
            <a:ln w="11113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3" name="Freeform 200">
              <a:extLst>
                <a:ext uri="{FF2B5EF4-FFF2-40B4-BE49-F238E27FC236}">
                  <a16:creationId xmlns:a16="http://schemas.microsoft.com/office/drawing/2014/main" id="{3D5620D8-35F1-B615-1613-0FCDBD457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1880"/>
              <a:ext cx="901" cy="162"/>
            </a:xfrm>
            <a:custGeom>
              <a:avLst/>
              <a:gdLst>
                <a:gd name="T0" fmla="*/ 0 w 901"/>
                <a:gd name="T1" fmla="*/ 162 h 162"/>
                <a:gd name="T2" fmla="*/ 819 w 901"/>
                <a:gd name="T3" fmla="*/ 162 h 162"/>
                <a:gd name="T4" fmla="*/ 901 w 901"/>
                <a:gd name="T5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01" h="162">
                  <a:moveTo>
                    <a:pt x="0" y="162"/>
                  </a:moveTo>
                  <a:lnTo>
                    <a:pt x="819" y="162"/>
                  </a:lnTo>
                  <a:lnTo>
                    <a:pt x="901" y="0"/>
                  </a:lnTo>
                </a:path>
              </a:pathLst>
            </a:custGeom>
            <a:noFill/>
            <a:ln w="11113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4" name="Freeform 201">
              <a:extLst>
                <a:ext uri="{FF2B5EF4-FFF2-40B4-BE49-F238E27FC236}">
                  <a16:creationId xmlns:a16="http://schemas.microsoft.com/office/drawing/2014/main" id="{FB5A216F-2D95-701B-79E0-3BE5CD7134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689"/>
              <a:ext cx="1419" cy="353"/>
            </a:xfrm>
            <a:custGeom>
              <a:avLst/>
              <a:gdLst>
                <a:gd name="T0" fmla="*/ 0 w 1419"/>
                <a:gd name="T1" fmla="*/ 353 h 353"/>
                <a:gd name="T2" fmla="*/ 378 w 1419"/>
                <a:gd name="T3" fmla="*/ 353 h 353"/>
                <a:gd name="T4" fmla="*/ 471 w 1419"/>
                <a:gd name="T5" fmla="*/ 0 h 353"/>
                <a:gd name="T6" fmla="*/ 520 w 1419"/>
                <a:gd name="T7" fmla="*/ 89 h 353"/>
                <a:gd name="T8" fmla="*/ 566 w 1419"/>
                <a:gd name="T9" fmla="*/ 184 h 353"/>
                <a:gd name="T10" fmla="*/ 614 w 1419"/>
                <a:gd name="T11" fmla="*/ 221 h 353"/>
                <a:gd name="T12" fmla="*/ 709 w 1419"/>
                <a:gd name="T13" fmla="*/ 154 h 353"/>
                <a:gd name="T14" fmla="*/ 804 w 1419"/>
                <a:gd name="T15" fmla="*/ 193 h 353"/>
                <a:gd name="T16" fmla="*/ 898 w 1419"/>
                <a:gd name="T17" fmla="*/ 294 h 353"/>
                <a:gd name="T18" fmla="*/ 993 w 1419"/>
                <a:gd name="T19" fmla="*/ 247 h 353"/>
                <a:gd name="T20" fmla="*/ 1088 w 1419"/>
                <a:gd name="T21" fmla="*/ 106 h 353"/>
                <a:gd name="T22" fmla="*/ 1175 w 1419"/>
                <a:gd name="T23" fmla="*/ 125 h 353"/>
                <a:gd name="T24" fmla="*/ 1277 w 1419"/>
                <a:gd name="T25" fmla="*/ 82 h 353"/>
                <a:gd name="T26" fmla="*/ 1372 w 1419"/>
                <a:gd name="T27" fmla="*/ 43 h 353"/>
                <a:gd name="T28" fmla="*/ 1419 w 1419"/>
                <a:gd name="T29" fmla="*/ 4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19" h="353">
                  <a:moveTo>
                    <a:pt x="0" y="353"/>
                  </a:moveTo>
                  <a:lnTo>
                    <a:pt x="378" y="353"/>
                  </a:lnTo>
                  <a:lnTo>
                    <a:pt x="471" y="0"/>
                  </a:lnTo>
                  <a:lnTo>
                    <a:pt x="520" y="89"/>
                  </a:lnTo>
                  <a:lnTo>
                    <a:pt x="566" y="184"/>
                  </a:lnTo>
                  <a:lnTo>
                    <a:pt x="614" y="221"/>
                  </a:lnTo>
                  <a:lnTo>
                    <a:pt x="709" y="154"/>
                  </a:lnTo>
                  <a:lnTo>
                    <a:pt x="804" y="193"/>
                  </a:lnTo>
                  <a:lnTo>
                    <a:pt x="898" y="294"/>
                  </a:lnTo>
                  <a:lnTo>
                    <a:pt x="993" y="247"/>
                  </a:lnTo>
                  <a:lnTo>
                    <a:pt x="1088" y="106"/>
                  </a:lnTo>
                  <a:lnTo>
                    <a:pt x="1175" y="125"/>
                  </a:lnTo>
                  <a:lnTo>
                    <a:pt x="1277" y="82"/>
                  </a:lnTo>
                  <a:lnTo>
                    <a:pt x="1372" y="43"/>
                  </a:lnTo>
                  <a:lnTo>
                    <a:pt x="1419" y="48"/>
                  </a:lnTo>
                </a:path>
              </a:pathLst>
            </a:custGeom>
            <a:noFill/>
            <a:ln w="11113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5" name="Freeform 202">
              <a:extLst>
                <a:ext uri="{FF2B5EF4-FFF2-40B4-BE49-F238E27FC236}">
                  <a16:creationId xmlns:a16="http://schemas.microsoft.com/office/drawing/2014/main" id="{C0CE4258-F921-66F2-4323-285E4CAA9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684"/>
              <a:ext cx="1339" cy="343"/>
            </a:xfrm>
            <a:custGeom>
              <a:avLst/>
              <a:gdLst>
                <a:gd name="T0" fmla="*/ 0 w 1339"/>
                <a:gd name="T1" fmla="*/ 343 h 343"/>
                <a:gd name="T2" fmla="*/ 1183 w 1339"/>
                <a:gd name="T3" fmla="*/ 343 h 343"/>
                <a:gd name="T4" fmla="*/ 1270 w 1339"/>
                <a:gd name="T5" fmla="*/ 3 h 343"/>
                <a:gd name="T6" fmla="*/ 1339 w 1339"/>
                <a:gd name="T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39" h="343">
                  <a:moveTo>
                    <a:pt x="0" y="343"/>
                  </a:moveTo>
                  <a:lnTo>
                    <a:pt x="1183" y="343"/>
                  </a:lnTo>
                  <a:lnTo>
                    <a:pt x="1270" y="3"/>
                  </a:lnTo>
                  <a:lnTo>
                    <a:pt x="1339" y="0"/>
                  </a:lnTo>
                </a:path>
              </a:pathLst>
            </a:custGeom>
            <a:noFill/>
            <a:ln w="11113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6" name="Freeform 203">
              <a:extLst>
                <a:ext uri="{FF2B5EF4-FFF2-40B4-BE49-F238E27FC236}">
                  <a16:creationId xmlns:a16="http://schemas.microsoft.com/office/drawing/2014/main" id="{2D4AA03E-446A-8074-464D-8F8E99A6E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739"/>
              <a:ext cx="1237" cy="288"/>
            </a:xfrm>
            <a:custGeom>
              <a:avLst/>
              <a:gdLst>
                <a:gd name="T0" fmla="*/ 0 w 1237"/>
                <a:gd name="T1" fmla="*/ 288 h 288"/>
                <a:gd name="T2" fmla="*/ 189 w 1237"/>
                <a:gd name="T3" fmla="*/ 288 h 288"/>
                <a:gd name="T4" fmla="*/ 284 w 1237"/>
                <a:gd name="T5" fmla="*/ 199 h 288"/>
                <a:gd name="T6" fmla="*/ 330 w 1237"/>
                <a:gd name="T7" fmla="*/ 153 h 288"/>
                <a:gd name="T8" fmla="*/ 378 w 1237"/>
                <a:gd name="T9" fmla="*/ 91 h 288"/>
                <a:gd name="T10" fmla="*/ 425 w 1237"/>
                <a:gd name="T11" fmla="*/ 101 h 288"/>
                <a:gd name="T12" fmla="*/ 471 w 1237"/>
                <a:gd name="T13" fmla="*/ 0 h 288"/>
                <a:gd name="T14" fmla="*/ 520 w 1237"/>
                <a:gd name="T15" fmla="*/ 39 h 288"/>
                <a:gd name="T16" fmla="*/ 566 w 1237"/>
                <a:gd name="T17" fmla="*/ 39 h 288"/>
                <a:gd name="T18" fmla="*/ 614 w 1237"/>
                <a:gd name="T19" fmla="*/ 4 h 288"/>
                <a:gd name="T20" fmla="*/ 709 w 1237"/>
                <a:gd name="T21" fmla="*/ 28 h 288"/>
                <a:gd name="T22" fmla="*/ 804 w 1237"/>
                <a:gd name="T23" fmla="*/ 26 h 288"/>
                <a:gd name="T24" fmla="*/ 906 w 1237"/>
                <a:gd name="T25" fmla="*/ 52 h 288"/>
                <a:gd name="T26" fmla="*/ 993 w 1237"/>
                <a:gd name="T27" fmla="*/ 41 h 288"/>
                <a:gd name="T28" fmla="*/ 1081 w 1237"/>
                <a:gd name="T29" fmla="*/ 15 h 288"/>
                <a:gd name="T30" fmla="*/ 1183 w 1237"/>
                <a:gd name="T31" fmla="*/ 10 h 288"/>
                <a:gd name="T32" fmla="*/ 1237 w 1237"/>
                <a:gd name="T33" fmla="*/ 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37" h="288">
                  <a:moveTo>
                    <a:pt x="0" y="288"/>
                  </a:moveTo>
                  <a:lnTo>
                    <a:pt x="189" y="288"/>
                  </a:lnTo>
                  <a:lnTo>
                    <a:pt x="284" y="199"/>
                  </a:lnTo>
                  <a:lnTo>
                    <a:pt x="330" y="153"/>
                  </a:lnTo>
                  <a:lnTo>
                    <a:pt x="378" y="91"/>
                  </a:lnTo>
                  <a:lnTo>
                    <a:pt x="425" y="101"/>
                  </a:lnTo>
                  <a:lnTo>
                    <a:pt x="471" y="0"/>
                  </a:lnTo>
                  <a:lnTo>
                    <a:pt x="520" y="39"/>
                  </a:lnTo>
                  <a:lnTo>
                    <a:pt x="566" y="39"/>
                  </a:lnTo>
                  <a:lnTo>
                    <a:pt x="614" y="4"/>
                  </a:lnTo>
                  <a:lnTo>
                    <a:pt x="709" y="28"/>
                  </a:lnTo>
                  <a:lnTo>
                    <a:pt x="804" y="26"/>
                  </a:lnTo>
                  <a:lnTo>
                    <a:pt x="906" y="52"/>
                  </a:lnTo>
                  <a:lnTo>
                    <a:pt x="993" y="41"/>
                  </a:lnTo>
                  <a:lnTo>
                    <a:pt x="1081" y="15"/>
                  </a:lnTo>
                  <a:lnTo>
                    <a:pt x="1183" y="10"/>
                  </a:lnTo>
                  <a:lnTo>
                    <a:pt x="1237" y="8"/>
                  </a:lnTo>
                </a:path>
              </a:pathLst>
            </a:custGeom>
            <a:noFill/>
            <a:ln w="11113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837" name="Freeform 204">
              <a:extLst>
                <a:ext uri="{FF2B5EF4-FFF2-40B4-BE49-F238E27FC236}">
                  <a16:creationId xmlns:a16="http://schemas.microsoft.com/office/drawing/2014/main" id="{5F55E6BF-2C84-D749-A0E2-FDE26B3A0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1656"/>
              <a:ext cx="860" cy="371"/>
            </a:xfrm>
            <a:custGeom>
              <a:avLst/>
              <a:gdLst>
                <a:gd name="T0" fmla="*/ 0 w 860"/>
                <a:gd name="T1" fmla="*/ 371 h 371"/>
                <a:gd name="T2" fmla="*/ 711 w 860"/>
                <a:gd name="T3" fmla="*/ 371 h 371"/>
                <a:gd name="T4" fmla="*/ 806 w 860"/>
                <a:gd name="T5" fmla="*/ 0 h 371"/>
                <a:gd name="T6" fmla="*/ 860 w 860"/>
                <a:gd name="T7" fmla="*/ 37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0" h="371">
                  <a:moveTo>
                    <a:pt x="0" y="371"/>
                  </a:moveTo>
                  <a:lnTo>
                    <a:pt x="711" y="371"/>
                  </a:lnTo>
                  <a:lnTo>
                    <a:pt x="806" y="0"/>
                  </a:lnTo>
                  <a:lnTo>
                    <a:pt x="860" y="37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</p:grpSp>
      <p:grpSp>
        <p:nvGrpSpPr>
          <p:cNvPr id="14" name="Group 406">
            <a:extLst>
              <a:ext uri="{FF2B5EF4-FFF2-40B4-BE49-F238E27FC236}">
                <a16:creationId xmlns:a16="http://schemas.microsoft.com/office/drawing/2014/main" id="{102ECA7B-79E9-AEFF-A353-1460EB7C00BA}"/>
              </a:ext>
            </a:extLst>
          </p:cNvPr>
          <p:cNvGrpSpPr>
            <a:grpSpLocks/>
          </p:cNvGrpSpPr>
          <p:nvPr/>
        </p:nvGrpSpPr>
        <p:grpSpPr bwMode="auto">
          <a:xfrm>
            <a:off x="1771652" y="3460751"/>
            <a:ext cx="3058584" cy="889000"/>
            <a:chOff x="837" y="1635"/>
            <a:chExt cx="1445" cy="420"/>
          </a:xfrm>
        </p:grpSpPr>
        <p:sp>
          <p:nvSpPr>
            <p:cNvPr id="438" name="Freeform 206">
              <a:extLst>
                <a:ext uri="{FF2B5EF4-FFF2-40B4-BE49-F238E27FC236}">
                  <a16:creationId xmlns:a16="http://schemas.microsoft.com/office/drawing/2014/main" id="{FCF2E2DD-2304-A650-4F55-B045D973064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1723"/>
              <a:ext cx="850" cy="304"/>
            </a:xfrm>
            <a:custGeom>
              <a:avLst/>
              <a:gdLst>
                <a:gd name="T0" fmla="*/ 0 w 850"/>
                <a:gd name="T1" fmla="*/ 304 h 304"/>
                <a:gd name="T2" fmla="*/ 284 w 850"/>
                <a:gd name="T3" fmla="*/ 304 h 304"/>
                <a:gd name="T4" fmla="*/ 378 w 850"/>
                <a:gd name="T5" fmla="*/ 91 h 304"/>
                <a:gd name="T6" fmla="*/ 425 w 850"/>
                <a:gd name="T7" fmla="*/ 0 h 304"/>
                <a:gd name="T8" fmla="*/ 471 w 850"/>
                <a:gd name="T9" fmla="*/ 139 h 304"/>
                <a:gd name="T10" fmla="*/ 520 w 850"/>
                <a:gd name="T11" fmla="*/ 131 h 304"/>
                <a:gd name="T12" fmla="*/ 566 w 850"/>
                <a:gd name="T13" fmla="*/ 131 h 304"/>
                <a:gd name="T14" fmla="*/ 614 w 850"/>
                <a:gd name="T15" fmla="*/ 118 h 304"/>
                <a:gd name="T16" fmla="*/ 709 w 850"/>
                <a:gd name="T17" fmla="*/ 109 h 304"/>
                <a:gd name="T18" fmla="*/ 796 w 850"/>
                <a:gd name="T19" fmla="*/ 91 h 304"/>
                <a:gd name="T20" fmla="*/ 850 w 850"/>
                <a:gd name="T21" fmla="*/ 81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0" h="304">
                  <a:moveTo>
                    <a:pt x="0" y="304"/>
                  </a:moveTo>
                  <a:lnTo>
                    <a:pt x="284" y="304"/>
                  </a:lnTo>
                  <a:lnTo>
                    <a:pt x="378" y="91"/>
                  </a:lnTo>
                  <a:lnTo>
                    <a:pt x="425" y="0"/>
                  </a:lnTo>
                  <a:lnTo>
                    <a:pt x="471" y="139"/>
                  </a:lnTo>
                  <a:lnTo>
                    <a:pt x="520" y="131"/>
                  </a:lnTo>
                  <a:lnTo>
                    <a:pt x="566" y="131"/>
                  </a:lnTo>
                  <a:lnTo>
                    <a:pt x="614" y="118"/>
                  </a:lnTo>
                  <a:lnTo>
                    <a:pt x="709" y="109"/>
                  </a:lnTo>
                  <a:lnTo>
                    <a:pt x="796" y="91"/>
                  </a:lnTo>
                  <a:lnTo>
                    <a:pt x="850" y="81"/>
                  </a:lnTo>
                </a:path>
              </a:pathLst>
            </a:custGeom>
            <a:noFill/>
            <a:ln w="11113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9" name="Freeform 207">
              <a:extLst>
                <a:ext uri="{FF2B5EF4-FFF2-40B4-BE49-F238E27FC236}">
                  <a16:creationId xmlns:a16="http://schemas.microsoft.com/office/drawing/2014/main" id="{BC15FBB3-3C75-7B71-0687-9ACA3CB45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0" name="Freeform 208">
              <a:extLst>
                <a:ext uri="{FF2B5EF4-FFF2-40B4-BE49-F238E27FC236}">
                  <a16:creationId xmlns:a16="http://schemas.microsoft.com/office/drawing/2014/main" id="{A8E3E7BC-8E69-0D68-4D59-729C2BFB4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1" name="Freeform 209">
              <a:extLst>
                <a:ext uri="{FF2B5EF4-FFF2-40B4-BE49-F238E27FC236}">
                  <a16:creationId xmlns:a16="http://schemas.microsoft.com/office/drawing/2014/main" id="{C274DDEB-23C5-AE2F-6CCE-134E49CEF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2" name="Freeform 210">
              <a:extLst>
                <a:ext uri="{FF2B5EF4-FFF2-40B4-BE49-F238E27FC236}">
                  <a16:creationId xmlns:a16="http://schemas.microsoft.com/office/drawing/2014/main" id="{258BBE32-718B-CC2B-BB51-AAF2135C0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3" name="Freeform 211">
              <a:extLst>
                <a:ext uri="{FF2B5EF4-FFF2-40B4-BE49-F238E27FC236}">
                  <a16:creationId xmlns:a16="http://schemas.microsoft.com/office/drawing/2014/main" id="{305883BB-D9B7-7E87-65F6-509FA34C18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4" name="Freeform 212">
              <a:extLst>
                <a:ext uri="{FF2B5EF4-FFF2-40B4-BE49-F238E27FC236}">
                  <a16:creationId xmlns:a16="http://schemas.microsoft.com/office/drawing/2014/main" id="{81F95DF1-1CB8-A51D-B1A0-3F6D61668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5" name="Freeform 213">
              <a:extLst>
                <a:ext uri="{FF2B5EF4-FFF2-40B4-BE49-F238E27FC236}">
                  <a16:creationId xmlns:a16="http://schemas.microsoft.com/office/drawing/2014/main" id="{00922754-63FE-0F99-C108-CC1B6A2FCE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6" name="Freeform 214">
              <a:extLst>
                <a:ext uri="{FF2B5EF4-FFF2-40B4-BE49-F238E27FC236}">
                  <a16:creationId xmlns:a16="http://schemas.microsoft.com/office/drawing/2014/main" id="{2CB3C3F2-FF0C-CF13-7590-AD37FE0EF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7" name="Freeform 215">
              <a:extLst>
                <a:ext uri="{FF2B5EF4-FFF2-40B4-BE49-F238E27FC236}">
                  <a16:creationId xmlns:a16="http://schemas.microsoft.com/office/drawing/2014/main" id="{4D0923DD-88D4-EF62-1E9B-A06051A98A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029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4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4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4 h 26"/>
                <a:gd name="T26" fmla="*/ 8 w 25"/>
                <a:gd name="T27" fmla="*/ 2 h 26"/>
                <a:gd name="T28" fmla="*/ 13 w 25"/>
                <a:gd name="T29" fmla="*/ 0 h 26"/>
                <a:gd name="T30" fmla="*/ 17 w 25"/>
                <a:gd name="T31" fmla="*/ 2 h 26"/>
                <a:gd name="T32" fmla="*/ 21 w 25"/>
                <a:gd name="T33" fmla="*/ 4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8" name="Freeform 216">
              <a:extLst>
                <a:ext uri="{FF2B5EF4-FFF2-40B4-BE49-F238E27FC236}">
                  <a16:creationId xmlns:a16="http://schemas.microsoft.com/office/drawing/2014/main" id="{0362E71B-D064-40B1-00C4-D7852E5CD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029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4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4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4 h 26"/>
                <a:gd name="T26" fmla="*/ 8 w 25"/>
                <a:gd name="T27" fmla="*/ 2 h 26"/>
                <a:gd name="T28" fmla="*/ 13 w 25"/>
                <a:gd name="T29" fmla="*/ 0 h 26"/>
                <a:gd name="T30" fmla="*/ 17 w 25"/>
                <a:gd name="T31" fmla="*/ 2 h 26"/>
                <a:gd name="T32" fmla="*/ 21 w 25"/>
                <a:gd name="T33" fmla="*/ 4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49" name="Freeform 217">
              <a:extLst>
                <a:ext uri="{FF2B5EF4-FFF2-40B4-BE49-F238E27FC236}">
                  <a16:creationId xmlns:a16="http://schemas.microsoft.com/office/drawing/2014/main" id="{3250614B-33CD-6D85-373B-F85CA9632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4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8 w 24"/>
                <a:gd name="T27" fmla="*/ 2 h 26"/>
                <a:gd name="T28" fmla="*/ 11 w 24"/>
                <a:gd name="T29" fmla="*/ 0 h 26"/>
                <a:gd name="T30" fmla="*/ 17 w 24"/>
                <a:gd name="T31" fmla="*/ 2 h 26"/>
                <a:gd name="T32" fmla="*/ 21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0" name="Freeform 218">
              <a:extLst>
                <a:ext uri="{FF2B5EF4-FFF2-40B4-BE49-F238E27FC236}">
                  <a16:creationId xmlns:a16="http://schemas.microsoft.com/office/drawing/2014/main" id="{0F964A6D-1AC0-A039-F8B1-0B13F11AE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4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8 w 24"/>
                <a:gd name="T27" fmla="*/ 2 h 26"/>
                <a:gd name="T28" fmla="*/ 11 w 24"/>
                <a:gd name="T29" fmla="*/ 0 h 26"/>
                <a:gd name="T30" fmla="*/ 17 w 24"/>
                <a:gd name="T31" fmla="*/ 2 h 26"/>
                <a:gd name="T32" fmla="*/ 21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1" name="Freeform 219">
              <a:extLst>
                <a:ext uri="{FF2B5EF4-FFF2-40B4-BE49-F238E27FC236}">
                  <a16:creationId xmlns:a16="http://schemas.microsoft.com/office/drawing/2014/main" id="{948F5A52-6DBD-DDE9-4EF8-0D1795A73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1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2" name="Freeform 220">
              <a:extLst>
                <a:ext uri="{FF2B5EF4-FFF2-40B4-BE49-F238E27FC236}">
                  <a16:creationId xmlns:a16="http://schemas.microsoft.com/office/drawing/2014/main" id="{FAF007E9-D187-56E5-6640-A1A6A52D7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1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3" name="Freeform 221">
              <a:extLst>
                <a:ext uri="{FF2B5EF4-FFF2-40B4-BE49-F238E27FC236}">
                  <a16:creationId xmlns:a16="http://schemas.microsoft.com/office/drawing/2014/main" id="{50C6D151-D14D-6D55-6943-439935270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4" name="Freeform 222">
              <a:extLst>
                <a:ext uri="{FF2B5EF4-FFF2-40B4-BE49-F238E27FC236}">
                  <a16:creationId xmlns:a16="http://schemas.microsoft.com/office/drawing/2014/main" id="{C5E73572-5C0B-7E6E-0333-9246FDE33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5" name="Freeform 223">
              <a:extLst>
                <a:ext uri="{FF2B5EF4-FFF2-40B4-BE49-F238E27FC236}">
                  <a16:creationId xmlns:a16="http://schemas.microsoft.com/office/drawing/2014/main" id="{BF320299-20DB-02C9-63A3-3FB81AF12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6" name="Freeform 224">
              <a:extLst>
                <a:ext uri="{FF2B5EF4-FFF2-40B4-BE49-F238E27FC236}">
                  <a16:creationId xmlns:a16="http://schemas.microsoft.com/office/drawing/2014/main" id="{747B91C1-1797-8502-207A-98C99A9E6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7" name="Freeform 225">
              <a:extLst>
                <a:ext uri="{FF2B5EF4-FFF2-40B4-BE49-F238E27FC236}">
                  <a16:creationId xmlns:a16="http://schemas.microsoft.com/office/drawing/2014/main" id="{7D46BE7B-29ED-8C6F-E505-AF3A92E227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1901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5 w 26"/>
                <a:gd name="T5" fmla="*/ 20 h 28"/>
                <a:gd name="T6" fmla="*/ 23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5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5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8" name="Freeform 226">
              <a:extLst>
                <a:ext uri="{FF2B5EF4-FFF2-40B4-BE49-F238E27FC236}">
                  <a16:creationId xmlns:a16="http://schemas.microsoft.com/office/drawing/2014/main" id="{94BF9C60-F83B-2463-132B-C5289116FD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1901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5 w 26"/>
                <a:gd name="T5" fmla="*/ 20 h 28"/>
                <a:gd name="T6" fmla="*/ 23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20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7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5 w 26"/>
                <a:gd name="T35" fmla="*/ 7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5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59" name="Freeform 227">
              <a:extLst>
                <a:ext uri="{FF2B5EF4-FFF2-40B4-BE49-F238E27FC236}">
                  <a16:creationId xmlns:a16="http://schemas.microsoft.com/office/drawing/2014/main" id="{2C3C97DD-FE87-911A-BA75-3C8E1C4BB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0" name="Freeform 228">
              <a:extLst>
                <a:ext uri="{FF2B5EF4-FFF2-40B4-BE49-F238E27FC236}">
                  <a16:creationId xmlns:a16="http://schemas.microsoft.com/office/drawing/2014/main" id="{4992D654-66EC-DA93-35E6-15AFE276A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1" name="Freeform 229">
              <a:extLst>
                <a:ext uri="{FF2B5EF4-FFF2-40B4-BE49-F238E27FC236}">
                  <a16:creationId xmlns:a16="http://schemas.microsoft.com/office/drawing/2014/main" id="{81B44179-A621-DE4B-EDF1-533C094F0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2" name="Freeform 230">
              <a:extLst>
                <a:ext uri="{FF2B5EF4-FFF2-40B4-BE49-F238E27FC236}">
                  <a16:creationId xmlns:a16="http://schemas.microsoft.com/office/drawing/2014/main" id="{29C7B085-1D4B-FF33-57ED-73F0B8207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3" name="Freeform 231">
              <a:extLst>
                <a:ext uri="{FF2B5EF4-FFF2-40B4-BE49-F238E27FC236}">
                  <a16:creationId xmlns:a16="http://schemas.microsoft.com/office/drawing/2014/main" id="{B2DCB5FF-AA94-7DCD-5D5C-19A376DB4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189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4" name="Freeform 232">
              <a:extLst>
                <a:ext uri="{FF2B5EF4-FFF2-40B4-BE49-F238E27FC236}">
                  <a16:creationId xmlns:a16="http://schemas.microsoft.com/office/drawing/2014/main" id="{CFCD7E5C-098A-B57F-F5B7-D1EB88E17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189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5" name="Freeform 233">
              <a:extLst>
                <a:ext uri="{FF2B5EF4-FFF2-40B4-BE49-F238E27FC236}">
                  <a16:creationId xmlns:a16="http://schemas.microsoft.com/office/drawing/2014/main" id="{4700F732-98D1-C034-5F1C-49A48C03F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168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6" name="Freeform 234">
              <a:extLst>
                <a:ext uri="{FF2B5EF4-FFF2-40B4-BE49-F238E27FC236}">
                  <a16:creationId xmlns:a16="http://schemas.microsoft.com/office/drawing/2014/main" id="{252B8453-1E45-8456-B6B4-2A844A4FA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168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7" name="Freeform 235">
              <a:extLst>
                <a:ext uri="{FF2B5EF4-FFF2-40B4-BE49-F238E27FC236}">
                  <a16:creationId xmlns:a16="http://schemas.microsoft.com/office/drawing/2014/main" id="{C0729499-32BC-C10D-0763-C2C181EBC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163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3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1C86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8" name="Freeform 236">
              <a:extLst>
                <a:ext uri="{FF2B5EF4-FFF2-40B4-BE49-F238E27FC236}">
                  <a16:creationId xmlns:a16="http://schemas.microsoft.com/office/drawing/2014/main" id="{80FC4A5D-6045-02D3-1978-5438CEAAF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163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3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1C86E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69" name="Freeform 237">
              <a:extLst>
                <a:ext uri="{FF2B5EF4-FFF2-40B4-BE49-F238E27FC236}">
                  <a16:creationId xmlns:a16="http://schemas.microsoft.com/office/drawing/2014/main" id="{33C0A9A1-0675-44AC-8470-D78A21744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0" name="Freeform 238">
              <a:extLst>
                <a:ext uri="{FF2B5EF4-FFF2-40B4-BE49-F238E27FC236}">
                  <a16:creationId xmlns:a16="http://schemas.microsoft.com/office/drawing/2014/main" id="{A466E159-F491-DAF2-6A4B-6004506C7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1" name="Freeform 239">
              <a:extLst>
                <a:ext uri="{FF2B5EF4-FFF2-40B4-BE49-F238E27FC236}">
                  <a16:creationId xmlns:a16="http://schemas.microsoft.com/office/drawing/2014/main" id="{41253E66-A4B0-D805-EE84-915B8A755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2" name="Freeform 240">
              <a:extLst>
                <a:ext uri="{FF2B5EF4-FFF2-40B4-BE49-F238E27FC236}">
                  <a16:creationId xmlns:a16="http://schemas.microsoft.com/office/drawing/2014/main" id="{C0443991-541B-EB8F-2241-C6EB1C4AC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3" name="Freeform 241">
              <a:extLst>
                <a:ext uri="{FF2B5EF4-FFF2-40B4-BE49-F238E27FC236}">
                  <a16:creationId xmlns:a16="http://schemas.microsoft.com/office/drawing/2014/main" id="{14FD893E-7812-D67A-A55F-0BD52C03F6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4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4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4" name="Freeform 242">
              <a:extLst>
                <a:ext uri="{FF2B5EF4-FFF2-40B4-BE49-F238E27FC236}">
                  <a16:creationId xmlns:a16="http://schemas.microsoft.com/office/drawing/2014/main" id="{232EC829-E80C-3F4C-7258-CDE64F635A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4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4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5" name="Freeform 243">
              <a:extLst>
                <a:ext uri="{FF2B5EF4-FFF2-40B4-BE49-F238E27FC236}">
                  <a16:creationId xmlns:a16="http://schemas.microsoft.com/office/drawing/2014/main" id="{19953A6F-95E2-DEC8-3FB4-1B67E153F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10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6" name="Freeform 244">
              <a:extLst>
                <a:ext uri="{FF2B5EF4-FFF2-40B4-BE49-F238E27FC236}">
                  <a16:creationId xmlns:a16="http://schemas.microsoft.com/office/drawing/2014/main" id="{3FA3D551-3315-9799-4774-5E6B42434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10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7" name="Freeform 245">
              <a:extLst>
                <a:ext uri="{FF2B5EF4-FFF2-40B4-BE49-F238E27FC236}">
                  <a16:creationId xmlns:a16="http://schemas.microsoft.com/office/drawing/2014/main" id="{2197CDEF-AB10-54BF-DE97-AB7320D4E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8" name="Freeform 246">
              <a:extLst>
                <a:ext uri="{FF2B5EF4-FFF2-40B4-BE49-F238E27FC236}">
                  <a16:creationId xmlns:a16="http://schemas.microsoft.com/office/drawing/2014/main" id="{A8FBC2E2-1D86-8C57-7000-815D0DB9EF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79" name="Freeform 247">
              <a:extLst>
                <a:ext uri="{FF2B5EF4-FFF2-40B4-BE49-F238E27FC236}">
                  <a16:creationId xmlns:a16="http://schemas.microsoft.com/office/drawing/2014/main" id="{61E31C72-6402-B7E8-726A-5684D56A7A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0" name="Freeform 248">
              <a:extLst>
                <a:ext uri="{FF2B5EF4-FFF2-40B4-BE49-F238E27FC236}">
                  <a16:creationId xmlns:a16="http://schemas.microsoft.com/office/drawing/2014/main" id="{D8063ABA-A1E9-22DB-6F0A-2B240EE08F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1" name="Freeform 249">
              <a:extLst>
                <a:ext uri="{FF2B5EF4-FFF2-40B4-BE49-F238E27FC236}">
                  <a16:creationId xmlns:a16="http://schemas.microsoft.com/office/drawing/2014/main" id="{6946DDF9-F158-8271-F32B-78401CA4B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10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2" name="Freeform 250">
              <a:extLst>
                <a:ext uri="{FF2B5EF4-FFF2-40B4-BE49-F238E27FC236}">
                  <a16:creationId xmlns:a16="http://schemas.microsoft.com/office/drawing/2014/main" id="{EB2443F9-5C1D-425B-84FF-6434C303B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10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3" name="Freeform 251">
              <a:extLst>
                <a:ext uri="{FF2B5EF4-FFF2-40B4-BE49-F238E27FC236}">
                  <a16:creationId xmlns:a16="http://schemas.microsoft.com/office/drawing/2014/main" id="{19CC653F-2216-8775-319B-7CCD5D5D9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3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4" name="Freeform 252">
              <a:extLst>
                <a:ext uri="{FF2B5EF4-FFF2-40B4-BE49-F238E27FC236}">
                  <a16:creationId xmlns:a16="http://schemas.microsoft.com/office/drawing/2014/main" id="{5A66C95E-B3B6-84C0-9557-2AD8F6D25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3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5" name="Freeform 253">
              <a:extLst>
                <a:ext uri="{FF2B5EF4-FFF2-40B4-BE49-F238E27FC236}">
                  <a16:creationId xmlns:a16="http://schemas.microsoft.com/office/drawing/2014/main" id="{F0B2A301-366D-D174-B23F-74596AA74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6" name="Freeform 254">
              <a:extLst>
                <a:ext uri="{FF2B5EF4-FFF2-40B4-BE49-F238E27FC236}">
                  <a16:creationId xmlns:a16="http://schemas.microsoft.com/office/drawing/2014/main" id="{68B718F3-61E1-E448-ECB3-2AF7A7760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7" name="Freeform 255">
              <a:extLst>
                <a:ext uri="{FF2B5EF4-FFF2-40B4-BE49-F238E27FC236}">
                  <a16:creationId xmlns:a16="http://schemas.microsoft.com/office/drawing/2014/main" id="{92157163-9C4E-E919-AD58-86EFA7111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3" y="1866"/>
              <a:ext cx="26" cy="27"/>
            </a:xfrm>
            <a:custGeom>
              <a:avLst/>
              <a:gdLst>
                <a:gd name="T0" fmla="*/ 26 w 26"/>
                <a:gd name="T1" fmla="*/ 14 h 27"/>
                <a:gd name="T2" fmla="*/ 26 w 26"/>
                <a:gd name="T3" fmla="*/ 14 h 27"/>
                <a:gd name="T4" fmla="*/ 24 w 26"/>
                <a:gd name="T5" fmla="*/ 20 h 27"/>
                <a:gd name="T6" fmla="*/ 20 w 26"/>
                <a:gd name="T7" fmla="*/ 24 h 27"/>
                <a:gd name="T8" fmla="*/ 17 w 26"/>
                <a:gd name="T9" fmla="*/ 26 h 27"/>
                <a:gd name="T10" fmla="*/ 13 w 26"/>
                <a:gd name="T11" fmla="*/ 27 h 27"/>
                <a:gd name="T12" fmla="*/ 7 w 26"/>
                <a:gd name="T13" fmla="*/ 26 h 27"/>
                <a:gd name="T14" fmla="*/ 4 w 26"/>
                <a:gd name="T15" fmla="*/ 24 h 27"/>
                <a:gd name="T16" fmla="*/ 0 w 26"/>
                <a:gd name="T17" fmla="*/ 20 h 27"/>
                <a:gd name="T18" fmla="*/ 0 w 26"/>
                <a:gd name="T19" fmla="*/ 14 h 27"/>
                <a:gd name="T20" fmla="*/ 0 w 26"/>
                <a:gd name="T21" fmla="*/ 14 h 27"/>
                <a:gd name="T22" fmla="*/ 0 w 26"/>
                <a:gd name="T23" fmla="*/ 7 h 27"/>
                <a:gd name="T24" fmla="*/ 4 w 26"/>
                <a:gd name="T25" fmla="*/ 3 h 27"/>
                <a:gd name="T26" fmla="*/ 7 w 26"/>
                <a:gd name="T27" fmla="*/ 1 h 27"/>
                <a:gd name="T28" fmla="*/ 13 w 26"/>
                <a:gd name="T29" fmla="*/ 0 h 27"/>
                <a:gd name="T30" fmla="*/ 17 w 26"/>
                <a:gd name="T31" fmla="*/ 1 h 27"/>
                <a:gd name="T32" fmla="*/ 20 w 26"/>
                <a:gd name="T33" fmla="*/ 3 h 27"/>
                <a:gd name="T34" fmla="*/ 24 w 26"/>
                <a:gd name="T35" fmla="*/ 7 h 27"/>
                <a:gd name="T36" fmla="*/ 26 w 26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4"/>
                  </a:moveTo>
                  <a:lnTo>
                    <a:pt x="26" y="14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7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6" y="14"/>
                  </a:lnTo>
                  <a:close/>
                </a:path>
              </a:pathLst>
            </a:custGeom>
            <a:solidFill>
              <a:srgbClr val="008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8" name="Freeform 256">
              <a:extLst>
                <a:ext uri="{FF2B5EF4-FFF2-40B4-BE49-F238E27FC236}">
                  <a16:creationId xmlns:a16="http://schemas.microsoft.com/office/drawing/2014/main" id="{BACC24A1-4F76-4237-9B05-4E98808DC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3" y="1866"/>
              <a:ext cx="26" cy="27"/>
            </a:xfrm>
            <a:custGeom>
              <a:avLst/>
              <a:gdLst>
                <a:gd name="T0" fmla="*/ 26 w 26"/>
                <a:gd name="T1" fmla="*/ 14 h 27"/>
                <a:gd name="T2" fmla="*/ 26 w 26"/>
                <a:gd name="T3" fmla="*/ 14 h 27"/>
                <a:gd name="T4" fmla="*/ 24 w 26"/>
                <a:gd name="T5" fmla="*/ 20 h 27"/>
                <a:gd name="T6" fmla="*/ 20 w 26"/>
                <a:gd name="T7" fmla="*/ 24 h 27"/>
                <a:gd name="T8" fmla="*/ 17 w 26"/>
                <a:gd name="T9" fmla="*/ 26 h 27"/>
                <a:gd name="T10" fmla="*/ 13 w 26"/>
                <a:gd name="T11" fmla="*/ 27 h 27"/>
                <a:gd name="T12" fmla="*/ 7 w 26"/>
                <a:gd name="T13" fmla="*/ 26 h 27"/>
                <a:gd name="T14" fmla="*/ 4 w 26"/>
                <a:gd name="T15" fmla="*/ 24 h 27"/>
                <a:gd name="T16" fmla="*/ 0 w 26"/>
                <a:gd name="T17" fmla="*/ 20 h 27"/>
                <a:gd name="T18" fmla="*/ 0 w 26"/>
                <a:gd name="T19" fmla="*/ 14 h 27"/>
                <a:gd name="T20" fmla="*/ 0 w 26"/>
                <a:gd name="T21" fmla="*/ 14 h 27"/>
                <a:gd name="T22" fmla="*/ 0 w 26"/>
                <a:gd name="T23" fmla="*/ 7 h 27"/>
                <a:gd name="T24" fmla="*/ 4 w 26"/>
                <a:gd name="T25" fmla="*/ 3 h 27"/>
                <a:gd name="T26" fmla="*/ 7 w 26"/>
                <a:gd name="T27" fmla="*/ 1 h 27"/>
                <a:gd name="T28" fmla="*/ 13 w 26"/>
                <a:gd name="T29" fmla="*/ 0 h 27"/>
                <a:gd name="T30" fmla="*/ 17 w 26"/>
                <a:gd name="T31" fmla="*/ 1 h 27"/>
                <a:gd name="T32" fmla="*/ 20 w 26"/>
                <a:gd name="T33" fmla="*/ 3 h 27"/>
                <a:gd name="T34" fmla="*/ 24 w 26"/>
                <a:gd name="T35" fmla="*/ 7 h 27"/>
                <a:gd name="T36" fmla="*/ 26 w 26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4"/>
                  </a:moveTo>
                  <a:lnTo>
                    <a:pt x="26" y="14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7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6" y="14"/>
                  </a:lnTo>
                </a:path>
              </a:pathLst>
            </a:custGeom>
            <a:noFill/>
            <a:ln w="9525">
              <a:solidFill>
                <a:srgbClr val="008B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89" name="Freeform 257">
              <a:extLst>
                <a:ext uri="{FF2B5EF4-FFF2-40B4-BE49-F238E27FC236}">
                  <a16:creationId xmlns:a16="http://schemas.microsoft.com/office/drawing/2014/main" id="{960D0604-FF92-DE8A-5C05-2C9EDD946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0" name="Freeform 258">
              <a:extLst>
                <a:ext uri="{FF2B5EF4-FFF2-40B4-BE49-F238E27FC236}">
                  <a16:creationId xmlns:a16="http://schemas.microsoft.com/office/drawing/2014/main" id="{A3089299-AF82-4B63-306C-1B23B466A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0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1" name="Freeform 259">
              <a:extLst>
                <a:ext uri="{FF2B5EF4-FFF2-40B4-BE49-F238E27FC236}">
                  <a16:creationId xmlns:a16="http://schemas.microsoft.com/office/drawing/2014/main" id="{9C4ADF35-80FE-4920-2290-006E42C9A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2" name="Freeform 260">
              <a:extLst>
                <a:ext uri="{FF2B5EF4-FFF2-40B4-BE49-F238E27FC236}">
                  <a16:creationId xmlns:a16="http://schemas.microsoft.com/office/drawing/2014/main" id="{913666A8-966B-A2E3-2F98-F7DD711917C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1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3" name="Freeform 261">
              <a:extLst>
                <a:ext uri="{FF2B5EF4-FFF2-40B4-BE49-F238E27FC236}">
                  <a16:creationId xmlns:a16="http://schemas.microsoft.com/office/drawing/2014/main" id="{FC6FA48D-0D18-68FE-AB9E-EC60B97A15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4" name="Freeform 262">
              <a:extLst>
                <a:ext uri="{FF2B5EF4-FFF2-40B4-BE49-F238E27FC236}">
                  <a16:creationId xmlns:a16="http://schemas.microsoft.com/office/drawing/2014/main" id="{355B8020-A850-6D11-F9DB-66CB2FCBB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7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5" name="Freeform 263">
              <a:extLst>
                <a:ext uri="{FF2B5EF4-FFF2-40B4-BE49-F238E27FC236}">
                  <a16:creationId xmlns:a16="http://schemas.microsoft.com/office/drawing/2014/main" id="{58C2F9C5-252C-0D21-9FB7-1DB38C93D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6" name="Freeform 264">
              <a:extLst>
                <a:ext uri="{FF2B5EF4-FFF2-40B4-BE49-F238E27FC236}">
                  <a16:creationId xmlns:a16="http://schemas.microsoft.com/office/drawing/2014/main" id="{1733E321-CBF4-5795-820C-5DF8F73292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2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4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4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2 h 26"/>
                <a:gd name="T28" fmla="*/ 13 w 24"/>
                <a:gd name="T29" fmla="*/ 0 h 26"/>
                <a:gd name="T30" fmla="*/ 16 w 24"/>
                <a:gd name="T31" fmla="*/ 2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7" name="Freeform 265">
              <a:extLst>
                <a:ext uri="{FF2B5EF4-FFF2-40B4-BE49-F238E27FC236}">
                  <a16:creationId xmlns:a16="http://schemas.microsoft.com/office/drawing/2014/main" id="{0F093EE3-BAFB-840C-B3BB-D9B3F3CB3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029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4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4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4 h 26"/>
                <a:gd name="T26" fmla="*/ 8 w 25"/>
                <a:gd name="T27" fmla="*/ 2 h 26"/>
                <a:gd name="T28" fmla="*/ 13 w 25"/>
                <a:gd name="T29" fmla="*/ 0 h 26"/>
                <a:gd name="T30" fmla="*/ 17 w 25"/>
                <a:gd name="T31" fmla="*/ 2 h 26"/>
                <a:gd name="T32" fmla="*/ 21 w 25"/>
                <a:gd name="T33" fmla="*/ 4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8" name="Freeform 266">
              <a:extLst>
                <a:ext uri="{FF2B5EF4-FFF2-40B4-BE49-F238E27FC236}">
                  <a16:creationId xmlns:a16="http://schemas.microsoft.com/office/drawing/2014/main" id="{374CCCD4-C7E8-6926-FB79-3150BBC2A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029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4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4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4 h 26"/>
                <a:gd name="T26" fmla="*/ 8 w 25"/>
                <a:gd name="T27" fmla="*/ 2 h 26"/>
                <a:gd name="T28" fmla="*/ 13 w 25"/>
                <a:gd name="T29" fmla="*/ 0 h 26"/>
                <a:gd name="T30" fmla="*/ 17 w 25"/>
                <a:gd name="T31" fmla="*/ 2 h 26"/>
                <a:gd name="T32" fmla="*/ 21 w 25"/>
                <a:gd name="T33" fmla="*/ 4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99" name="Freeform 267">
              <a:extLst>
                <a:ext uri="{FF2B5EF4-FFF2-40B4-BE49-F238E27FC236}">
                  <a16:creationId xmlns:a16="http://schemas.microsoft.com/office/drawing/2014/main" id="{05FF0E11-BB30-49BB-BE2C-DA9BF892D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676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1 h 28"/>
                <a:gd name="T6" fmla="*/ 21 w 24"/>
                <a:gd name="T7" fmla="*/ 24 h 28"/>
                <a:gd name="T8" fmla="*/ 17 w 24"/>
                <a:gd name="T9" fmla="*/ 26 h 28"/>
                <a:gd name="T10" fmla="*/ 11 w 24"/>
                <a:gd name="T11" fmla="*/ 28 h 28"/>
                <a:gd name="T12" fmla="*/ 8 w 24"/>
                <a:gd name="T13" fmla="*/ 26 h 28"/>
                <a:gd name="T14" fmla="*/ 4 w 24"/>
                <a:gd name="T15" fmla="*/ 24 h 28"/>
                <a:gd name="T16" fmla="*/ 0 w 24"/>
                <a:gd name="T17" fmla="*/ 21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8 h 28"/>
                <a:gd name="T24" fmla="*/ 4 w 24"/>
                <a:gd name="T25" fmla="*/ 4 h 28"/>
                <a:gd name="T26" fmla="*/ 8 w 24"/>
                <a:gd name="T27" fmla="*/ 2 h 28"/>
                <a:gd name="T28" fmla="*/ 11 w 24"/>
                <a:gd name="T29" fmla="*/ 0 h 28"/>
                <a:gd name="T30" fmla="*/ 17 w 24"/>
                <a:gd name="T31" fmla="*/ 2 h 28"/>
                <a:gd name="T32" fmla="*/ 21 w 24"/>
                <a:gd name="T33" fmla="*/ 4 h 28"/>
                <a:gd name="T34" fmla="*/ 24 w 24"/>
                <a:gd name="T35" fmla="*/ 8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1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0" name="Freeform 268">
              <a:extLst>
                <a:ext uri="{FF2B5EF4-FFF2-40B4-BE49-F238E27FC236}">
                  <a16:creationId xmlns:a16="http://schemas.microsoft.com/office/drawing/2014/main" id="{77E3A879-CFFC-E38A-E558-5B94CB0E3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676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1 h 28"/>
                <a:gd name="T6" fmla="*/ 21 w 24"/>
                <a:gd name="T7" fmla="*/ 24 h 28"/>
                <a:gd name="T8" fmla="*/ 17 w 24"/>
                <a:gd name="T9" fmla="*/ 26 h 28"/>
                <a:gd name="T10" fmla="*/ 11 w 24"/>
                <a:gd name="T11" fmla="*/ 28 h 28"/>
                <a:gd name="T12" fmla="*/ 8 w 24"/>
                <a:gd name="T13" fmla="*/ 26 h 28"/>
                <a:gd name="T14" fmla="*/ 4 w 24"/>
                <a:gd name="T15" fmla="*/ 24 h 28"/>
                <a:gd name="T16" fmla="*/ 0 w 24"/>
                <a:gd name="T17" fmla="*/ 21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8 h 28"/>
                <a:gd name="T24" fmla="*/ 4 w 24"/>
                <a:gd name="T25" fmla="*/ 4 h 28"/>
                <a:gd name="T26" fmla="*/ 8 w 24"/>
                <a:gd name="T27" fmla="*/ 2 h 28"/>
                <a:gd name="T28" fmla="*/ 11 w 24"/>
                <a:gd name="T29" fmla="*/ 0 h 28"/>
                <a:gd name="T30" fmla="*/ 17 w 24"/>
                <a:gd name="T31" fmla="*/ 2 h 28"/>
                <a:gd name="T32" fmla="*/ 21 w 24"/>
                <a:gd name="T33" fmla="*/ 4 h 28"/>
                <a:gd name="T34" fmla="*/ 24 w 24"/>
                <a:gd name="T35" fmla="*/ 8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1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1" name="Freeform 269">
              <a:extLst>
                <a:ext uri="{FF2B5EF4-FFF2-40B4-BE49-F238E27FC236}">
                  <a16:creationId xmlns:a16="http://schemas.microsoft.com/office/drawing/2014/main" id="{DDAD5082-4FF8-167E-E66C-67BBEB9810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76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2" name="Freeform 270">
              <a:extLst>
                <a:ext uri="{FF2B5EF4-FFF2-40B4-BE49-F238E27FC236}">
                  <a16:creationId xmlns:a16="http://schemas.microsoft.com/office/drawing/2014/main" id="{315A9967-A5E4-82AA-EBAD-D0531625A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76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3" name="Freeform 271">
              <a:extLst>
                <a:ext uri="{FF2B5EF4-FFF2-40B4-BE49-F238E27FC236}">
                  <a16:creationId xmlns:a16="http://schemas.microsoft.com/office/drawing/2014/main" id="{4DD33DCE-F28B-F45B-676E-3853F4CC7A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76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4" name="Freeform 272">
              <a:extLst>
                <a:ext uri="{FF2B5EF4-FFF2-40B4-BE49-F238E27FC236}">
                  <a16:creationId xmlns:a16="http://schemas.microsoft.com/office/drawing/2014/main" id="{AE26B265-94F1-5405-DE02-E71260A693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76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5" name="Freeform 273">
              <a:extLst>
                <a:ext uri="{FF2B5EF4-FFF2-40B4-BE49-F238E27FC236}">
                  <a16:creationId xmlns:a16="http://schemas.microsoft.com/office/drawing/2014/main" id="{E21A2163-F208-94EC-8152-B1ADC2222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860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6" name="Freeform 274">
              <a:extLst>
                <a:ext uri="{FF2B5EF4-FFF2-40B4-BE49-F238E27FC236}">
                  <a16:creationId xmlns:a16="http://schemas.microsoft.com/office/drawing/2014/main" id="{F7392E9B-E776-A3D8-A7ED-92379D2FFC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860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7" name="Freeform 275">
              <a:extLst>
                <a:ext uri="{FF2B5EF4-FFF2-40B4-BE49-F238E27FC236}">
                  <a16:creationId xmlns:a16="http://schemas.microsoft.com/office/drawing/2014/main" id="{66D1B8AF-844C-0C6D-EBA8-2F0BBD10B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1897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19 h 28"/>
                <a:gd name="T6" fmla="*/ 23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19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8" name="Freeform 276">
              <a:extLst>
                <a:ext uri="{FF2B5EF4-FFF2-40B4-BE49-F238E27FC236}">
                  <a16:creationId xmlns:a16="http://schemas.microsoft.com/office/drawing/2014/main" id="{14F37ED8-73D4-F509-D370-B44BDC832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1897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19 h 28"/>
                <a:gd name="T6" fmla="*/ 23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19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3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09" name="Freeform 277">
              <a:extLst>
                <a:ext uri="{FF2B5EF4-FFF2-40B4-BE49-F238E27FC236}">
                  <a16:creationId xmlns:a16="http://schemas.microsoft.com/office/drawing/2014/main" id="{3349AD96-FD91-9DDE-F01A-B67977648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830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0" name="Freeform 278">
              <a:extLst>
                <a:ext uri="{FF2B5EF4-FFF2-40B4-BE49-F238E27FC236}">
                  <a16:creationId xmlns:a16="http://schemas.microsoft.com/office/drawing/2014/main" id="{7C1C18BF-872A-C002-C921-BE80390CD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830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1" name="Freeform 279">
              <a:extLst>
                <a:ext uri="{FF2B5EF4-FFF2-40B4-BE49-F238E27FC236}">
                  <a16:creationId xmlns:a16="http://schemas.microsoft.com/office/drawing/2014/main" id="{93CDA94D-A3DC-AC44-953F-30B487733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1869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2" name="Freeform 280">
              <a:extLst>
                <a:ext uri="{FF2B5EF4-FFF2-40B4-BE49-F238E27FC236}">
                  <a16:creationId xmlns:a16="http://schemas.microsoft.com/office/drawing/2014/main" id="{968DC884-6B87-BD20-EDAF-97A4F3D40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1869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3" name="Freeform 281">
              <a:extLst>
                <a:ext uri="{FF2B5EF4-FFF2-40B4-BE49-F238E27FC236}">
                  <a16:creationId xmlns:a16="http://schemas.microsoft.com/office/drawing/2014/main" id="{26FEBD70-7A8C-1F26-D979-2A6DB73DA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197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4" name="Freeform 282">
              <a:extLst>
                <a:ext uri="{FF2B5EF4-FFF2-40B4-BE49-F238E27FC236}">
                  <a16:creationId xmlns:a16="http://schemas.microsoft.com/office/drawing/2014/main" id="{9EFCCA1F-A44A-B511-1C8C-85816AB469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197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5" name="Freeform 283">
              <a:extLst>
                <a:ext uri="{FF2B5EF4-FFF2-40B4-BE49-F238E27FC236}">
                  <a16:creationId xmlns:a16="http://schemas.microsoft.com/office/drawing/2014/main" id="{0EBB9FBF-E22B-D64E-7198-626A18137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192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6" name="Freeform 284">
              <a:extLst>
                <a:ext uri="{FF2B5EF4-FFF2-40B4-BE49-F238E27FC236}">
                  <a16:creationId xmlns:a16="http://schemas.microsoft.com/office/drawing/2014/main" id="{28252F87-5774-FCB6-E9FF-575CD3BBDF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192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7" name="Freeform 285">
              <a:extLst>
                <a:ext uri="{FF2B5EF4-FFF2-40B4-BE49-F238E27FC236}">
                  <a16:creationId xmlns:a16="http://schemas.microsoft.com/office/drawing/2014/main" id="{EE0652F5-276D-2173-3361-3A203E314B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178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8" name="Freeform 286">
              <a:extLst>
                <a:ext uri="{FF2B5EF4-FFF2-40B4-BE49-F238E27FC236}">
                  <a16:creationId xmlns:a16="http://schemas.microsoft.com/office/drawing/2014/main" id="{6206E2A0-31D9-1FF0-7975-409D0E43A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178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19" name="Freeform 287">
              <a:extLst>
                <a:ext uri="{FF2B5EF4-FFF2-40B4-BE49-F238E27FC236}">
                  <a16:creationId xmlns:a16="http://schemas.microsoft.com/office/drawing/2014/main" id="{7585F842-C9CD-7BA2-270D-7EA4FB026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2" y="180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0" name="Freeform 288">
              <a:extLst>
                <a:ext uri="{FF2B5EF4-FFF2-40B4-BE49-F238E27FC236}">
                  <a16:creationId xmlns:a16="http://schemas.microsoft.com/office/drawing/2014/main" id="{D95D9D16-73ED-7AE6-FE95-BFEC9E535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2" y="180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1" name="Freeform 289">
              <a:extLst>
                <a:ext uri="{FF2B5EF4-FFF2-40B4-BE49-F238E27FC236}">
                  <a16:creationId xmlns:a16="http://schemas.microsoft.com/office/drawing/2014/main" id="{311C253A-0498-6D1C-235D-943C55935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175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2" name="Freeform 290">
              <a:extLst>
                <a:ext uri="{FF2B5EF4-FFF2-40B4-BE49-F238E27FC236}">
                  <a16:creationId xmlns:a16="http://schemas.microsoft.com/office/drawing/2014/main" id="{E64C19F2-2293-5631-FD24-1B9D73B8D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175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3" name="Freeform 291">
              <a:extLst>
                <a:ext uri="{FF2B5EF4-FFF2-40B4-BE49-F238E27FC236}">
                  <a16:creationId xmlns:a16="http://schemas.microsoft.com/office/drawing/2014/main" id="{EF16DEBB-4B68-D08D-5647-66417D51B0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171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4" name="Freeform 292">
              <a:extLst>
                <a:ext uri="{FF2B5EF4-FFF2-40B4-BE49-F238E27FC236}">
                  <a16:creationId xmlns:a16="http://schemas.microsoft.com/office/drawing/2014/main" id="{F6C87835-3D0C-B90A-8867-5FF82C7881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171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5" name="Freeform 293">
              <a:extLst>
                <a:ext uri="{FF2B5EF4-FFF2-40B4-BE49-F238E27FC236}">
                  <a16:creationId xmlns:a16="http://schemas.microsoft.com/office/drawing/2014/main" id="{4B5C34E0-913A-FD6E-BEBB-1AF3A5B6F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6" y="172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5 w 26"/>
                <a:gd name="T15" fmla="*/ 25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5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5" y="25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5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6A3D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6" name="Freeform 294">
              <a:extLst>
                <a:ext uri="{FF2B5EF4-FFF2-40B4-BE49-F238E27FC236}">
                  <a16:creationId xmlns:a16="http://schemas.microsoft.com/office/drawing/2014/main" id="{8B464E9D-B0B1-F7EC-DA5E-19DEC36EE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6" y="172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5 w 26"/>
                <a:gd name="T15" fmla="*/ 25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5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5" y="25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5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6A3D9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7" name="Freeform 295">
              <a:extLst>
                <a:ext uri="{FF2B5EF4-FFF2-40B4-BE49-F238E27FC236}">
                  <a16:creationId xmlns:a16="http://schemas.microsoft.com/office/drawing/2014/main" id="{21129225-5202-E264-3688-83DAD623D5A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8" name="Freeform 296">
              <a:extLst>
                <a:ext uri="{FF2B5EF4-FFF2-40B4-BE49-F238E27FC236}">
                  <a16:creationId xmlns:a16="http://schemas.microsoft.com/office/drawing/2014/main" id="{066E0B71-9D5B-64FD-837D-BF1181C73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29" name="Freeform 297">
              <a:extLst>
                <a:ext uri="{FF2B5EF4-FFF2-40B4-BE49-F238E27FC236}">
                  <a16:creationId xmlns:a16="http://schemas.microsoft.com/office/drawing/2014/main" id="{8E673740-59E0-7E6F-1251-1FFDE311D9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0" name="Freeform 298">
              <a:extLst>
                <a:ext uri="{FF2B5EF4-FFF2-40B4-BE49-F238E27FC236}">
                  <a16:creationId xmlns:a16="http://schemas.microsoft.com/office/drawing/2014/main" id="{0BE80A10-330D-1858-93E3-E6E8DD137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1" name="Freeform 299">
              <a:extLst>
                <a:ext uri="{FF2B5EF4-FFF2-40B4-BE49-F238E27FC236}">
                  <a16:creationId xmlns:a16="http://schemas.microsoft.com/office/drawing/2014/main" id="{C28F3B88-9B56-466C-8514-53961398BA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2" name="Freeform 300">
              <a:extLst>
                <a:ext uri="{FF2B5EF4-FFF2-40B4-BE49-F238E27FC236}">
                  <a16:creationId xmlns:a16="http://schemas.microsoft.com/office/drawing/2014/main" id="{938910EA-46C1-240A-8198-DCD245DB3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3" name="Freeform 301">
              <a:extLst>
                <a:ext uri="{FF2B5EF4-FFF2-40B4-BE49-F238E27FC236}">
                  <a16:creationId xmlns:a16="http://schemas.microsoft.com/office/drawing/2014/main" id="{5FEAF1BF-DF99-DA09-9AC6-28F6F87AB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4" name="Freeform 302">
              <a:extLst>
                <a:ext uri="{FF2B5EF4-FFF2-40B4-BE49-F238E27FC236}">
                  <a16:creationId xmlns:a16="http://schemas.microsoft.com/office/drawing/2014/main" id="{00A9D667-515C-3B5E-1930-C91D3E1E3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5" name="Freeform 303">
              <a:extLst>
                <a:ext uri="{FF2B5EF4-FFF2-40B4-BE49-F238E27FC236}">
                  <a16:creationId xmlns:a16="http://schemas.microsoft.com/office/drawing/2014/main" id="{966DF3FE-2067-8F86-6FB7-7BEC78687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6" name="Freeform 304">
              <a:extLst>
                <a:ext uri="{FF2B5EF4-FFF2-40B4-BE49-F238E27FC236}">
                  <a16:creationId xmlns:a16="http://schemas.microsoft.com/office/drawing/2014/main" id="{E986FA21-9133-D67C-B74C-798BDA5D1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7" name="Freeform 305">
              <a:extLst>
                <a:ext uri="{FF2B5EF4-FFF2-40B4-BE49-F238E27FC236}">
                  <a16:creationId xmlns:a16="http://schemas.microsoft.com/office/drawing/2014/main" id="{AD473F2C-84CD-B1A9-1B89-8FEEEDDB34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014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8" name="Freeform 306">
              <a:extLst>
                <a:ext uri="{FF2B5EF4-FFF2-40B4-BE49-F238E27FC236}">
                  <a16:creationId xmlns:a16="http://schemas.microsoft.com/office/drawing/2014/main" id="{BB604149-CCAA-2072-F754-F84C84A66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014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8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8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39" name="Freeform 307">
              <a:extLst>
                <a:ext uri="{FF2B5EF4-FFF2-40B4-BE49-F238E27FC236}">
                  <a16:creationId xmlns:a16="http://schemas.microsoft.com/office/drawing/2014/main" id="{DB3F6A11-E9E0-DA73-FDDB-9259498DD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0" name="Freeform 308">
              <a:extLst>
                <a:ext uri="{FF2B5EF4-FFF2-40B4-BE49-F238E27FC236}">
                  <a16:creationId xmlns:a16="http://schemas.microsoft.com/office/drawing/2014/main" id="{224B7453-D7D8-BDB9-2646-A458B2E18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8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1" name="Freeform 309">
              <a:extLst>
                <a:ext uri="{FF2B5EF4-FFF2-40B4-BE49-F238E27FC236}">
                  <a16:creationId xmlns:a16="http://schemas.microsoft.com/office/drawing/2014/main" id="{E49EFBCF-1F77-CA11-03FE-7F8E30BAD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2" name="Freeform 310">
              <a:extLst>
                <a:ext uri="{FF2B5EF4-FFF2-40B4-BE49-F238E27FC236}">
                  <a16:creationId xmlns:a16="http://schemas.microsoft.com/office/drawing/2014/main" id="{BC93B44C-4284-EB18-4A01-331EEE2D0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3" name="Freeform 311">
              <a:extLst>
                <a:ext uri="{FF2B5EF4-FFF2-40B4-BE49-F238E27FC236}">
                  <a16:creationId xmlns:a16="http://schemas.microsoft.com/office/drawing/2014/main" id="{DEB2C1EB-8072-911B-7FA8-6A2A9DF436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4" name="Freeform 312">
              <a:extLst>
                <a:ext uri="{FF2B5EF4-FFF2-40B4-BE49-F238E27FC236}">
                  <a16:creationId xmlns:a16="http://schemas.microsoft.com/office/drawing/2014/main" id="{FA40CB85-4A4F-66A0-D9D3-D8F46EB14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5" name="Freeform 313">
              <a:extLst>
                <a:ext uri="{FF2B5EF4-FFF2-40B4-BE49-F238E27FC236}">
                  <a16:creationId xmlns:a16="http://schemas.microsoft.com/office/drawing/2014/main" id="{C4FFD663-590F-4FAD-8AD9-386C46450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6" name="Freeform 314">
              <a:extLst>
                <a:ext uri="{FF2B5EF4-FFF2-40B4-BE49-F238E27FC236}">
                  <a16:creationId xmlns:a16="http://schemas.microsoft.com/office/drawing/2014/main" id="{4C8ED14A-E068-DAC0-08B1-912C6BD99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7" name="Freeform 315">
              <a:extLst>
                <a:ext uri="{FF2B5EF4-FFF2-40B4-BE49-F238E27FC236}">
                  <a16:creationId xmlns:a16="http://schemas.microsoft.com/office/drawing/2014/main" id="{AFDE1465-58CC-4856-A858-5FC7240030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5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8" name="Freeform 316">
              <a:extLst>
                <a:ext uri="{FF2B5EF4-FFF2-40B4-BE49-F238E27FC236}">
                  <a16:creationId xmlns:a16="http://schemas.microsoft.com/office/drawing/2014/main" id="{8F5507DE-C018-7086-5F00-27931B065E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5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49" name="Freeform 317">
              <a:extLst>
                <a:ext uri="{FF2B5EF4-FFF2-40B4-BE49-F238E27FC236}">
                  <a16:creationId xmlns:a16="http://schemas.microsoft.com/office/drawing/2014/main" id="{BFF6A2AF-CDCD-9CB1-17C7-5D969C89A5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0" name="Freeform 318">
              <a:extLst>
                <a:ext uri="{FF2B5EF4-FFF2-40B4-BE49-F238E27FC236}">
                  <a16:creationId xmlns:a16="http://schemas.microsoft.com/office/drawing/2014/main" id="{ED27E4C2-5FEC-E8A8-EA32-F5F54D8D3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1" name="Freeform 319">
              <a:extLst>
                <a:ext uri="{FF2B5EF4-FFF2-40B4-BE49-F238E27FC236}">
                  <a16:creationId xmlns:a16="http://schemas.microsoft.com/office/drawing/2014/main" id="{DCC91AB6-6877-53D1-3C98-821F6E85E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2" name="Freeform 320">
              <a:extLst>
                <a:ext uri="{FF2B5EF4-FFF2-40B4-BE49-F238E27FC236}">
                  <a16:creationId xmlns:a16="http://schemas.microsoft.com/office/drawing/2014/main" id="{BB584087-ED25-24FD-CC75-3811D5BB3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3" name="Freeform 321">
              <a:extLst>
                <a:ext uri="{FF2B5EF4-FFF2-40B4-BE49-F238E27FC236}">
                  <a16:creationId xmlns:a16="http://schemas.microsoft.com/office/drawing/2014/main" id="{F438DFB1-1670-9505-F78E-F8FDDF096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4" name="Freeform 322">
              <a:extLst>
                <a:ext uri="{FF2B5EF4-FFF2-40B4-BE49-F238E27FC236}">
                  <a16:creationId xmlns:a16="http://schemas.microsoft.com/office/drawing/2014/main" id="{E413E3E0-F4CA-CE2C-148A-79D622975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5" name="Freeform 323">
              <a:extLst>
                <a:ext uri="{FF2B5EF4-FFF2-40B4-BE49-F238E27FC236}">
                  <a16:creationId xmlns:a16="http://schemas.microsoft.com/office/drawing/2014/main" id="{0D0CE889-A4D3-FF54-6153-3F008F9F00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7" y="167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6" name="Freeform 324">
              <a:extLst>
                <a:ext uri="{FF2B5EF4-FFF2-40B4-BE49-F238E27FC236}">
                  <a16:creationId xmlns:a16="http://schemas.microsoft.com/office/drawing/2014/main" id="{4AFC4430-74A5-1F91-3162-F7D866A4BB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7" y="167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7" name="Freeform 325">
              <a:extLst>
                <a:ext uri="{FF2B5EF4-FFF2-40B4-BE49-F238E27FC236}">
                  <a16:creationId xmlns:a16="http://schemas.microsoft.com/office/drawing/2014/main" id="{9A6FCA37-69F8-55AF-2D2F-583C5DEA0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167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1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CAB2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8" name="Freeform 326">
              <a:extLst>
                <a:ext uri="{FF2B5EF4-FFF2-40B4-BE49-F238E27FC236}">
                  <a16:creationId xmlns:a16="http://schemas.microsoft.com/office/drawing/2014/main" id="{05CE4F27-2279-F2C0-5C9C-E63EE9272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167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1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CAB2D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59" name="Freeform 327">
              <a:extLst>
                <a:ext uri="{FF2B5EF4-FFF2-40B4-BE49-F238E27FC236}">
                  <a16:creationId xmlns:a16="http://schemas.microsoft.com/office/drawing/2014/main" id="{EB0C31BE-E7E1-BAF6-F985-85AF8E081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0" name="Freeform 328">
              <a:extLst>
                <a:ext uri="{FF2B5EF4-FFF2-40B4-BE49-F238E27FC236}">
                  <a16:creationId xmlns:a16="http://schemas.microsoft.com/office/drawing/2014/main" id="{D1278DD1-B0AA-5E62-4E87-1D4AC554C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1" name="Freeform 329">
              <a:extLst>
                <a:ext uri="{FF2B5EF4-FFF2-40B4-BE49-F238E27FC236}">
                  <a16:creationId xmlns:a16="http://schemas.microsoft.com/office/drawing/2014/main" id="{70C9C91B-3BCE-7774-4397-3E0E9CC1C87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2" name="Freeform 330">
              <a:extLst>
                <a:ext uri="{FF2B5EF4-FFF2-40B4-BE49-F238E27FC236}">
                  <a16:creationId xmlns:a16="http://schemas.microsoft.com/office/drawing/2014/main" id="{75775752-FAEF-FDBF-F96D-7800B98A7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3" name="Freeform 331">
              <a:extLst>
                <a:ext uri="{FF2B5EF4-FFF2-40B4-BE49-F238E27FC236}">
                  <a16:creationId xmlns:a16="http://schemas.microsoft.com/office/drawing/2014/main" id="{8BCEE919-D1F1-B57A-4CB1-62AF5E36F4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4" name="Freeform 332">
              <a:extLst>
                <a:ext uri="{FF2B5EF4-FFF2-40B4-BE49-F238E27FC236}">
                  <a16:creationId xmlns:a16="http://schemas.microsoft.com/office/drawing/2014/main" id="{904EC459-1DCA-0BE7-6923-6196D785E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5" name="Freeform 333">
              <a:extLst>
                <a:ext uri="{FF2B5EF4-FFF2-40B4-BE49-F238E27FC236}">
                  <a16:creationId xmlns:a16="http://schemas.microsoft.com/office/drawing/2014/main" id="{2A64BB9C-075E-73ED-1E37-2FC0B392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923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1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1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8 h 28"/>
                <a:gd name="T24" fmla="*/ 3 w 24"/>
                <a:gd name="T25" fmla="*/ 4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4 h 28"/>
                <a:gd name="T34" fmla="*/ 24 w 24"/>
                <a:gd name="T35" fmla="*/ 8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1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5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6" name="Freeform 334">
              <a:extLst>
                <a:ext uri="{FF2B5EF4-FFF2-40B4-BE49-F238E27FC236}">
                  <a16:creationId xmlns:a16="http://schemas.microsoft.com/office/drawing/2014/main" id="{A4454B16-9DD7-DB66-6719-B4AFD7185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1923"/>
              <a:ext cx="24" cy="28"/>
            </a:xfrm>
            <a:custGeom>
              <a:avLst/>
              <a:gdLst>
                <a:gd name="T0" fmla="*/ 24 w 24"/>
                <a:gd name="T1" fmla="*/ 15 h 28"/>
                <a:gd name="T2" fmla="*/ 24 w 24"/>
                <a:gd name="T3" fmla="*/ 15 h 28"/>
                <a:gd name="T4" fmla="*/ 24 w 24"/>
                <a:gd name="T5" fmla="*/ 21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1 h 28"/>
                <a:gd name="T18" fmla="*/ 0 w 24"/>
                <a:gd name="T19" fmla="*/ 15 h 28"/>
                <a:gd name="T20" fmla="*/ 0 w 24"/>
                <a:gd name="T21" fmla="*/ 15 h 28"/>
                <a:gd name="T22" fmla="*/ 0 w 24"/>
                <a:gd name="T23" fmla="*/ 8 h 28"/>
                <a:gd name="T24" fmla="*/ 3 w 24"/>
                <a:gd name="T25" fmla="*/ 4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4 h 28"/>
                <a:gd name="T34" fmla="*/ 24 w 24"/>
                <a:gd name="T35" fmla="*/ 8 h 28"/>
                <a:gd name="T36" fmla="*/ 24 w 24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5"/>
                  </a:moveTo>
                  <a:lnTo>
                    <a:pt x="24" y="15"/>
                  </a:lnTo>
                  <a:lnTo>
                    <a:pt x="24" y="21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5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7" name="Freeform 335">
              <a:extLst>
                <a:ext uri="{FF2B5EF4-FFF2-40B4-BE49-F238E27FC236}">
                  <a16:creationId xmlns:a16="http://schemas.microsoft.com/office/drawing/2014/main" id="{3945A1AC-3C18-2B42-894F-DA3B8EC388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87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1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1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8" name="Freeform 336">
              <a:extLst>
                <a:ext uri="{FF2B5EF4-FFF2-40B4-BE49-F238E27FC236}">
                  <a16:creationId xmlns:a16="http://schemas.microsoft.com/office/drawing/2014/main" id="{12A419E7-6082-6AC1-8D64-9D160156CE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187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1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1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69" name="Freeform 337">
              <a:extLst>
                <a:ext uri="{FF2B5EF4-FFF2-40B4-BE49-F238E27FC236}">
                  <a16:creationId xmlns:a16="http://schemas.microsoft.com/office/drawing/2014/main" id="{59A1F27C-A842-7B87-8BA3-9E5BEC022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815"/>
              <a:ext cx="25" cy="28"/>
            </a:xfrm>
            <a:custGeom>
              <a:avLst/>
              <a:gdLst>
                <a:gd name="T0" fmla="*/ 25 w 25"/>
                <a:gd name="T1" fmla="*/ 15 h 28"/>
                <a:gd name="T2" fmla="*/ 25 w 25"/>
                <a:gd name="T3" fmla="*/ 15 h 28"/>
                <a:gd name="T4" fmla="*/ 25 w 25"/>
                <a:gd name="T5" fmla="*/ 21 h 28"/>
                <a:gd name="T6" fmla="*/ 21 w 25"/>
                <a:gd name="T7" fmla="*/ 25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5 h 28"/>
                <a:gd name="T16" fmla="*/ 0 w 25"/>
                <a:gd name="T17" fmla="*/ 21 h 28"/>
                <a:gd name="T18" fmla="*/ 0 w 25"/>
                <a:gd name="T19" fmla="*/ 15 h 28"/>
                <a:gd name="T20" fmla="*/ 0 w 25"/>
                <a:gd name="T21" fmla="*/ 15 h 28"/>
                <a:gd name="T22" fmla="*/ 0 w 25"/>
                <a:gd name="T23" fmla="*/ 8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8 h 28"/>
                <a:gd name="T36" fmla="*/ 25 w 25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5"/>
                  </a:moveTo>
                  <a:lnTo>
                    <a:pt x="25" y="15"/>
                  </a:lnTo>
                  <a:lnTo>
                    <a:pt x="25" y="21"/>
                  </a:lnTo>
                  <a:lnTo>
                    <a:pt x="21" y="25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5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0" name="Freeform 338">
              <a:extLst>
                <a:ext uri="{FF2B5EF4-FFF2-40B4-BE49-F238E27FC236}">
                  <a16:creationId xmlns:a16="http://schemas.microsoft.com/office/drawing/2014/main" id="{0F44D4A3-0218-A2B6-BFBB-CE7CCF052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815"/>
              <a:ext cx="25" cy="28"/>
            </a:xfrm>
            <a:custGeom>
              <a:avLst/>
              <a:gdLst>
                <a:gd name="T0" fmla="*/ 25 w 25"/>
                <a:gd name="T1" fmla="*/ 15 h 28"/>
                <a:gd name="T2" fmla="*/ 25 w 25"/>
                <a:gd name="T3" fmla="*/ 15 h 28"/>
                <a:gd name="T4" fmla="*/ 25 w 25"/>
                <a:gd name="T5" fmla="*/ 21 h 28"/>
                <a:gd name="T6" fmla="*/ 21 w 25"/>
                <a:gd name="T7" fmla="*/ 25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5 h 28"/>
                <a:gd name="T16" fmla="*/ 0 w 25"/>
                <a:gd name="T17" fmla="*/ 21 h 28"/>
                <a:gd name="T18" fmla="*/ 0 w 25"/>
                <a:gd name="T19" fmla="*/ 15 h 28"/>
                <a:gd name="T20" fmla="*/ 0 w 25"/>
                <a:gd name="T21" fmla="*/ 15 h 28"/>
                <a:gd name="T22" fmla="*/ 0 w 25"/>
                <a:gd name="T23" fmla="*/ 8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8 h 28"/>
                <a:gd name="T36" fmla="*/ 25 w 25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5"/>
                  </a:moveTo>
                  <a:lnTo>
                    <a:pt x="25" y="15"/>
                  </a:lnTo>
                  <a:lnTo>
                    <a:pt x="25" y="21"/>
                  </a:lnTo>
                  <a:lnTo>
                    <a:pt x="21" y="25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5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1" name="Freeform 339">
              <a:extLst>
                <a:ext uri="{FF2B5EF4-FFF2-40B4-BE49-F238E27FC236}">
                  <a16:creationId xmlns:a16="http://schemas.microsoft.com/office/drawing/2014/main" id="{5656F3AC-CD94-1E6E-D8C7-FC3AB0A6DA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82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2" name="Freeform 340">
              <a:extLst>
                <a:ext uri="{FF2B5EF4-FFF2-40B4-BE49-F238E27FC236}">
                  <a16:creationId xmlns:a16="http://schemas.microsoft.com/office/drawing/2014/main" id="{4D794390-3C7F-BF46-D5CF-24FBC4492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82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3" name="Freeform 341">
              <a:extLst>
                <a:ext uri="{FF2B5EF4-FFF2-40B4-BE49-F238E27FC236}">
                  <a16:creationId xmlns:a16="http://schemas.microsoft.com/office/drawing/2014/main" id="{1A2963AD-DD56-5096-24A0-0855EE8257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82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4" name="Freeform 342">
              <a:extLst>
                <a:ext uri="{FF2B5EF4-FFF2-40B4-BE49-F238E27FC236}">
                  <a16:creationId xmlns:a16="http://schemas.microsoft.com/office/drawing/2014/main" id="{F1D6EFE9-FD7D-2402-E6F1-C4626FFAFD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82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5" name="Freeform 343">
              <a:extLst>
                <a:ext uri="{FF2B5EF4-FFF2-40B4-BE49-F238E27FC236}">
                  <a16:creationId xmlns:a16="http://schemas.microsoft.com/office/drawing/2014/main" id="{3078A98A-7564-7BAC-0CCA-FC8057111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726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3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3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6" name="Freeform 344">
              <a:extLst>
                <a:ext uri="{FF2B5EF4-FFF2-40B4-BE49-F238E27FC236}">
                  <a16:creationId xmlns:a16="http://schemas.microsoft.com/office/drawing/2014/main" id="{04CAA288-B07E-5A71-5C4E-C0E6556E42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726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3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3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7" name="Freeform 345">
              <a:extLst>
                <a:ext uri="{FF2B5EF4-FFF2-40B4-BE49-F238E27FC236}">
                  <a16:creationId xmlns:a16="http://schemas.microsoft.com/office/drawing/2014/main" id="{D6277D20-3393-875A-F6CE-C4A123159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765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1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1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8" name="Freeform 346">
              <a:extLst>
                <a:ext uri="{FF2B5EF4-FFF2-40B4-BE49-F238E27FC236}">
                  <a16:creationId xmlns:a16="http://schemas.microsoft.com/office/drawing/2014/main" id="{19AA92D1-3D87-9AC9-5FB6-FAED1A51B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765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1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1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79" name="Freeform 347">
              <a:extLst>
                <a:ext uri="{FF2B5EF4-FFF2-40B4-BE49-F238E27FC236}">
                  <a16:creationId xmlns:a16="http://schemas.microsoft.com/office/drawing/2014/main" id="{86745F3F-00F2-8688-411E-E51D33B2F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765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3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0" name="Freeform 348">
              <a:extLst>
                <a:ext uri="{FF2B5EF4-FFF2-40B4-BE49-F238E27FC236}">
                  <a16:creationId xmlns:a16="http://schemas.microsoft.com/office/drawing/2014/main" id="{777D71CA-CB3A-73CA-DF69-FB80ADE96D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765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3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1" name="Freeform 349">
              <a:extLst>
                <a:ext uri="{FF2B5EF4-FFF2-40B4-BE49-F238E27FC236}">
                  <a16:creationId xmlns:a16="http://schemas.microsoft.com/office/drawing/2014/main" id="{2C211CD5-BD1E-0AA0-0D0F-F60CCBD96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173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2" name="Freeform 350">
              <a:extLst>
                <a:ext uri="{FF2B5EF4-FFF2-40B4-BE49-F238E27FC236}">
                  <a16:creationId xmlns:a16="http://schemas.microsoft.com/office/drawing/2014/main" id="{EBDFA68B-DB58-3F33-57AD-620BC04A1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173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3" name="Freeform 351">
              <a:extLst>
                <a:ext uri="{FF2B5EF4-FFF2-40B4-BE49-F238E27FC236}">
                  <a16:creationId xmlns:a16="http://schemas.microsoft.com/office/drawing/2014/main" id="{ED62F78F-F771-4345-F946-828D38FA3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754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4" name="Freeform 352">
              <a:extLst>
                <a:ext uri="{FF2B5EF4-FFF2-40B4-BE49-F238E27FC236}">
                  <a16:creationId xmlns:a16="http://schemas.microsoft.com/office/drawing/2014/main" id="{C152A0DD-BC00-0B03-E175-F5DD21311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754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5" name="Freeform 353">
              <a:extLst>
                <a:ext uri="{FF2B5EF4-FFF2-40B4-BE49-F238E27FC236}">
                  <a16:creationId xmlns:a16="http://schemas.microsoft.com/office/drawing/2014/main" id="{FB61CBC0-D4D7-AD6E-4D48-92409115E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175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6" name="Freeform 354">
              <a:extLst>
                <a:ext uri="{FF2B5EF4-FFF2-40B4-BE49-F238E27FC236}">
                  <a16:creationId xmlns:a16="http://schemas.microsoft.com/office/drawing/2014/main" id="{B24F769B-9206-A205-B06D-DEC457477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175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3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3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3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7" name="Freeform 355">
              <a:extLst>
                <a:ext uri="{FF2B5EF4-FFF2-40B4-BE49-F238E27FC236}">
                  <a16:creationId xmlns:a16="http://schemas.microsoft.com/office/drawing/2014/main" id="{E9C85B7B-21EE-F0DC-ADB3-59722044F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3" y="177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3 h 26"/>
                <a:gd name="T8" fmla="*/ 17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8" name="Freeform 356">
              <a:extLst>
                <a:ext uri="{FF2B5EF4-FFF2-40B4-BE49-F238E27FC236}">
                  <a16:creationId xmlns:a16="http://schemas.microsoft.com/office/drawing/2014/main" id="{3CD126D7-E293-ECEE-78A6-E95D937D63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3" y="177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3 h 26"/>
                <a:gd name="T8" fmla="*/ 17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3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89" name="Freeform 357">
              <a:extLst>
                <a:ext uri="{FF2B5EF4-FFF2-40B4-BE49-F238E27FC236}">
                  <a16:creationId xmlns:a16="http://schemas.microsoft.com/office/drawing/2014/main" id="{B58DC50E-096B-249A-CD3A-41BC1FC4C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1765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2 w 26"/>
                <a:gd name="T23" fmla="*/ 8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0" name="Freeform 358">
              <a:extLst>
                <a:ext uri="{FF2B5EF4-FFF2-40B4-BE49-F238E27FC236}">
                  <a16:creationId xmlns:a16="http://schemas.microsoft.com/office/drawing/2014/main" id="{4EB531B6-E391-7EE1-5111-2D5DA96E5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1765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9 w 26"/>
                <a:gd name="T9" fmla="*/ 26 h 28"/>
                <a:gd name="T10" fmla="*/ 13 w 26"/>
                <a:gd name="T11" fmla="*/ 28 h 28"/>
                <a:gd name="T12" fmla="*/ 8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2 w 26"/>
                <a:gd name="T23" fmla="*/ 8 h 28"/>
                <a:gd name="T24" fmla="*/ 4 w 26"/>
                <a:gd name="T25" fmla="*/ 4 h 28"/>
                <a:gd name="T26" fmla="*/ 8 w 26"/>
                <a:gd name="T27" fmla="*/ 2 h 28"/>
                <a:gd name="T28" fmla="*/ 13 w 26"/>
                <a:gd name="T29" fmla="*/ 0 h 28"/>
                <a:gd name="T30" fmla="*/ 19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1" name="Freeform 359">
              <a:extLst>
                <a:ext uri="{FF2B5EF4-FFF2-40B4-BE49-F238E27FC236}">
                  <a16:creationId xmlns:a16="http://schemas.microsoft.com/office/drawing/2014/main" id="{307A85D8-48F1-E3FD-CA56-88B772378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7" y="1741"/>
              <a:ext cx="27" cy="26"/>
            </a:xfrm>
            <a:custGeom>
              <a:avLst/>
              <a:gdLst>
                <a:gd name="T0" fmla="*/ 27 w 27"/>
                <a:gd name="T1" fmla="*/ 13 h 26"/>
                <a:gd name="T2" fmla="*/ 27 w 27"/>
                <a:gd name="T3" fmla="*/ 13 h 26"/>
                <a:gd name="T4" fmla="*/ 27 w 27"/>
                <a:gd name="T5" fmla="*/ 19 h 26"/>
                <a:gd name="T6" fmla="*/ 23 w 27"/>
                <a:gd name="T7" fmla="*/ 24 h 26"/>
                <a:gd name="T8" fmla="*/ 19 w 27"/>
                <a:gd name="T9" fmla="*/ 26 h 26"/>
                <a:gd name="T10" fmla="*/ 14 w 27"/>
                <a:gd name="T11" fmla="*/ 26 h 26"/>
                <a:gd name="T12" fmla="*/ 10 w 27"/>
                <a:gd name="T13" fmla="*/ 26 h 26"/>
                <a:gd name="T14" fmla="*/ 4 w 27"/>
                <a:gd name="T15" fmla="*/ 24 h 26"/>
                <a:gd name="T16" fmla="*/ 2 w 27"/>
                <a:gd name="T17" fmla="*/ 19 h 26"/>
                <a:gd name="T18" fmla="*/ 0 w 27"/>
                <a:gd name="T19" fmla="*/ 13 h 26"/>
                <a:gd name="T20" fmla="*/ 0 w 27"/>
                <a:gd name="T21" fmla="*/ 13 h 26"/>
                <a:gd name="T22" fmla="*/ 2 w 27"/>
                <a:gd name="T23" fmla="*/ 8 h 26"/>
                <a:gd name="T24" fmla="*/ 4 w 27"/>
                <a:gd name="T25" fmla="*/ 4 h 26"/>
                <a:gd name="T26" fmla="*/ 10 w 27"/>
                <a:gd name="T27" fmla="*/ 2 h 26"/>
                <a:gd name="T28" fmla="*/ 14 w 27"/>
                <a:gd name="T29" fmla="*/ 0 h 26"/>
                <a:gd name="T30" fmla="*/ 19 w 27"/>
                <a:gd name="T31" fmla="*/ 2 h 26"/>
                <a:gd name="T32" fmla="*/ 23 w 27"/>
                <a:gd name="T33" fmla="*/ 4 h 26"/>
                <a:gd name="T34" fmla="*/ 27 w 27"/>
                <a:gd name="T35" fmla="*/ 8 h 26"/>
                <a:gd name="T36" fmla="*/ 27 w 27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6">
                  <a:moveTo>
                    <a:pt x="27" y="13"/>
                  </a:moveTo>
                  <a:lnTo>
                    <a:pt x="27" y="13"/>
                  </a:lnTo>
                  <a:lnTo>
                    <a:pt x="27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4" y="26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4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7" y="8"/>
                  </a:lnTo>
                  <a:lnTo>
                    <a:pt x="27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2" name="Freeform 360">
              <a:extLst>
                <a:ext uri="{FF2B5EF4-FFF2-40B4-BE49-F238E27FC236}">
                  <a16:creationId xmlns:a16="http://schemas.microsoft.com/office/drawing/2014/main" id="{30A03675-43D6-B28D-5294-E78AFA3F1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7" y="1741"/>
              <a:ext cx="27" cy="26"/>
            </a:xfrm>
            <a:custGeom>
              <a:avLst/>
              <a:gdLst>
                <a:gd name="T0" fmla="*/ 27 w 27"/>
                <a:gd name="T1" fmla="*/ 13 h 26"/>
                <a:gd name="T2" fmla="*/ 27 w 27"/>
                <a:gd name="T3" fmla="*/ 13 h 26"/>
                <a:gd name="T4" fmla="*/ 27 w 27"/>
                <a:gd name="T5" fmla="*/ 19 h 26"/>
                <a:gd name="T6" fmla="*/ 23 w 27"/>
                <a:gd name="T7" fmla="*/ 24 h 26"/>
                <a:gd name="T8" fmla="*/ 19 w 27"/>
                <a:gd name="T9" fmla="*/ 26 h 26"/>
                <a:gd name="T10" fmla="*/ 14 w 27"/>
                <a:gd name="T11" fmla="*/ 26 h 26"/>
                <a:gd name="T12" fmla="*/ 10 w 27"/>
                <a:gd name="T13" fmla="*/ 26 h 26"/>
                <a:gd name="T14" fmla="*/ 4 w 27"/>
                <a:gd name="T15" fmla="*/ 24 h 26"/>
                <a:gd name="T16" fmla="*/ 2 w 27"/>
                <a:gd name="T17" fmla="*/ 19 h 26"/>
                <a:gd name="T18" fmla="*/ 0 w 27"/>
                <a:gd name="T19" fmla="*/ 13 h 26"/>
                <a:gd name="T20" fmla="*/ 0 w 27"/>
                <a:gd name="T21" fmla="*/ 13 h 26"/>
                <a:gd name="T22" fmla="*/ 2 w 27"/>
                <a:gd name="T23" fmla="*/ 8 h 26"/>
                <a:gd name="T24" fmla="*/ 4 w 27"/>
                <a:gd name="T25" fmla="*/ 4 h 26"/>
                <a:gd name="T26" fmla="*/ 10 w 27"/>
                <a:gd name="T27" fmla="*/ 2 h 26"/>
                <a:gd name="T28" fmla="*/ 14 w 27"/>
                <a:gd name="T29" fmla="*/ 0 h 26"/>
                <a:gd name="T30" fmla="*/ 19 w 27"/>
                <a:gd name="T31" fmla="*/ 2 h 26"/>
                <a:gd name="T32" fmla="*/ 23 w 27"/>
                <a:gd name="T33" fmla="*/ 4 h 26"/>
                <a:gd name="T34" fmla="*/ 27 w 27"/>
                <a:gd name="T35" fmla="*/ 8 h 26"/>
                <a:gd name="T36" fmla="*/ 27 w 27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6">
                  <a:moveTo>
                    <a:pt x="27" y="13"/>
                  </a:moveTo>
                  <a:lnTo>
                    <a:pt x="27" y="13"/>
                  </a:lnTo>
                  <a:lnTo>
                    <a:pt x="27" y="19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4" y="26"/>
                  </a:lnTo>
                  <a:lnTo>
                    <a:pt x="10" y="26"/>
                  </a:lnTo>
                  <a:lnTo>
                    <a:pt x="4" y="24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4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7" y="8"/>
                  </a:lnTo>
                  <a:lnTo>
                    <a:pt x="27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3" name="Freeform 361">
              <a:extLst>
                <a:ext uri="{FF2B5EF4-FFF2-40B4-BE49-F238E27FC236}">
                  <a16:creationId xmlns:a16="http://schemas.microsoft.com/office/drawing/2014/main" id="{E90EE91A-9784-B89D-CD8B-348EFC9C3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1736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4" name="Freeform 362">
              <a:extLst>
                <a:ext uri="{FF2B5EF4-FFF2-40B4-BE49-F238E27FC236}">
                  <a16:creationId xmlns:a16="http://schemas.microsoft.com/office/drawing/2014/main" id="{351F5E60-63FB-CE8B-A11E-D810B7B21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1736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5" name="Freeform 363">
              <a:extLst>
                <a:ext uri="{FF2B5EF4-FFF2-40B4-BE49-F238E27FC236}">
                  <a16:creationId xmlns:a16="http://schemas.microsoft.com/office/drawing/2014/main" id="{74DFDA1E-7486-4528-ED49-57A4A972BA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4" y="1732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0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1 w 26"/>
                <a:gd name="T17" fmla="*/ 20 h 28"/>
                <a:gd name="T18" fmla="*/ 0 w 26"/>
                <a:gd name="T19" fmla="*/ 15 h 28"/>
                <a:gd name="T20" fmla="*/ 0 w 26"/>
                <a:gd name="T21" fmla="*/ 15 h 28"/>
                <a:gd name="T22" fmla="*/ 1 w 26"/>
                <a:gd name="T23" fmla="*/ 7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7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FF14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6" name="Freeform 364">
              <a:extLst>
                <a:ext uri="{FF2B5EF4-FFF2-40B4-BE49-F238E27FC236}">
                  <a16:creationId xmlns:a16="http://schemas.microsoft.com/office/drawing/2014/main" id="{BAEEA319-6D02-ABB9-D599-AD0679835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4" y="1732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0 h 28"/>
                <a:gd name="T6" fmla="*/ 22 w 26"/>
                <a:gd name="T7" fmla="*/ 24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1 w 26"/>
                <a:gd name="T17" fmla="*/ 20 h 28"/>
                <a:gd name="T18" fmla="*/ 0 w 26"/>
                <a:gd name="T19" fmla="*/ 15 h 28"/>
                <a:gd name="T20" fmla="*/ 0 w 26"/>
                <a:gd name="T21" fmla="*/ 15 h 28"/>
                <a:gd name="T22" fmla="*/ 1 w 26"/>
                <a:gd name="T23" fmla="*/ 7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7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5"/>
                  </a:lnTo>
                </a:path>
              </a:pathLst>
            </a:custGeom>
            <a:noFill/>
            <a:ln w="9525">
              <a:solidFill>
                <a:srgbClr val="FF149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7" name="Freeform 365">
              <a:extLst>
                <a:ext uri="{FF2B5EF4-FFF2-40B4-BE49-F238E27FC236}">
                  <a16:creationId xmlns:a16="http://schemas.microsoft.com/office/drawing/2014/main" id="{504C084B-DA65-8761-E2CB-A63722D1B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8" name="Freeform 366">
              <a:extLst>
                <a:ext uri="{FF2B5EF4-FFF2-40B4-BE49-F238E27FC236}">
                  <a16:creationId xmlns:a16="http://schemas.microsoft.com/office/drawing/2014/main" id="{67FCBA19-9AAF-9953-0F96-81FBC3A37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599" name="Freeform 367">
              <a:extLst>
                <a:ext uri="{FF2B5EF4-FFF2-40B4-BE49-F238E27FC236}">
                  <a16:creationId xmlns:a16="http://schemas.microsoft.com/office/drawing/2014/main" id="{29867D9D-31F6-38FA-C044-8FD51994E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0" name="Freeform 368">
              <a:extLst>
                <a:ext uri="{FF2B5EF4-FFF2-40B4-BE49-F238E27FC236}">
                  <a16:creationId xmlns:a16="http://schemas.microsoft.com/office/drawing/2014/main" id="{F3C58B0A-077A-2AFE-0EF1-2351ABD4F0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1" name="Freeform 369">
              <a:extLst>
                <a:ext uri="{FF2B5EF4-FFF2-40B4-BE49-F238E27FC236}">
                  <a16:creationId xmlns:a16="http://schemas.microsoft.com/office/drawing/2014/main" id="{6B2CBF24-06D1-939B-D8B9-52E6F383D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2" name="Freeform 370">
              <a:extLst>
                <a:ext uri="{FF2B5EF4-FFF2-40B4-BE49-F238E27FC236}">
                  <a16:creationId xmlns:a16="http://schemas.microsoft.com/office/drawing/2014/main" id="{018DD671-95D5-DB7B-2DB5-D8E279E0EF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3" name="Freeform 371">
              <a:extLst>
                <a:ext uri="{FF2B5EF4-FFF2-40B4-BE49-F238E27FC236}">
                  <a16:creationId xmlns:a16="http://schemas.microsoft.com/office/drawing/2014/main" id="{04395A3A-1A3E-91DA-3738-E899A5356A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4" name="Freeform 372">
              <a:extLst>
                <a:ext uri="{FF2B5EF4-FFF2-40B4-BE49-F238E27FC236}">
                  <a16:creationId xmlns:a16="http://schemas.microsoft.com/office/drawing/2014/main" id="{00426F54-B1D5-F7CC-69CC-6A82CEC727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5" name="Freeform 373">
              <a:extLst>
                <a:ext uri="{FF2B5EF4-FFF2-40B4-BE49-F238E27FC236}">
                  <a16:creationId xmlns:a16="http://schemas.microsoft.com/office/drawing/2014/main" id="{DC4F8768-CA8A-9B9E-51AE-ABCA64AB2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6" name="Freeform 374">
              <a:extLst>
                <a:ext uri="{FF2B5EF4-FFF2-40B4-BE49-F238E27FC236}">
                  <a16:creationId xmlns:a16="http://schemas.microsoft.com/office/drawing/2014/main" id="{A7B91D01-AF20-ED06-2818-9474E4D8A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7" name="Freeform 375">
              <a:extLst>
                <a:ext uri="{FF2B5EF4-FFF2-40B4-BE49-F238E27FC236}">
                  <a16:creationId xmlns:a16="http://schemas.microsoft.com/office/drawing/2014/main" id="{29FD1814-2424-BBC2-C589-7A9B26E32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8" name="Freeform 376">
              <a:extLst>
                <a:ext uri="{FF2B5EF4-FFF2-40B4-BE49-F238E27FC236}">
                  <a16:creationId xmlns:a16="http://schemas.microsoft.com/office/drawing/2014/main" id="{0566052D-2571-A2C8-CA73-D449F94B9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9 w 26"/>
                <a:gd name="T13" fmla="*/ 26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9" y="26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09" name="Freeform 377">
              <a:extLst>
                <a:ext uri="{FF2B5EF4-FFF2-40B4-BE49-F238E27FC236}">
                  <a16:creationId xmlns:a16="http://schemas.microsoft.com/office/drawing/2014/main" id="{210F9F75-FD40-4CD7-24D5-20ED6B2A6D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0" name="Freeform 378">
              <a:extLst>
                <a:ext uri="{FF2B5EF4-FFF2-40B4-BE49-F238E27FC236}">
                  <a16:creationId xmlns:a16="http://schemas.microsoft.com/office/drawing/2014/main" id="{CFFD81BA-C3B7-3900-2247-5C29C77BB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1" name="Freeform 379">
              <a:extLst>
                <a:ext uri="{FF2B5EF4-FFF2-40B4-BE49-F238E27FC236}">
                  <a16:creationId xmlns:a16="http://schemas.microsoft.com/office/drawing/2014/main" id="{0AF8AF68-0EC2-BD60-8C6E-7323A765B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3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2" name="Freeform 380">
              <a:extLst>
                <a:ext uri="{FF2B5EF4-FFF2-40B4-BE49-F238E27FC236}">
                  <a16:creationId xmlns:a16="http://schemas.microsoft.com/office/drawing/2014/main" id="{06BC66BF-F579-73CA-29E9-5D6ED9FD4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3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5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3" name="Freeform 381">
              <a:extLst>
                <a:ext uri="{FF2B5EF4-FFF2-40B4-BE49-F238E27FC236}">
                  <a16:creationId xmlns:a16="http://schemas.microsoft.com/office/drawing/2014/main" id="{ABE23373-F057-5E31-35B3-792F49EE01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8" y="164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4" name="Freeform 382">
              <a:extLst>
                <a:ext uri="{FF2B5EF4-FFF2-40B4-BE49-F238E27FC236}">
                  <a16:creationId xmlns:a16="http://schemas.microsoft.com/office/drawing/2014/main" id="{CDADD94A-F26F-0453-B442-0AB41C4BF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8" y="1643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5" name="Freeform 383">
              <a:extLst>
                <a:ext uri="{FF2B5EF4-FFF2-40B4-BE49-F238E27FC236}">
                  <a16:creationId xmlns:a16="http://schemas.microsoft.com/office/drawing/2014/main" id="{F3B69EB4-0B9E-0D34-ADB8-C592174C71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2" y="168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6" name="Freeform 384">
              <a:extLst>
                <a:ext uri="{FF2B5EF4-FFF2-40B4-BE49-F238E27FC236}">
                  <a16:creationId xmlns:a16="http://schemas.microsoft.com/office/drawing/2014/main" id="{B8928658-D2BF-5641-C9C5-FE5857CED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2" y="168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7" name="Freeform 385">
              <a:extLst>
                <a:ext uri="{FF2B5EF4-FFF2-40B4-BE49-F238E27FC236}">
                  <a16:creationId xmlns:a16="http://schemas.microsoft.com/office/drawing/2014/main" id="{8581F759-2707-5B8B-252E-61FC1A886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8" name="Freeform 386">
              <a:extLst>
                <a:ext uri="{FF2B5EF4-FFF2-40B4-BE49-F238E27FC236}">
                  <a16:creationId xmlns:a16="http://schemas.microsoft.com/office/drawing/2014/main" id="{806E2656-E7DD-ED46-84E7-353B2BE01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19" name="Freeform 387">
              <a:extLst>
                <a:ext uri="{FF2B5EF4-FFF2-40B4-BE49-F238E27FC236}">
                  <a16:creationId xmlns:a16="http://schemas.microsoft.com/office/drawing/2014/main" id="{D446ABF6-E2D5-DBB0-6EC1-D255639BF1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0" name="Freeform 388">
              <a:extLst>
                <a:ext uri="{FF2B5EF4-FFF2-40B4-BE49-F238E27FC236}">
                  <a16:creationId xmlns:a16="http://schemas.microsoft.com/office/drawing/2014/main" id="{330E3F17-8B7D-09FB-B309-3A6939296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1" name="Freeform 389">
              <a:extLst>
                <a:ext uri="{FF2B5EF4-FFF2-40B4-BE49-F238E27FC236}">
                  <a16:creationId xmlns:a16="http://schemas.microsoft.com/office/drawing/2014/main" id="{CE1E2A0D-1369-61DE-E753-B82A51BD4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2" name="Freeform 390">
              <a:extLst>
                <a:ext uri="{FF2B5EF4-FFF2-40B4-BE49-F238E27FC236}">
                  <a16:creationId xmlns:a16="http://schemas.microsoft.com/office/drawing/2014/main" id="{BA72B24C-7C0E-B13F-C011-DCC89C3F1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" y="201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3" name="Freeform 391">
              <a:extLst>
                <a:ext uri="{FF2B5EF4-FFF2-40B4-BE49-F238E27FC236}">
                  <a16:creationId xmlns:a16="http://schemas.microsoft.com/office/drawing/2014/main" id="{F4F28918-983A-9150-C01C-07AC521C53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4" name="Freeform 392">
              <a:extLst>
                <a:ext uri="{FF2B5EF4-FFF2-40B4-BE49-F238E27FC236}">
                  <a16:creationId xmlns:a16="http://schemas.microsoft.com/office/drawing/2014/main" id="{7564D17F-99C4-C0DB-9B30-7A4535A23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5" name="Freeform 393">
              <a:extLst>
                <a:ext uri="{FF2B5EF4-FFF2-40B4-BE49-F238E27FC236}">
                  <a16:creationId xmlns:a16="http://schemas.microsoft.com/office/drawing/2014/main" id="{00654CCA-F540-C7E7-B98C-243BAFE6F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6" name="Freeform 394">
              <a:extLst>
                <a:ext uri="{FF2B5EF4-FFF2-40B4-BE49-F238E27FC236}">
                  <a16:creationId xmlns:a16="http://schemas.microsoft.com/office/drawing/2014/main" id="{8F3F25B1-F8C3-06CA-1F8E-8CF8CE6F0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014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7" name="Freeform 395">
              <a:extLst>
                <a:ext uri="{FF2B5EF4-FFF2-40B4-BE49-F238E27FC236}">
                  <a16:creationId xmlns:a16="http://schemas.microsoft.com/office/drawing/2014/main" id="{9C778779-D68C-5295-6FD2-5FFAFF5BA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801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8 h 26"/>
                <a:gd name="T6" fmla="*/ 21 w 25"/>
                <a:gd name="T7" fmla="*/ 22 h 26"/>
                <a:gd name="T8" fmla="*/ 17 w 25"/>
                <a:gd name="T9" fmla="*/ 24 h 26"/>
                <a:gd name="T10" fmla="*/ 13 w 25"/>
                <a:gd name="T11" fmla="*/ 26 h 26"/>
                <a:gd name="T12" fmla="*/ 8 w 25"/>
                <a:gd name="T13" fmla="*/ 24 h 26"/>
                <a:gd name="T14" fmla="*/ 4 w 25"/>
                <a:gd name="T15" fmla="*/ 22 h 26"/>
                <a:gd name="T16" fmla="*/ 0 w 25"/>
                <a:gd name="T17" fmla="*/ 18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1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1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8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1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1"/>
                  </a:lnTo>
                  <a:lnTo>
                    <a:pt x="25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8" name="Freeform 396">
              <a:extLst>
                <a:ext uri="{FF2B5EF4-FFF2-40B4-BE49-F238E27FC236}">
                  <a16:creationId xmlns:a16="http://schemas.microsoft.com/office/drawing/2014/main" id="{35744B5C-B8E0-F04B-677C-75992CFA7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1801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8 h 26"/>
                <a:gd name="T6" fmla="*/ 21 w 25"/>
                <a:gd name="T7" fmla="*/ 22 h 26"/>
                <a:gd name="T8" fmla="*/ 17 w 25"/>
                <a:gd name="T9" fmla="*/ 24 h 26"/>
                <a:gd name="T10" fmla="*/ 13 w 25"/>
                <a:gd name="T11" fmla="*/ 26 h 26"/>
                <a:gd name="T12" fmla="*/ 8 w 25"/>
                <a:gd name="T13" fmla="*/ 24 h 26"/>
                <a:gd name="T14" fmla="*/ 4 w 25"/>
                <a:gd name="T15" fmla="*/ 22 h 26"/>
                <a:gd name="T16" fmla="*/ 0 w 25"/>
                <a:gd name="T17" fmla="*/ 18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1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1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8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1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1"/>
                  </a:lnTo>
                  <a:lnTo>
                    <a:pt x="25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29" name="Freeform 397">
              <a:extLst>
                <a:ext uri="{FF2B5EF4-FFF2-40B4-BE49-F238E27FC236}">
                  <a16:creationId xmlns:a16="http://schemas.microsoft.com/office/drawing/2014/main" id="{F678A397-193D-7E4F-D963-C742671C0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71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0" name="Freeform 398">
              <a:extLst>
                <a:ext uri="{FF2B5EF4-FFF2-40B4-BE49-F238E27FC236}">
                  <a16:creationId xmlns:a16="http://schemas.microsoft.com/office/drawing/2014/main" id="{5601DBB2-E348-4FC3-39FB-E95EE4ADB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171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1" name="Freeform 399">
              <a:extLst>
                <a:ext uri="{FF2B5EF4-FFF2-40B4-BE49-F238E27FC236}">
                  <a16:creationId xmlns:a16="http://schemas.microsoft.com/office/drawing/2014/main" id="{3E253330-4A91-2161-FAB1-6478FD9682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84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2" name="Freeform 400">
              <a:extLst>
                <a:ext uri="{FF2B5EF4-FFF2-40B4-BE49-F238E27FC236}">
                  <a16:creationId xmlns:a16="http://schemas.microsoft.com/office/drawing/2014/main" id="{F5C55C2B-0B69-8DA8-1557-A8E5B62C8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1849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3" name="Freeform 401">
              <a:extLst>
                <a:ext uri="{FF2B5EF4-FFF2-40B4-BE49-F238E27FC236}">
                  <a16:creationId xmlns:a16="http://schemas.microsoft.com/office/drawing/2014/main" id="{87CE35EE-E8E0-6B2F-44C1-96CEA184C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84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5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4" name="Freeform 402">
              <a:extLst>
                <a:ext uri="{FF2B5EF4-FFF2-40B4-BE49-F238E27FC236}">
                  <a16:creationId xmlns:a16="http://schemas.microsoft.com/office/drawing/2014/main" id="{6B442869-C9D9-F708-D7C2-DD09EEFBE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184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5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5" name="Freeform 403">
              <a:extLst>
                <a:ext uri="{FF2B5EF4-FFF2-40B4-BE49-F238E27FC236}">
                  <a16:creationId xmlns:a16="http://schemas.microsoft.com/office/drawing/2014/main" id="{098B6AFC-2D3C-BBCB-676B-FA6E9E253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84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3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6" name="Freeform 404">
              <a:extLst>
                <a:ext uri="{FF2B5EF4-FFF2-40B4-BE49-F238E27FC236}">
                  <a16:creationId xmlns:a16="http://schemas.microsoft.com/office/drawing/2014/main" id="{37A5D859-9E20-72EA-42F2-1680B2105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1841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3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3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8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8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637" name="Freeform 405">
              <a:extLst>
                <a:ext uri="{FF2B5EF4-FFF2-40B4-BE49-F238E27FC236}">
                  <a16:creationId xmlns:a16="http://schemas.microsoft.com/office/drawing/2014/main" id="{A6BA0223-680C-DEC7-097E-8A6B21E9A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1827"/>
              <a:ext cx="26" cy="27"/>
            </a:xfrm>
            <a:custGeom>
              <a:avLst/>
              <a:gdLst>
                <a:gd name="T0" fmla="*/ 26 w 26"/>
                <a:gd name="T1" fmla="*/ 14 h 27"/>
                <a:gd name="T2" fmla="*/ 26 w 26"/>
                <a:gd name="T3" fmla="*/ 14 h 27"/>
                <a:gd name="T4" fmla="*/ 24 w 26"/>
                <a:gd name="T5" fmla="*/ 20 h 27"/>
                <a:gd name="T6" fmla="*/ 23 w 26"/>
                <a:gd name="T7" fmla="*/ 24 h 27"/>
                <a:gd name="T8" fmla="*/ 19 w 26"/>
                <a:gd name="T9" fmla="*/ 26 h 27"/>
                <a:gd name="T10" fmla="*/ 13 w 26"/>
                <a:gd name="T11" fmla="*/ 27 h 27"/>
                <a:gd name="T12" fmla="*/ 8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4 h 27"/>
                <a:gd name="T20" fmla="*/ 0 w 26"/>
                <a:gd name="T21" fmla="*/ 14 h 27"/>
                <a:gd name="T22" fmla="*/ 2 w 26"/>
                <a:gd name="T23" fmla="*/ 7 h 27"/>
                <a:gd name="T24" fmla="*/ 4 w 26"/>
                <a:gd name="T25" fmla="*/ 3 h 27"/>
                <a:gd name="T26" fmla="*/ 8 w 26"/>
                <a:gd name="T27" fmla="*/ 1 h 27"/>
                <a:gd name="T28" fmla="*/ 13 w 26"/>
                <a:gd name="T29" fmla="*/ 0 h 27"/>
                <a:gd name="T30" fmla="*/ 19 w 26"/>
                <a:gd name="T31" fmla="*/ 1 h 27"/>
                <a:gd name="T32" fmla="*/ 23 w 26"/>
                <a:gd name="T33" fmla="*/ 3 h 27"/>
                <a:gd name="T34" fmla="*/ 24 w 26"/>
                <a:gd name="T35" fmla="*/ 7 h 27"/>
                <a:gd name="T36" fmla="*/ 26 w 26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4"/>
                  </a:moveTo>
                  <a:lnTo>
                    <a:pt x="26" y="14"/>
                  </a:lnTo>
                  <a:lnTo>
                    <a:pt x="24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7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4" y="7"/>
                  </a:lnTo>
                  <a:lnTo>
                    <a:pt x="26" y="14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</p:grpSp>
      <p:grpSp>
        <p:nvGrpSpPr>
          <p:cNvPr id="15" name="Group 607">
            <a:extLst>
              <a:ext uri="{FF2B5EF4-FFF2-40B4-BE49-F238E27FC236}">
                <a16:creationId xmlns:a16="http://schemas.microsoft.com/office/drawing/2014/main" id="{9A0E9EA2-AD75-4A85-6C16-92FDDE08C1C2}"/>
              </a:ext>
            </a:extLst>
          </p:cNvPr>
          <p:cNvGrpSpPr>
            <a:grpSpLocks/>
          </p:cNvGrpSpPr>
          <p:nvPr/>
        </p:nvGrpSpPr>
        <p:grpSpPr bwMode="auto">
          <a:xfrm>
            <a:off x="1771652" y="3790951"/>
            <a:ext cx="5463117" cy="1962150"/>
            <a:chOff x="837" y="1791"/>
            <a:chExt cx="2581" cy="927"/>
          </a:xfrm>
        </p:grpSpPr>
        <p:sp>
          <p:nvSpPr>
            <p:cNvPr id="238" name="Freeform 407">
              <a:extLst>
                <a:ext uri="{FF2B5EF4-FFF2-40B4-BE49-F238E27FC236}">
                  <a16:creationId xmlns:a16="http://schemas.microsoft.com/office/drawing/2014/main" id="{FCAAB061-FA8E-5A2F-929D-B78CC664F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1827"/>
              <a:ext cx="26" cy="27"/>
            </a:xfrm>
            <a:custGeom>
              <a:avLst/>
              <a:gdLst>
                <a:gd name="T0" fmla="*/ 26 w 26"/>
                <a:gd name="T1" fmla="*/ 14 h 27"/>
                <a:gd name="T2" fmla="*/ 26 w 26"/>
                <a:gd name="T3" fmla="*/ 14 h 27"/>
                <a:gd name="T4" fmla="*/ 24 w 26"/>
                <a:gd name="T5" fmla="*/ 20 h 27"/>
                <a:gd name="T6" fmla="*/ 23 w 26"/>
                <a:gd name="T7" fmla="*/ 24 h 27"/>
                <a:gd name="T8" fmla="*/ 19 w 26"/>
                <a:gd name="T9" fmla="*/ 26 h 27"/>
                <a:gd name="T10" fmla="*/ 13 w 26"/>
                <a:gd name="T11" fmla="*/ 27 h 27"/>
                <a:gd name="T12" fmla="*/ 8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4 h 27"/>
                <a:gd name="T20" fmla="*/ 0 w 26"/>
                <a:gd name="T21" fmla="*/ 14 h 27"/>
                <a:gd name="T22" fmla="*/ 2 w 26"/>
                <a:gd name="T23" fmla="*/ 7 h 27"/>
                <a:gd name="T24" fmla="*/ 4 w 26"/>
                <a:gd name="T25" fmla="*/ 3 h 27"/>
                <a:gd name="T26" fmla="*/ 8 w 26"/>
                <a:gd name="T27" fmla="*/ 1 h 27"/>
                <a:gd name="T28" fmla="*/ 13 w 26"/>
                <a:gd name="T29" fmla="*/ 0 h 27"/>
                <a:gd name="T30" fmla="*/ 19 w 26"/>
                <a:gd name="T31" fmla="*/ 1 h 27"/>
                <a:gd name="T32" fmla="*/ 23 w 26"/>
                <a:gd name="T33" fmla="*/ 3 h 27"/>
                <a:gd name="T34" fmla="*/ 24 w 26"/>
                <a:gd name="T35" fmla="*/ 7 h 27"/>
                <a:gd name="T36" fmla="*/ 26 w 26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4"/>
                  </a:moveTo>
                  <a:lnTo>
                    <a:pt x="26" y="14"/>
                  </a:lnTo>
                  <a:lnTo>
                    <a:pt x="24" y="20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7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4" y="7"/>
                  </a:lnTo>
                  <a:lnTo>
                    <a:pt x="26" y="14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39" name="Freeform 408">
              <a:extLst>
                <a:ext uri="{FF2B5EF4-FFF2-40B4-BE49-F238E27FC236}">
                  <a16:creationId xmlns:a16="http://schemas.microsoft.com/office/drawing/2014/main" id="{5E849099-B763-DBB5-2B5E-ECF5AEC08C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81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0" name="Freeform 409">
              <a:extLst>
                <a:ext uri="{FF2B5EF4-FFF2-40B4-BE49-F238E27FC236}">
                  <a16:creationId xmlns:a16="http://schemas.microsoft.com/office/drawing/2014/main" id="{122407CA-E3D6-6849-38D9-E6276781E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81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1" name="Freeform 410">
              <a:extLst>
                <a:ext uri="{FF2B5EF4-FFF2-40B4-BE49-F238E27FC236}">
                  <a16:creationId xmlns:a16="http://schemas.microsoft.com/office/drawing/2014/main" id="{1E45007E-02DC-908C-5B5E-BBB9E062E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3" y="180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6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6 w 26"/>
                <a:gd name="T25" fmla="*/ 3 h 26"/>
                <a:gd name="T26" fmla="*/ 10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6" y="3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2" name="Freeform 411">
              <a:extLst>
                <a:ext uri="{FF2B5EF4-FFF2-40B4-BE49-F238E27FC236}">
                  <a16:creationId xmlns:a16="http://schemas.microsoft.com/office/drawing/2014/main" id="{DF9F7A07-0B47-E02A-C893-7F61CB208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3" y="180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8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10 w 26"/>
                <a:gd name="T13" fmla="*/ 26 h 26"/>
                <a:gd name="T14" fmla="*/ 6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6 w 26"/>
                <a:gd name="T25" fmla="*/ 3 h 26"/>
                <a:gd name="T26" fmla="*/ 10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3 w 26"/>
                <a:gd name="T33" fmla="*/ 3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6" y="3"/>
                  </a:lnTo>
                  <a:lnTo>
                    <a:pt x="10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3" y="3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3" name="Freeform 412">
              <a:extLst>
                <a:ext uri="{FF2B5EF4-FFF2-40B4-BE49-F238E27FC236}">
                  <a16:creationId xmlns:a16="http://schemas.microsoft.com/office/drawing/2014/main" id="{ECAE0D47-7BE7-4752-D7AC-46CC876C0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7" y="179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3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6 w 26"/>
                <a:gd name="T15" fmla="*/ 23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6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3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6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6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3664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4" name="Freeform 413">
              <a:extLst>
                <a:ext uri="{FF2B5EF4-FFF2-40B4-BE49-F238E27FC236}">
                  <a16:creationId xmlns:a16="http://schemas.microsoft.com/office/drawing/2014/main" id="{1414717C-289A-2969-DF38-5DD72BFDC8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7" y="1791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3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6 w 26"/>
                <a:gd name="T15" fmla="*/ 23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6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3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6" y="2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6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3664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5" name="Freeform 414">
              <a:extLst>
                <a:ext uri="{FF2B5EF4-FFF2-40B4-BE49-F238E27FC236}">
                  <a16:creationId xmlns:a16="http://schemas.microsoft.com/office/drawing/2014/main" id="{A483E9BD-64CC-800E-CD1C-0B1B892A97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592"/>
              <a:ext cx="2555" cy="113"/>
            </a:xfrm>
            <a:custGeom>
              <a:avLst/>
              <a:gdLst>
                <a:gd name="T0" fmla="*/ 0 w 2555"/>
                <a:gd name="T1" fmla="*/ 113 h 113"/>
                <a:gd name="T2" fmla="*/ 378 w 2555"/>
                <a:gd name="T3" fmla="*/ 113 h 113"/>
                <a:gd name="T4" fmla="*/ 471 w 2555"/>
                <a:gd name="T5" fmla="*/ 48 h 113"/>
                <a:gd name="T6" fmla="*/ 520 w 2555"/>
                <a:gd name="T7" fmla="*/ 50 h 113"/>
                <a:gd name="T8" fmla="*/ 566 w 2555"/>
                <a:gd name="T9" fmla="*/ 113 h 113"/>
                <a:gd name="T10" fmla="*/ 709 w 2555"/>
                <a:gd name="T11" fmla="*/ 113 h 113"/>
                <a:gd name="T12" fmla="*/ 804 w 2555"/>
                <a:gd name="T13" fmla="*/ 0 h 113"/>
                <a:gd name="T14" fmla="*/ 898 w 2555"/>
                <a:gd name="T15" fmla="*/ 113 h 113"/>
                <a:gd name="T16" fmla="*/ 993 w 2555"/>
                <a:gd name="T17" fmla="*/ 113 h 113"/>
                <a:gd name="T18" fmla="*/ 1088 w 2555"/>
                <a:gd name="T19" fmla="*/ 98 h 113"/>
                <a:gd name="T20" fmla="*/ 2555 w 2555"/>
                <a:gd name="T21" fmla="*/ 98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55" h="113">
                  <a:moveTo>
                    <a:pt x="0" y="113"/>
                  </a:moveTo>
                  <a:lnTo>
                    <a:pt x="378" y="113"/>
                  </a:lnTo>
                  <a:lnTo>
                    <a:pt x="471" y="48"/>
                  </a:lnTo>
                  <a:lnTo>
                    <a:pt x="520" y="50"/>
                  </a:lnTo>
                  <a:lnTo>
                    <a:pt x="566" y="113"/>
                  </a:lnTo>
                  <a:lnTo>
                    <a:pt x="709" y="113"/>
                  </a:lnTo>
                  <a:lnTo>
                    <a:pt x="804" y="0"/>
                  </a:lnTo>
                  <a:lnTo>
                    <a:pt x="898" y="113"/>
                  </a:lnTo>
                  <a:lnTo>
                    <a:pt x="993" y="113"/>
                  </a:lnTo>
                  <a:lnTo>
                    <a:pt x="1088" y="98"/>
                  </a:lnTo>
                  <a:lnTo>
                    <a:pt x="2555" y="98"/>
                  </a:lnTo>
                </a:path>
              </a:pathLst>
            </a:custGeom>
            <a:noFill/>
            <a:ln w="11113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6" name="Freeform 415">
              <a:extLst>
                <a:ext uri="{FF2B5EF4-FFF2-40B4-BE49-F238E27FC236}">
                  <a16:creationId xmlns:a16="http://schemas.microsoft.com/office/drawing/2014/main" id="{1FE07149-D967-9E8D-541A-843C6C2C7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560"/>
              <a:ext cx="2555" cy="130"/>
            </a:xfrm>
            <a:custGeom>
              <a:avLst/>
              <a:gdLst>
                <a:gd name="T0" fmla="*/ 0 w 2555"/>
                <a:gd name="T1" fmla="*/ 130 h 130"/>
                <a:gd name="T2" fmla="*/ 709 w 2555"/>
                <a:gd name="T3" fmla="*/ 130 h 130"/>
                <a:gd name="T4" fmla="*/ 804 w 2555"/>
                <a:gd name="T5" fmla="*/ 7 h 130"/>
                <a:gd name="T6" fmla="*/ 911 w 2555"/>
                <a:gd name="T7" fmla="*/ 130 h 130"/>
                <a:gd name="T8" fmla="*/ 2122 w 2555"/>
                <a:gd name="T9" fmla="*/ 130 h 130"/>
                <a:gd name="T10" fmla="*/ 2225 w 2555"/>
                <a:gd name="T11" fmla="*/ 0 h 130"/>
                <a:gd name="T12" fmla="*/ 2319 w 2555"/>
                <a:gd name="T13" fmla="*/ 130 h 130"/>
                <a:gd name="T14" fmla="*/ 2555 w 2555"/>
                <a:gd name="T15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55" h="130">
                  <a:moveTo>
                    <a:pt x="0" y="130"/>
                  </a:moveTo>
                  <a:lnTo>
                    <a:pt x="709" y="130"/>
                  </a:lnTo>
                  <a:lnTo>
                    <a:pt x="804" y="7"/>
                  </a:lnTo>
                  <a:lnTo>
                    <a:pt x="911" y="130"/>
                  </a:lnTo>
                  <a:lnTo>
                    <a:pt x="2122" y="130"/>
                  </a:lnTo>
                  <a:lnTo>
                    <a:pt x="2225" y="0"/>
                  </a:lnTo>
                  <a:lnTo>
                    <a:pt x="2319" y="130"/>
                  </a:lnTo>
                  <a:lnTo>
                    <a:pt x="2555" y="13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7" name="Freeform 416">
              <a:extLst>
                <a:ext uri="{FF2B5EF4-FFF2-40B4-BE49-F238E27FC236}">
                  <a16:creationId xmlns:a16="http://schemas.microsoft.com/office/drawing/2014/main" id="{B30A212C-8335-E577-3115-FE6B571A5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449"/>
              <a:ext cx="2082" cy="241"/>
            </a:xfrm>
            <a:custGeom>
              <a:avLst/>
              <a:gdLst>
                <a:gd name="T0" fmla="*/ 0 w 2082"/>
                <a:gd name="T1" fmla="*/ 241 h 241"/>
                <a:gd name="T2" fmla="*/ 189 w 2082"/>
                <a:gd name="T3" fmla="*/ 241 h 241"/>
                <a:gd name="T4" fmla="*/ 284 w 2082"/>
                <a:gd name="T5" fmla="*/ 76 h 241"/>
                <a:gd name="T6" fmla="*/ 330 w 2082"/>
                <a:gd name="T7" fmla="*/ 44 h 241"/>
                <a:gd name="T8" fmla="*/ 378 w 2082"/>
                <a:gd name="T9" fmla="*/ 81 h 241"/>
                <a:gd name="T10" fmla="*/ 425 w 2082"/>
                <a:gd name="T11" fmla="*/ 241 h 241"/>
                <a:gd name="T12" fmla="*/ 614 w 2082"/>
                <a:gd name="T13" fmla="*/ 241 h 241"/>
                <a:gd name="T14" fmla="*/ 709 w 2082"/>
                <a:gd name="T15" fmla="*/ 169 h 241"/>
                <a:gd name="T16" fmla="*/ 804 w 2082"/>
                <a:gd name="T17" fmla="*/ 144 h 241"/>
                <a:gd name="T18" fmla="*/ 898 w 2082"/>
                <a:gd name="T19" fmla="*/ 152 h 241"/>
                <a:gd name="T20" fmla="*/ 993 w 2082"/>
                <a:gd name="T21" fmla="*/ 113 h 241"/>
                <a:gd name="T22" fmla="*/ 1088 w 2082"/>
                <a:gd name="T23" fmla="*/ 85 h 241"/>
                <a:gd name="T24" fmla="*/ 1183 w 2082"/>
                <a:gd name="T25" fmla="*/ 91 h 241"/>
                <a:gd name="T26" fmla="*/ 1277 w 2082"/>
                <a:gd name="T27" fmla="*/ 241 h 241"/>
                <a:gd name="T28" fmla="*/ 1372 w 2082"/>
                <a:gd name="T29" fmla="*/ 113 h 241"/>
                <a:gd name="T30" fmla="*/ 1467 w 2082"/>
                <a:gd name="T31" fmla="*/ 105 h 241"/>
                <a:gd name="T32" fmla="*/ 1562 w 2082"/>
                <a:gd name="T33" fmla="*/ 0 h 241"/>
                <a:gd name="T34" fmla="*/ 1656 w 2082"/>
                <a:gd name="T35" fmla="*/ 83 h 241"/>
                <a:gd name="T36" fmla="*/ 1751 w 2082"/>
                <a:gd name="T37" fmla="*/ 104 h 241"/>
                <a:gd name="T38" fmla="*/ 1846 w 2082"/>
                <a:gd name="T39" fmla="*/ 74 h 241"/>
                <a:gd name="T40" fmla="*/ 1940 w 2082"/>
                <a:gd name="T41" fmla="*/ 76 h 241"/>
                <a:gd name="T42" fmla="*/ 2035 w 2082"/>
                <a:gd name="T43" fmla="*/ 59 h 241"/>
                <a:gd name="T44" fmla="*/ 2082 w 2082"/>
                <a:gd name="T45" fmla="*/ 4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82" h="241">
                  <a:moveTo>
                    <a:pt x="0" y="241"/>
                  </a:moveTo>
                  <a:lnTo>
                    <a:pt x="189" y="241"/>
                  </a:lnTo>
                  <a:lnTo>
                    <a:pt x="284" y="76"/>
                  </a:lnTo>
                  <a:lnTo>
                    <a:pt x="330" y="44"/>
                  </a:lnTo>
                  <a:lnTo>
                    <a:pt x="378" y="81"/>
                  </a:lnTo>
                  <a:lnTo>
                    <a:pt x="425" y="241"/>
                  </a:lnTo>
                  <a:lnTo>
                    <a:pt x="614" y="241"/>
                  </a:lnTo>
                  <a:lnTo>
                    <a:pt x="709" y="169"/>
                  </a:lnTo>
                  <a:lnTo>
                    <a:pt x="804" y="144"/>
                  </a:lnTo>
                  <a:lnTo>
                    <a:pt x="898" y="152"/>
                  </a:lnTo>
                  <a:lnTo>
                    <a:pt x="993" y="113"/>
                  </a:lnTo>
                  <a:lnTo>
                    <a:pt x="1088" y="85"/>
                  </a:lnTo>
                  <a:lnTo>
                    <a:pt x="1183" y="91"/>
                  </a:lnTo>
                  <a:lnTo>
                    <a:pt x="1277" y="241"/>
                  </a:lnTo>
                  <a:lnTo>
                    <a:pt x="1372" y="113"/>
                  </a:lnTo>
                  <a:lnTo>
                    <a:pt x="1467" y="105"/>
                  </a:lnTo>
                  <a:lnTo>
                    <a:pt x="1562" y="0"/>
                  </a:lnTo>
                  <a:lnTo>
                    <a:pt x="1656" y="83"/>
                  </a:lnTo>
                  <a:lnTo>
                    <a:pt x="1751" y="104"/>
                  </a:lnTo>
                  <a:lnTo>
                    <a:pt x="1846" y="74"/>
                  </a:lnTo>
                  <a:lnTo>
                    <a:pt x="1940" y="76"/>
                  </a:lnTo>
                  <a:lnTo>
                    <a:pt x="2035" y="59"/>
                  </a:lnTo>
                  <a:lnTo>
                    <a:pt x="2082" y="44"/>
                  </a:lnTo>
                </a:path>
              </a:pathLst>
            </a:custGeom>
            <a:noFill/>
            <a:ln w="11113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8" name="Freeform 417">
              <a:extLst>
                <a:ext uri="{FF2B5EF4-FFF2-40B4-BE49-F238E27FC236}">
                  <a16:creationId xmlns:a16="http://schemas.microsoft.com/office/drawing/2014/main" id="{AC3B06C3-24D7-BCA3-E990-F235060FC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514"/>
              <a:ext cx="2522" cy="176"/>
            </a:xfrm>
            <a:custGeom>
              <a:avLst/>
              <a:gdLst>
                <a:gd name="T0" fmla="*/ 0 w 2522"/>
                <a:gd name="T1" fmla="*/ 176 h 176"/>
                <a:gd name="T2" fmla="*/ 811 w 2522"/>
                <a:gd name="T3" fmla="*/ 176 h 176"/>
                <a:gd name="T4" fmla="*/ 898 w 2522"/>
                <a:gd name="T5" fmla="*/ 53 h 176"/>
                <a:gd name="T6" fmla="*/ 993 w 2522"/>
                <a:gd name="T7" fmla="*/ 176 h 176"/>
                <a:gd name="T8" fmla="*/ 1277 w 2522"/>
                <a:gd name="T9" fmla="*/ 176 h 176"/>
                <a:gd name="T10" fmla="*/ 1372 w 2522"/>
                <a:gd name="T11" fmla="*/ 48 h 176"/>
                <a:gd name="T12" fmla="*/ 1467 w 2522"/>
                <a:gd name="T13" fmla="*/ 31 h 176"/>
                <a:gd name="T14" fmla="*/ 1562 w 2522"/>
                <a:gd name="T15" fmla="*/ 40 h 176"/>
                <a:gd name="T16" fmla="*/ 1656 w 2522"/>
                <a:gd name="T17" fmla="*/ 176 h 176"/>
                <a:gd name="T18" fmla="*/ 1751 w 2522"/>
                <a:gd name="T19" fmla="*/ 176 h 176"/>
                <a:gd name="T20" fmla="*/ 1846 w 2522"/>
                <a:gd name="T21" fmla="*/ 74 h 176"/>
                <a:gd name="T22" fmla="*/ 1940 w 2522"/>
                <a:gd name="T23" fmla="*/ 72 h 176"/>
                <a:gd name="T24" fmla="*/ 1987 w 2522"/>
                <a:gd name="T25" fmla="*/ 52 h 176"/>
                <a:gd name="T26" fmla="*/ 2035 w 2522"/>
                <a:gd name="T27" fmla="*/ 74 h 176"/>
                <a:gd name="T28" fmla="*/ 2130 w 2522"/>
                <a:gd name="T29" fmla="*/ 78 h 176"/>
                <a:gd name="T30" fmla="*/ 2225 w 2522"/>
                <a:gd name="T31" fmla="*/ 0 h 176"/>
                <a:gd name="T32" fmla="*/ 2319 w 2522"/>
                <a:gd name="T33" fmla="*/ 66 h 176"/>
                <a:gd name="T34" fmla="*/ 2414 w 2522"/>
                <a:gd name="T35" fmla="*/ 55 h 176"/>
                <a:gd name="T36" fmla="*/ 2522 w 2522"/>
                <a:gd name="T37" fmla="*/ 5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2" h="176">
                  <a:moveTo>
                    <a:pt x="0" y="176"/>
                  </a:moveTo>
                  <a:lnTo>
                    <a:pt x="811" y="176"/>
                  </a:lnTo>
                  <a:lnTo>
                    <a:pt x="898" y="53"/>
                  </a:lnTo>
                  <a:lnTo>
                    <a:pt x="993" y="176"/>
                  </a:lnTo>
                  <a:lnTo>
                    <a:pt x="1277" y="176"/>
                  </a:lnTo>
                  <a:lnTo>
                    <a:pt x="1372" y="48"/>
                  </a:lnTo>
                  <a:lnTo>
                    <a:pt x="1467" y="31"/>
                  </a:lnTo>
                  <a:lnTo>
                    <a:pt x="1562" y="40"/>
                  </a:lnTo>
                  <a:lnTo>
                    <a:pt x="1656" y="176"/>
                  </a:lnTo>
                  <a:lnTo>
                    <a:pt x="1751" y="176"/>
                  </a:lnTo>
                  <a:lnTo>
                    <a:pt x="1846" y="74"/>
                  </a:lnTo>
                  <a:lnTo>
                    <a:pt x="1940" y="72"/>
                  </a:lnTo>
                  <a:lnTo>
                    <a:pt x="1987" y="52"/>
                  </a:lnTo>
                  <a:lnTo>
                    <a:pt x="2035" y="74"/>
                  </a:lnTo>
                  <a:lnTo>
                    <a:pt x="2130" y="78"/>
                  </a:lnTo>
                  <a:lnTo>
                    <a:pt x="2225" y="0"/>
                  </a:lnTo>
                  <a:lnTo>
                    <a:pt x="2319" y="66"/>
                  </a:lnTo>
                  <a:lnTo>
                    <a:pt x="2414" y="55"/>
                  </a:lnTo>
                  <a:lnTo>
                    <a:pt x="2522" y="52"/>
                  </a:lnTo>
                </a:path>
              </a:pathLst>
            </a:custGeom>
            <a:noFill/>
            <a:ln w="11113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49" name="Freeform 418">
              <a:extLst>
                <a:ext uri="{FF2B5EF4-FFF2-40B4-BE49-F238E27FC236}">
                  <a16:creationId xmlns:a16="http://schemas.microsoft.com/office/drawing/2014/main" id="{627D3A16-E293-78F6-D235-EACA7558CBD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410"/>
              <a:ext cx="2230" cy="280"/>
            </a:xfrm>
            <a:custGeom>
              <a:avLst/>
              <a:gdLst>
                <a:gd name="T0" fmla="*/ 0 w 2230"/>
                <a:gd name="T1" fmla="*/ 280 h 280"/>
                <a:gd name="T2" fmla="*/ 378 w 2230"/>
                <a:gd name="T3" fmla="*/ 280 h 280"/>
                <a:gd name="T4" fmla="*/ 471 w 2230"/>
                <a:gd name="T5" fmla="*/ 135 h 280"/>
                <a:gd name="T6" fmla="*/ 520 w 2230"/>
                <a:gd name="T7" fmla="*/ 115 h 280"/>
                <a:gd name="T8" fmla="*/ 566 w 2230"/>
                <a:gd name="T9" fmla="*/ 53 h 280"/>
                <a:gd name="T10" fmla="*/ 614 w 2230"/>
                <a:gd name="T11" fmla="*/ 280 h 280"/>
                <a:gd name="T12" fmla="*/ 709 w 2230"/>
                <a:gd name="T13" fmla="*/ 280 h 280"/>
                <a:gd name="T14" fmla="*/ 804 w 2230"/>
                <a:gd name="T15" fmla="*/ 52 h 280"/>
                <a:gd name="T16" fmla="*/ 898 w 2230"/>
                <a:gd name="T17" fmla="*/ 0 h 280"/>
                <a:gd name="T18" fmla="*/ 993 w 2230"/>
                <a:gd name="T19" fmla="*/ 89 h 280"/>
                <a:gd name="T20" fmla="*/ 1088 w 2230"/>
                <a:gd name="T21" fmla="*/ 102 h 280"/>
                <a:gd name="T22" fmla="*/ 1183 w 2230"/>
                <a:gd name="T23" fmla="*/ 280 h 280"/>
                <a:gd name="T24" fmla="*/ 1277 w 2230"/>
                <a:gd name="T25" fmla="*/ 74 h 280"/>
                <a:gd name="T26" fmla="*/ 1372 w 2230"/>
                <a:gd name="T27" fmla="*/ 46 h 280"/>
                <a:gd name="T28" fmla="*/ 1467 w 2230"/>
                <a:gd name="T29" fmla="*/ 35 h 280"/>
                <a:gd name="T30" fmla="*/ 1562 w 2230"/>
                <a:gd name="T31" fmla="*/ 35 h 280"/>
                <a:gd name="T32" fmla="*/ 1656 w 2230"/>
                <a:gd name="T33" fmla="*/ 89 h 280"/>
                <a:gd name="T34" fmla="*/ 1751 w 2230"/>
                <a:gd name="T35" fmla="*/ 135 h 280"/>
                <a:gd name="T36" fmla="*/ 1846 w 2230"/>
                <a:gd name="T37" fmla="*/ 100 h 280"/>
                <a:gd name="T38" fmla="*/ 1940 w 2230"/>
                <a:gd name="T39" fmla="*/ 107 h 280"/>
                <a:gd name="T40" fmla="*/ 1987 w 2230"/>
                <a:gd name="T41" fmla="*/ 109 h 280"/>
                <a:gd name="T42" fmla="*/ 2035 w 2230"/>
                <a:gd name="T43" fmla="*/ 85 h 280"/>
                <a:gd name="T44" fmla="*/ 2135 w 2230"/>
                <a:gd name="T45" fmla="*/ 81 h 280"/>
                <a:gd name="T46" fmla="*/ 2230 w 2230"/>
                <a:gd name="T47" fmla="*/ 74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30" h="280">
                  <a:moveTo>
                    <a:pt x="0" y="280"/>
                  </a:moveTo>
                  <a:lnTo>
                    <a:pt x="378" y="280"/>
                  </a:lnTo>
                  <a:lnTo>
                    <a:pt x="471" y="135"/>
                  </a:lnTo>
                  <a:lnTo>
                    <a:pt x="520" y="115"/>
                  </a:lnTo>
                  <a:lnTo>
                    <a:pt x="566" y="53"/>
                  </a:lnTo>
                  <a:lnTo>
                    <a:pt x="614" y="280"/>
                  </a:lnTo>
                  <a:lnTo>
                    <a:pt x="709" y="280"/>
                  </a:lnTo>
                  <a:lnTo>
                    <a:pt x="804" y="52"/>
                  </a:lnTo>
                  <a:lnTo>
                    <a:pt x="898" y="0"/>
                  </a:lnTo>
                  <a:lnTo>
                    <a:pt x="993" y="89"/>
                  </a:lnTo>
                  <a:lnTo>
                    <a:pt x="1088" y="102"/>
                  </a:lnTo>
                  <a:lnTo>
                    <a:pt x="1183" y="280"/>
                  </a:lnTo>
                  <a:lnTo>
                    <a:pt x="1277" y="74"/>
                  </a:lnTo>
                  <a:lnTo>
                    <a:pt x="1372" y="46"/>
                  </a:lnTo>
                  <a:lnTo>
                    <a:pt x="1467" y="35"/>
                  </a:lnTo>
                  <a:lnTo>
                    <a:pt x="1562" y="35"/>
                  </a:lnTo>
                  <a:lnTo>
                    <a:pt x="1656" y="89"/>
                  </a:lnTo>
                  <a:lnTo>
                    <a:pt x="1751" y="135"/>
                  </a:lnTo>
                  <a:lnTo>
                    <a:pt x="1846" y="100"/>
                  </a:lnTo>
                  <a:lnTo>
                    <a:pt x="1940" y="107"/>
                  </a:lnTo>
                  <a:lnTo>
                    <a:pt x="1987" y="109"/>
                  </a:lnTo>
                  <a:lnTo>
                    <a:pt x="2035" y="85"/>
                  </a:lnTo>
                  <a:lnTo>
                    <a:pt x="2135" y="81"/>
                  </a:lnTo>
                  <a:lnTo>
                    <a:pt x="2230" y="74"/>
                  </a:lnTo>
                </a:path>
              </a:pathLst>
            </a:custGeom>
            <a:noFill/>
            <a:ln w="11113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0" name="Freeform 419">
              <a:extLst>
                <a:ext uri="{FF2B5EF4-FFF2-40B4-BE49-F238E27FC236}">
                  <a16:creationId xmlns:a16="http://schemas.microsoft.com/office/drawing/2014/main" id="{74669FF2-A1D9-6F8F-9682-D18CEF4B7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348"/>
              <a:ext cx="2035" cy="342"/>
            </a:xfrm>
            <a:custGeom>
              <a:avLst/>
              <a:gdLst>
                <a:gd name="T0" fmla="*/ 0 w 2035"/>
                <a:gd name="T1" fmla="*/ 342 h 342"/>
                <a:gd name="T2" fmla="*/ 471 w 2035"/>
                <a:gd name="T3" fmla="*/ 342 h 342"/>
                <a:gd name="T4" fmla="*/ 566 w 2035"/>
                <a:gd name="T5" fmla="*/ 78 h 342"/>
                <a:gd name="T6" fmla="*/ 614 w 2035"/>
                <a:gd name="T7" fmla="*/ 0 h 342"/>
                <a:gd name="T8" fmla="*/ 709 w 2035"/>
                <a:gd name="T9" fmla="*/ 236 h 342"/>
                <a:gd name="T10" fmla="*/ 796 w 2035"/>
                <a:gd name="T11" fmla="*/ 262 h 342"/>
                <a:gd name="T12" fmla="*/ 898 w 2035"/>
                <a:gd name="T13" fmla="*/ 342 h 342"/>
                <a:gd name="T14" fmla="*/ 986 w 2035"/>
                <a:gd name="T15" fmla="*/ 342 h 342"/>
                <a:gd name="T16" fmla="*/ 1088 w 2035"/>
                <a:gd name="T17" fmla="*/ 234 h 342"/>
                <a:gd name="T18" fmla="*/ 1183 w 2035"/>
                <a:gd name="T19" fmla="*/ 342 h 342"/>
                <a:gd name="T20" fmla="*/ 2035 w 2035"/>
                <a:gd name="T21" fmla="*/ 34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35" h="342">
                  <a:moveTo>
                    <a:pt x="0" y="342"/>
                  </a:moveTo>
                  <a:lnTo>
                    <a:pt x="471" y="342"/>
                  </a:lnTo>
                  <a:lnTo>
                    <a:pt x="566" y="78"/>
                  </a:lnTo>
                  <a:lnTo>
                    <a:pt x="614" y="0"/>
                  </a:lnTo>
                  <a:lnTo>
                    <a:pt x="709" y="236"/>
                  </a:lnTo>
                  <a:lnTo>
                    <a:pt x="796" y="262"/>
                  </a:lnTo>
                  <a:lnTo>
                    <a:pt x="898" y="342"/>
                  </a:lnTo>
                  <a:lnTo>
                    <a:pt x="986" y="342"/>
                  </a:lnTo>
                  <a:lnTo>
                    <a:pt x="1088" y="234"/>
                  </a:lnTo>
                  <a:lnTo>
                    <a:pt x="1183" y="342"/>
                  </a:lnTo>
                  <a:lnTo>
                    <a:pt x="2035" y="342"/>
                  </a:lnTo>
                </a:path>
              </a:pathLst>
            </a:custGeom>
            <a:noFill/>
            <a:ln w="11113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1" name="Freeform 420">
              <a:extLst>
                <a:ext uri="{FF2B5EF4-FFF2-40B4-BE49-F238E27FC236}">
                  <a16:creationId xmlns:a16="http://schemas.microsoft.com/office/drawing/2014/main" id="{FEB63CEA-0998-2618-897A-B1336A54DA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2" name="Freeform 421">
              <a:extLst>
                <a:ext uri="{FF2B5EF4-FFF2-40B4-BE49-F238E27FC236}">
                  <a16:creationId xmlns:a16="http://schemas.microsoft.com/office/drawing/2014/main" id="{963790D2-D724-D72B-80BD-F9E49B640B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0 w 26"/>
                <a:gd name="T7" fmla="*/ 22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3" name="Freeform 422">
              <a:extLst>
                <a:ext uri="{FF2B5EF4-FFF2-40B4-BE49-F238E27FC236}">
                  <a16:creationId xmlns:a16="http://schemas.microsoft.com/office/drawing/2014/main" id="{566E0ED6-7ECD-C89D-EAEE-71420E0DF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4" name="Freeform 423">
              <a:extLst>
                <a:ext uri="{FF2B5EF4-FFF2-40B4-BE49-F238E27FC236}">
                  <a16:creationId xmlns:a16="http://schemas.microsoft.com/office/drawing/2014/main" id="{00AC6860-79C1-5399-8F65-BC2F974B6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1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5" name="Freeform 424">
              <a:extLst>
                <a:ext uri="{FF2B5EF4-FFF2-40B4-BE49-F238E27FC236}">
                  <a16:creationId xmlns:a16="http://schemas.microsoft.com/office/drawing/2014/main" id="{54C4762C-B9CE-22AA-A72D-F44A4677D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92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6" name="Freeform 425">
              <a:extLst>
                <a:ext uri="{FF2B5EF4-FFF2-40B4-BE49-F238E27FC236}">
                  <a16:creationId xmlns:a16="http://schemas.microsoft.com/office/drawing/2014/main" id="{A1349A65-6B34-AFE8-A723-FFEC347CD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92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2 h 26"/>
                <a:gd name="T8" fmla="*/ 17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7" name="Freeform 426">
              <a:extLst>
                <a:ext uri="{FF2B5EF4-FFF2-40B4-BE49-F238E27FC236}">
                  <a16:creationId xmlns:a16="http://schemas.microsoft.com/office/drawing/2014/main" id="{13A5F764-0B16-95C2-B542-D7DD98A45D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692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8" name="Freeform 427">
              <a:extLst>
                <a:ext uri="{FF2B5EF4-FFF2-40B4-BE49-F238E27FC236}">
                  <a16:creationId xmlns:a16="http://schemas.microsoft.com/office/drawing/2014/main" id="{85EE7399-1FD5-89D0-EF6B-B4E73BF21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692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2 h 26"/>
                <a:gd name="T8" fmla="*/ 16 w 24"/>
                <a:gd name="T9" fmla="*/ 26 h 26"/>
                <a:gd name="T10" fmla="*/ 13 w 24"/>
                <a:gd name="T11" fmla="*/ 26 h 26"/>
                <a:gd name="T12" fmla="*/ 7 w 24"/>
                <a:gd name="T13" fmla="*/ 26 h 26"/>
                <a:gd name="T14" fmla="*/ 3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4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59" name="Freeform 428">
              <a:extLst>
                <a:ext uri="{FF2B5EF4-FFF2-40B4-BE49-F238E27FC236}">
                  <a16:creationId xmlns:a16="http://schemas.microsoft.com/office/drawing/2014/main" id="{FB348B58-0107-5BB3-0244-89A0BED68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692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8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8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0" name="Freeform 429">
              <a:extLst>
                <a:ext uri="{FF2B5EF4-FFF2-40B4-BE49-F238E27FC236}">
                  <a16:creationId xmlns:a16="http://schemas.microsoft.com/office/drawing/2014/main" id="{819555A1-CCA0-88A2-DDEE-F9209F76F8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692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8 h 26"/>
                <a:gd name="T6" fmla="*/ 21 w 25"/>
                <a:gd name="T7" fmla="*/ 22 h 26"/>
                <a:gd name="T8" fmla="*/ 17 w 25"/>
                <a:gd name="T9" fmla="*/ 26 h 26"/>
                <a:gd name="T10" fmla="*/ 13 w 25"/>
                <a:gd name="T11" fmla="*/ 26 h 26"/>
                <a:gd name="T12" fmla="*/ 8 w 25"/>
                <a:gd name="T13" fmla="*/ 26 h 26"/>
                <a:gd name="T14" fmla="*/ 4 w 25"/>
                <a:gd name="T15" fmla="*/ 22 h 26"/>
                <a:gd name="T16" fmla="*/ 0 w 25"/>
                <a:gd name="T17" fmla="*/ 18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4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4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8"/>
                  </a:lnTo>
                  <a:lnTo>
                    <a:pt x="21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1" name="Freeform 430">
              <a:extLst>
                <a:ext uri="{FF2B5EF4-FFF2-40B4-BE49-F238E27FC236}">
                  <a16:creationId xmlns:a16="http://schemas.microsoft.com/office/drawing/2014/main" id="{7BEEFD45-3B14-F85F-79D6-A69E7813F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27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0 h 28"/>
                <a:gd name="T6" fmla="*/ 21 w 24"/>
                <a:gd name="T7" fmla="*/ 24 h 28"/>
                <a:gd name="T8" fmla="*/ 17 w 24"/>
                <a:gd name="T9" fmla="*/ 26 h 28"/>
                <a:gd name="T10" fmla="*/ 11 w 24"/>
                <a:gd name="T11" fmla="*/ 28 h 28"/>
                <a:gd name="T12" fmla="*/ 8 w 24"/>
                <a:gd name="T13" fmla="*/ 26 h 28"/>
                <a:gd name="T14" fmla="*/ 4 w 24"/>
                <a:gd name="T15" fmla="*/ 24 h 28"/>
                <a:gd name="T16" fmla="*/ 0 w 24"/>
                <a:gd name="T17" fmla="*/ 20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7 h 28"/>
                <a:gd name="T24" fmla="*/ 4 w 24"/>
                <a:gd name="T25" fmla="*/ 4 h 28"/>
                <a:gd name="T26" fmla="*/ 8 w 24"/>
                <a:gd name="T27" fmla="*/ 2 h 28"/>
                <a:gd name="T28" fmla="*/ 11 w 24"/>
                <a:gd name="T29" fmla="*/ 0 h 28"/>
                <a:gd name="T30" fmla="*/ 17 w 24"/>
                <a:gd name="T31" fmla="*/ 2 h 28"/>
                <a:gd name="T32" fmla="*/ 21 w 24"/>
                <a:gd name="T33" fmla="*/ 4 h 28"/>
                <a:gd name="T34" fmla="*/ 24 w 24"/>
                <a:gd name="T35" fmla="*/ 7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2" name="Freeform 431">
              <a:extLst>
                <a:ext uri="{FF2B5EF4-FFF2-40B4-BE49-F238E27FC236}">
                  <a16:creationId xmlns:a16="http://schemas.microsoft.com/office/drawing/2014/main" id="{86576291-37E7-F62E-3864-F769056EB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27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0 h 28"/>
                <a:gd name="T6" fmla="*/ 21 w 24"/>
                <a:gd name="T7" fmla="*/ 24 h 28"/>
                <a:gd name="T8" fmla="*/ 17 w 24"/>
                <a:gd name="T9" fmla="*/ 26 h 28"/>
                <a:gd name="T10" fmla="*/ 11 w 24"/>
                <a:gd name="T11" fmla="*/ 28 h 28"/>
                <a:gd name="T12" fmla="*/ 8 w 24"/>
                <a:gd name="T13" fmla="*/ 26 h 28"/>
                <a:gd name="T14" fmla="*/ 4 w 24"/>
                <a:gd name="T15" fmla="*/ 24 h 28"/>
                <a:gd name="T16" fmla="*/ 0 w 24"/>
                <a:gd name="T17" fmla="*/ 20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7 h 28"/>
                <a:gd name="T24" fmla="*/ 4 w 24"/>
                <a:gd name="T25" fmla="*/ 4 h 28"/>
                <a:gd name="T26" fmla="*/ 8 w 24"/>
                <a:gd name="T27" fmla="*/ 2 h 28"/>
                <a:gd name="T28" fmla="*/ 11 w 24"/>
                <a:gd name="T29" fmla="*/ 0 h 28"/>
                <a:gd name="T30" fmla="*/ 17 w 24"/>
                <a:gd name="T31" fmla="*/ 2 h 28"/>
                <a:gd name="T32" fmla="*/ 21 w 24"/>
                <a:gd name="T33" fmla="*/ 4 h 28"/>
                <a:gd name="T34" fmla="*/ 24 w 24"/>
                <a:gd name="T35" fmla="*/ 7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3" name="Freeform 432">
              <a:extLst>
                <a:ext uri="{FF2B5EF4-FFF2-40B4-BE49-F238E27FC236}">
                  <a16:creationId xmlns:a16="http://schemas.microsoft.com/office/drawing/2014/main" id="{52F776A5-1A42-1238-D71F-2383F803E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26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4" name="Freeform 433">
              <a:extLst>
                <a:ext uri="{FF2B5EF4-FFF2-40B4-BE49-F238E27FC236}">
                  <a16:creationId xmlns:a16="http://schemas.microsoft.com/office/drawing/2014/main" id="{00BEB324-8D00-E534-F1AB-87D5A2EFA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262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5" name="Freeform 434">
              <a:extLst>
                <a:ext uri="{FF2B5EF4-FFF2-40B4-BE49-F238E27FC236}">
                  <a16:creationId xmlns:a16="http://schemas.microsoft.com/office/drawing/2014/main" id="{3025C598-9979-1574-9A1C-0568263398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692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6" name="Freeform 435">
              <a:extLst>
                <a:ext uri="{FF2B5EF4-FFF2-40B4-BE49-F238E27FC236}">
                  <a16:creationId xmlns:a16="http://schemas.microsoft.com/office/drawing/2014/main" id="{59A46364-D4E2-335C-E27D-057E47572C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692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8 h 26"/>
                <a:gd name="T6" fmla="*/ 20 w 24"/>
                <a:gd name="T7" fmla="*/ 22 h 26"/>
                <a:gd name="T8" fmla="*/ 17 w 24"/>
                <a:gd name="T9" fmla="*/ 26 h 26"/>
                <a:gd name="T10" fmla="*/ 11 w 24"/>
                <a:gd name="T11" fmla="*/ 26 h 26"/>
                <a:gd name="T12" fmla="*/ 7 w 24"/>
                <a:gd name="T13" fmla="*/ 26 h 26"/>
                <a:gd name="T14" fmla="*/ 4 w 24"/>
                <a:gd name="T15" fmla="*/ 22 h 26"/>
                <a:gd name="T16" fmla="*/ 0 w 24"/>
                <a:gd name="T17" fmla="*/ 18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4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4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8"/>
                  </a:lnTo>
                  <a:lnTo>
                    <a:pt x="20" y="22"/>
                  </a:lnTo>
                  <a:lnTo>
                    <a:pt x="17" y="26"/>
                  </a:lnTo>
                  <a:lnTo>
                    <a:pt x="11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7" name="Freeform 436">
              <a:extLst>
                <a:ext uri="{FF2B5EF4-FFF2-40B4-BE49-F238E27FC236}">
                  <a16:creationId xmlns:a16="http://schemas.microsoft.com/office/drawing/2014/main" id="{0DE16740-CC64-BC22-5F7B-98E5072213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8" name="Freeform 437">
              <a:extLst>
                <a:ext uri="{FF2B5EF4-FFF2-40B4-BE49-F238E27FC236}">
                  <a16:creationId xmlns:a16="http://schemas.microsoft.com/office/drawing/2014/main" id="{C3C64114-63B5-5BE0-E496-D7AB1D429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69" name="Freeform 438">
              <a:extLst>
                <a:ext uri="{FF2B5EF4-FFF2-40B4-BE49-F238E27FC236}">
                  <a16:creationId xmlns:a16="http://schemas.microsoft.com/office/drawing/2014/main" id="{624E5117-33D0-44DF-B492-E7A3DCCB0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0" name="Freeform 439">
              <a:extLst>
                <a:ext uri="{FF2B5EF4-FFF2-40B4-BE49-F238E27FC236}">
                  <a16:creationId xmlns:a16="http://schemas.microsoft.com/office/drawing/2014/main" id="{8FF1EDF1-1726-4952-D752-25766E631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1" name="Freeform 440">
              <a:extLst>
                <a:ext uri="{FF2B5EF4-FFF2-40B4-BE49-F238E27FC236}">
                  <a16:creationId xmlns:a16="http://schemas.microsoft.com/office/drawing/2014/main" id="{FC650CDA-2C92-C1D2-8E4B-9EF0382E8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57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2" name="Freeform 441">
              <a:extLst>
                <a:ext uri="{FF2B5EF4-FFF2-40B4-BE49-F238E27FC236}">
                  <a16:creationId xmlns:a16="http://schemas.microsoft.com/office/drawing/2014/main" id="{73EF1E09-F8B2-2002-1CD2-BEE0BE5864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57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3" name="Freeform 442">
              <a:extLst>
                <a:ext uri="{FF2B5EF4-FFF2-40B4-BE49-F238E27FC236}">
                  <a16:creationId xmlns:a16="http://schemas.microsoft.com/office/drawing/2014/main" id="{C4361AD2-D8B6-AE1B-1F0B-3FB98FBDC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4" name="Freeform 443">
              <a:extLst>
                <a:ext uri="{FF2B5EF4-FFF2-40B4-BE49-F238E27FC236}">
                  <a16:creationId xmlns:a16="http://schemas.microsoft.com/office/drawing/2014/main" id="{E68F250A-5E1B-905A-1C2E-BED7DF0A07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5" name="Freeform 444">
              <a:extLst>
                <a:ext uri="{FF2B5EF4-FFF2-40B4-BE49-F238E27FC236}">
                  <a16:creationId xmlns:a16="http://schemas.microsoft.com/office/drawing/2014/main" id="{2B788647-E51B-BFFE-CC55-FFA5EF63F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6" name="Freeform 445">
              <a:extLst>
                <a:ext uri="{FF2B5EF4-FFF2-40B4-BE49-F238E27FC236}">
                  <a16:creationId xmlns:a16="http://schemas.microsoft.com/office/drawing/2014/main" id="{CE2B1B2B-3B77-13B3-03B3-6093C73C2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69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7" name="Freeform 446">
              <a:extLst>
                <a:ext uri="{FF2B5EF4-FFF2-40B4-BE49-F238E27FC236}">
                  <a16:creationId xmlns:a16="http://schemas.microsoft.com/office/drawing/2014/main" id="{2AF36D3D-49EC-4914-17DE-CDE9A07ACB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8" name="Freeform 447">
              <a:extLst>
                <a:ext uri="{FF2B5EF4-FFF2-40B4-BE49-F238E27FC236}">
                  <a16:creationId xmlns:a16="http://schemas.microsoft.com/office/drawing/2014/main" id="{1725CFEE-18BE-A8F8-966F-988AE5568E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79" name="Freeform 448">
              <a:extLst>
                <a:ext uri="{FF2B5EF4-FFF2-40B4-BE49-F238E27FC236}">
                  <a16:creationId xmlns:a16="http://schemas.microsoft.com/office/drawing/2014/main" id="{F0F8793E-C127-4C89-B038-314722ADE3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0" name="Freeform 449">
              <a:extLst>
                <a:ext uri="{FF2B5EF4-FFF2-40B4-BE49-F238E27FC236}">
                  <a16:creationId xmlns:a16="http://schemas.microsoft.com/office/drawing/2014/main" id="{82F9F151-04AE-FCA7-E0E6-DDCA8573E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1" name="Freeform 450">
              <a:extLst>
                <a:ext uri="{FF2B5EF4-FFF2-40B4-BE49-F238E27FC236}">
                  <a16:creationId xmlns:a16="http://schemas.microsoft.com/office/drawing/2014/main" id="{A0E6F425-A1D4-B434-97C6-A10734307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2" name="Freeform 451">
              <a:extLst>
                <a:ext uri="{FF2B5EF4-FFF2-40B4-BE49-F238E27FC236}">
                  <a16:creationId xmlns:a16="http://schemas.microsoft.com/office/drawing/2014/main" id="{85A18D75-C67C-97DD-EE72-871567A6D4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3" name="Freeform 452">
              <a:extLst>
                <a:ext uri="{FF2B5EF4-FFF2-40B4-BE49-F238E27FC236}">
                  <a16:creationId xmlns:a16="http://schemas.microsoft.com/office/drawing/2014/main" id="{17333F00-6DC5-4791-9CAB-1C73C7E11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4" name="Freeform 453">
              <a:extLst>
                <a:ext uri="{FF2B5EF4-FFF2-40B4-BE49-F238E27FC236}">
                  <a16:creationId xmlns:a16="http://schemas.microsoft.com/office/drawing/2014/main" id="{8469F1D5-956C-B764-B5A9-6E05B279C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5" name="Freeform 454">
              <a:extLst>
                <a:ext uri="{FF2B5EF4-FFF2-40B4-BE49-F238E27FC236}">
                  <a16:creationId xmlns:a16="http://schemas.microsoft.com/office/drawing/2014/main" id="{55E28131-67B0-AD3E-425E-0ECF1CA63E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6" name="Freeform 455">
              <a:extLst>
                <a:ext uri="{FF2B5EF4-FFF2-40B4-BE49-F238E27FC236}">
                  <a16:creationId xmlns:a16="http://schemas.microsoft.com/office/drawing/2014/main" id="{72C99652-60D5-61A6-EF2F-448EBB18C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7" name="Freeform 456">
              <a:extLst>
                <a:ext uri="{FF2B5EF4-FFF2-40B4-BE49-F238E27FC236}">
                  <a16:creationId xmlns:a16="http://schemas.microsoft.com/office/drawing/2014/main" id="{57B532AD-6AEC-6E76-63F2-332991511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8" name="Freeform 457">
              <a:extLst>
                <a:ext uri="{FF2B5EF4-FFF2-40B4-BE49-F238E27FC236}">
                  <a16:creationId xmlns:a16="http://schemas.microsoft.com/office/drawing/2014/main" id="{7BA63A11-DAAE-C8A4-2A75-691BA1278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89" name="Freeform 458">
              <a:extLst>
                <a:ext uri="{FF2B5EF4-FFF2-40B4-BE49-F238E27FC236}">
                  <a16:creationId xmlns:a16="http://schemas.microsoft.com/office/drawing/2014/main" id="{367664FC-7658-D1F1-928B-B5D6B5B322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0" name="Freeform 459">
              <a:extLst>
                <a:ext uri="{FF2B5EF4-FFF2-40B4-BE49-F238E27FC236}">
                  <a16:creationId xmlns:a16="http://schemas.microsoft.com/office/drawing/2014/main" id="{AF58F262-7DB8-AE7A-AEC1-2F5BD1334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1" name="Freeform 460">
              <a:extLst>
                <a:ext uri="{FF2B5EF4-FFF2-40B4-BE49-F238E27FC236}">
                  <a16:creationId xmlns:a16="http://schemas.microsoft.com/office/drawing/2014/main" id="{5D4F2914-56B0-D31E-E629-953912EB6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2" name="Freeform 461">
              <a:extLst>
                <a:ext uri="{FF2B5EF4-FFF2-40B4-BE49-F238E27FC236}">
                  <a16:creationId xmlns:a16="http://schemas.microsoft.com/office/drawing/2014/main" id="{0A1FC9CF-8A8B-B1C0-AC70-5EEA84871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3" name="Freeform 462">
              <a:extLst>
                <a:ext uri="{FF2B5EF4-FFF2-40B4-BE49-F238E27FC236}">
                  <a16:creationId xmlns:a16="http://schemas.microsoft.com/office/drawing/2014/main" id="{EEEEA162-C6DF-207D-EC01-C30AF6151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4" name="Freeform 463">
              <a:extLst>
                <a:ext uri="{FF2B5EF4-FFF2-40B4-BE49-F238E27FC236}">
                  <a16:creationId xmlns:a16="http://schemas.microsoft.com/office/drawing/2014/main" id="{3E500DBF-4068-C8AB-EE89-0FC2EFD2AD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5" name="Freeform 464">
              <a:extLst>
                <a:ext uri="{FF2B5EF4-FFF2-40B4-BE49-F238E27FC236}">
                  <a16:creationId xmlns:a16="http://schemas.microsoft.com/office/drawing/2014/main" id="{77FAB82D-BD0F-3B03-E28D-7F19A4038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6" name="Freeform 465">
              <a:extLst>
                <a:ext uri="{FF2B5EF4-FFF2-40B4-BE49-F238E27FC236}">
                  <a16:creationId xmlns:a16="http://schemas.microsoft.com/office/drawing/2014/main" id="{D65D5201-CB66-5598-055A-39FBF0D50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7" name="Freeform 466">
              <a:extLst>
                <a:ext uri="{FF2B5EF4-FFF2-40B4-BE49-F238E27FC236}">
                  <a16:creationId xmlns:a16="http://schemas.microsoft.com/office/drawing/2014/main" id="{C2F4C4D6-AB5A-6AED-367F-C5CC992AF6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8" name="Freeform 467">
              <a:extLst>
                <a:ext uri="{FF2B5EF4-FFF2-40B4-BE49-F238E27FC236}">
                  <a16:creationId xmlns:a16="http://schemas.microsoft.com/office/drawing/2014/main" id="{892D4B21-B045-4D16-361D-06774465A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299" name="Freeform 468">
              <a:extLst>
                <a:ext uri="{FF2B5EF4-FFF2-40B4-BE49-F238E27FC236}">
                  <a16:creationId xmlns:a16="http://schemas.microsoft.com/office/drawing/2014/main" id="{F17DC4AB-EEAD-8292-E29E-7DAD65AA96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0" name="Freeform 469">
              <a:extLst>
                <a:ext uri="{FF2B5EF4-FFF2-40B4-BE49-F238E27FC236}">
                  <a16:creationId xmlns:a16="http://schemas.microsoft.com/office/drawing/2014/main" id="{253852CF-D418-0C12-37BC-254B24395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1" name="Freeform 470">
              <a:extLst>
                <a:ext uri="{FF2B5EF4-FFF2-40B4-BE49-F238E27FC236}">
                  <a16:creationId xmlns:a16="http://schemas.microsoft.com/office/drawing/2014/main" id="{FB839478-1FDD-67A0-27E2-E8E4A8235F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2" name="Freeform 471">
              <a:extLst>
                <a:ext uri="{FF2B5EF4-FFF2-40B4-BE49-F238E27FC236}">
                  <a16:creationId xmlns:a16="http://schemas.microsoft.com/office/drawing/2014/main" id="{C8AE1FC1-D935-81BF-462A-A86978635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3" name="Freeform 472">
              <a:extLst>
                <a:ext uri="{FF2B5EF4-FFF2-40B4-BE49-F238E27FC236}">
                  <a16:creationId xmlns:a16="http://schemas.microsoft.com/office/drawing/2014/main" id="{0ABF60CC-FAE7-CC32-EE6E-5910C382B7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4" name="Freeform 473">
              <a:extLst>
                <a:ext uri="{FF2B5EF4-FFF2-40B4-BE49-F238E27FC236}">
                  <a16:creationId xmlns:a16="http://schemas.microsoft.com/office/drawing/2014/main" id="{3D0426A4-6323-FF94-3C14-E91979762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5" name="Freeform 474">
              <a:extLst>
                <a:ext uri="{FF2B5EF4-FFF2-40B4-BE49-F238E27FC236}">
                  <a16:creationId xmlns:a16="http://schemas.microsoft.com/office/drawing/2014/main" id="{48D22DDC-7937-F37D-FAF5-D6607B9D5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6" name="Freeform 475">
              <a:extLst>
                <a:ext uri="{FF2B5EF4-FFF2-40B4-BE49-F238E27FC236}">
                  <a16:creationId xmlns:a16="http://schemas.microsoft.com/office/drawing/2014/main" id="{3EF3C2FF-5305-86D6-6954-380AAA19F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7" name="Freeform 476">
              <a:extLst>
                <a:ext uri="{FF2B5EF4-FFF2-40B4-BE49-F238E27FC236}">
                  <a16:creationId xmlns:a16="http://schemas.microsoft.com/office/drawing/2014/main" id="{4E5C5E97-DDE0-3CFF-3A45-702049CE5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8" name="Freeform 477">
              <a:extLst>
                <a:ext uri="{FF2B5EF4-FFF2-40B4-BE49-F238E27FC236}">
                  <a16:creationId xmlns:a16="http://schemas.microsoft.com/office/drawing/2014/main" id="{60DE7CBF-4401-8F84-90F2-D84C849B6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09" name="Freeform 478">
              <a:extLst>
                <a:ext uri="{FF2B5EF4-FFF2-40B4-BE49-F238E27FC236}">
                  <a16:creationId xmlns:a16="http://schemas.microsoft.com/office/drawing/2014/main" id="{9E42F1B9-4318-0BBE-E679-0177A55083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0" name="Freeform 479">
              <a:extLst>
                <a:ext uri="{FF2B5EF4-FFF2-40B4-BE49-F238E27FC236}">
                  <a16:creationId xmlns:a16="http://schemas.microsoft.com/office/drawing/2014/main" id="{E88D2E05-0151-4D4E-6D3A-1882E29FF6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1" name="Freeform 480">
              <a:extLst>
                <a:ext uri="{FF2B5EF4-FFF2-40B4-BE49-F238E27FC236}">
                  <a16:creationId xmlns:a16="http://schemas.microsoft.com/office/drawing/2014/main" id="{79E4CD16-6E73-5252-6AD6-66A0D2111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F7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2" name="Freeform 481">
              <a:extLst>
                <a:ext uri="{FF2B5EF4-FFF2-40B4-BE49-F238E27FC236}">
                  <a16:creationId xmlns:a16="http://schemas.microsoft.com/office/drawing/2014/main" id="{92118A63-9831-43D4-CED1-89973F545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F7F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3" name="Freeform 482">
              <a:extLst>
                <a:ext uri="{FF2B5EF4-FFF2-40B4-BE49-F238E27FC236}">
                  <a16:creationId xmlns:a16="http://schemas.microsoft.com/office/drawing/2014/main" id="{F4B5577C-59D8-D5DE-C99D-CF17152129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4" name="Freeform 483">
              <a:extLst>
                <a:ext uri="{FF2B5EF4-FFF2-40B4-BE49-F238E27FC236}">
                  <a16:creationId xmlns:a16="http://schemas.microsoft.com/office/drawing/2014/main" id="{5D76FDDC-B458-9969-6381-68530F00C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5" name="Freeform 484">
              <a:extLst>
                <a:ext uri="{FF2B5EF4-FFF2-40B4-BE49-F238E27FC236}">
                  <a16:creationId xmlns:a16="http://schemas.microsoft.com/office/drawing/2014/main" id="{55316F95-8508-C75F-886C-95ECC2A7E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6" name="Freeform 485">
              <a:extLst>
                <a:ext uri="{FF2B5EF4-FFF2-40B4-BE49-F238E27FC236}">
                  <a16:creationId xmlns:a16="http://schemas.microsoft.com/office/drawing/2014/main" id="{96A93413-C5A6-F5F2-EB7F-30BB29A46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7" name="Freeform 486">
              <a:extLst>
                <a:ext uri="{FF2B5EF4-FFF2-40B4-BE49-F238E27FC236}">
                  <a16:creationId xmlns:a16="http://schemas.microsoft.com/office/drawing/2014/main" id="{D75B586A-9FEB-E40F-95A2-4B5FF64BC7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8" name="Freeform 487">
              <a:extLst>
                <a:ext uri="{FF2B5EF4-FFF2-40B4-BE49-F238E27FC236}">
                  <a16:creationId xmlns:a16="http://schemas.microsoft.com/office/drawing/2014/main" id="{226E2707-72DB-6F18-63AE-114F6870BF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19" name="Freeform 488">
              <a:extLst>
                <a:ext uri="{FF2B5EF4-FFF2-40B4-BE49-F238E27FC236}">
                  <a16:creationId xmlns:a16="http://schemas.microsoft.com/office/drawing/2014/main" id="{649EFC6E-57ED-12CE-FFBD-976108B37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0" name="Freeform 489">
              <a:extLst>
                <a:ext uri="{FF2B5EF4-FFF2-40B4-BE49-F238E27FC236}">
                  <a16:creationId xmlns:a16="http://schemas.microsoft.com/office/drawing/2014/main" id="{66A940D3-371A-0EE8-E33B-2303D245C1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1" name="Freeform 490">
              <a:extLst>
                <a:ext uri="{FF2B5EF4-FFF2-40B4-BE49-F238E27FC236}">
                  <a16:creationId xmlns:a16="http://schemas.microsoft.com/office/drawing/2014/main" id="{09C4CEFA-3325-79A3-6FDB-7C265A7C0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2" name="Freeform 491">
              <a:extLst>
                <a:ext uri="{FF2B5EF4-FFF2-40B4-BE49-F238E27FC236}">
                  <a16:creationId xmlns:a16="http://schemas.microsoft.com/office/drawing/2014/main" id="{31D1EFC0-329A-EB89-D8CD-7391679F3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6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3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3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6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3" name="Freeform 492">
              <a:extLst>
                <a:ext uri="{FF2B5EF4-FFF2-40B4-BE49-F238E27FC236}">
                  <a16:creationId xmlns:a16="http://schemas.microsoft.com/office/drawing/2014/main" id="{E6896C76-1555-9D6C-78B2-F43CFB6C3C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677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2 h 26"/>
                <a:gd name="T8" fmla="*/ 17 w 25"/>
                <a:gd name="T9" fmla="*/ 24 h 26"/>
                <a:gd name="T10" fmla="*/ 13 w 25"/>
                <a:gd name="T11" fmla="*/ 26 h 26"/>
                <a:gd name="T12" fmla="*/ 8 w 25"/>
                <a:gd name="T13" fmla="*/ 24 h 26"/>
                <a:gd name="T14" fmla="*/ 4 w 25"/>
                <a:gd name="T15" fmla="*/ 22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2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2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5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4" name="Freeform 493">
              <a:extLst>
                <a:ext uri="{FF2B5EF4-FFF2-40B4-BE49-F238E27FC236}">
                  <a16:creationId xmlns:a16="http://schemas.microsoft.com/office/drawing/2014/main" id="{99C89A33-CA1E-4AE2-2FDE-3120A8199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677"/>
              <a:ext cx="25" cy="26"/>
            </a:xfrm>
            <a:custGeom>
              <a:avLst/>
              <a:gdLst>
                <a:gd name="T0" fmla="*/ 25 w 25"/>
                <a:gd name="T1" fmla="*/ 13 h 26"/>
                <a:gd name="T2" fmla="*/ 25 w 25"/>
                <a:gd name="T3" fmla="*/ 13 h 26"/>
                <a:gd name="T4" fmla="*/ 25 w 25"/>
                <a:gd name="T5" fmla="*/ 19 h 26"/>
                <a:gd name="T6" fmla="*/ 21 w 25"/>
                <a:gd name="T7" fmla="*/ 22 h 26"/>
                <a:gd name="T8" fmla="*/ 17 w 25"/>
                <a:gd name="T9" fmla="*/ 24 h 26"/>
                <a:gd name="T10" fmla="*/ 13 w 25"/>
                <a:gd name="T11" fmla="*/ 26 h 26"/>
                <a:gd name="T12" fmla="*/ 8 w 25"/>
                <a:gd name="T13" fmla="*/ 24 h 26"/>
                <a:gd name="T14" fmla="*/ 4 w 25"/>
                <a:gd name="T15" fmla="*/ 22 h 26"/>
                <a:gd name="T16" fmla="*/ 0 w 25"/>
                <a:gd name="T17" fmla="*/ 19 h 26"/>
                <a:gd name="T18" fmla="*/ 0 w 25"/>
                <a:gd name="T19" fmla="*/ 13 h 26"/>
                <a:gd name="T20" fmla="*/ 0 w 25"/>
                <a:gd name="T21" fmla="*/ 13 h 26"/>
                <a:gd name="T22" fmla="*/ 0 w 25"/>
                <a:gd name="T23" fmla="*/ 7 h 26"/>
                <a:gd name="T24" fmla="*/ 4 w 25"/>
                <a:gd name="T25" fmla="*/ 2 h 26"/>
                <a:gd name="T26" fmla="*/ 8 w 25"/>
                <a:gd name="T27" fmla="*/ 0 h 26"/>
                <a:gd name="T28" fmla="*/ 13 w 25"/>
                <a:gd name="T29" fmla="*/ 0 h 26"/>
                <a:gd name="T30" fmla="*/ 17 w 25"/>
                <a:gd name="T31" fmla="*/ 0 h 26"/>
                <a:gd name="T32" fmla="*/ 21 w 25"/>
                <a:gd name="T33" fmla="*/ 2 h 26"/>
                <a:gd name="T34" fmla="*/ 25 w 25"/>
                <a:gd name="T35" fmla="*/ 7 h 26"/>
                <a:gd name="T36" fmla="*/ 25 w 25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lnTo>
                    <a:pt x="25" y="13"/>
                  </a:lnTo>
                  <a:lnTo>
                    <a:pt x="25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5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5" name="Freeform 494">
              <a:extLst>
                <a:ext uri="{FF2B5EF4-FFF2-40B4-BE49-F238E27FC236}">
                  <a16:creationId xmlns:a16="http://schemas.microsoft.com/office/drawing/2014/main" id="{2E1FC925-E0E9-2843-0606-110C7FF6F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6" name="Freeform 495">
              <a:extLst>
                <a:ext uri="{FF2B5EF4-FFF2-40B4-BE49-F238E27FC236}">
                  <a16:creationId xmlns:a16="http://schemas.microsoft.com/office/drawing/2014/main" id="{F43586DF-59B4-D21B-8F4E-287B8D6B8E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7" name="Freeform 496">
              <a:extLst>
                <a:ext uri="{FF2B5EF4-FFF2-40B4-BE49-F238E27FC236}">
                  <a16:creationId xmlns:a16="http://schemas.microsoft.com/office/drawing/2014/main" id="{AE08A1C7-2B76-AF7C-B511-056FABC95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8" name="Freeform 497">
              <a:extLst>
                <a:ext uri="{FF2B5EF4-FFF2-40B4-BE49-F238E27FC236}">
                  <a16:creationId xmlns:a16="http://schemas.microsoft.com/office/drawing/2014/main" id="{C01B71E0-9612-8F76-F64A-D026ADAEA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29" name="Freeform 498">
              <a:extLst>
                <a:ext uri="{FF2B5EF4-FFF2-40B4-BE49-F238E27FC236}">
                  <a16:creationId xmlns:a16="http://schemas.microsoft.com/office/drawing/2014/main" id="{B95D390C-BA3F-294B-1664-CB99F994D0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0" name="Freeform 499">
              <a:extLst>
                <a:ext uri="{FF2B5EF4-FFF2-40B4-BE49-F238E27FC236}">
                  <a16:creationId xmlns:a16="http://schemas.microsoft.com/office/drawing/2014/main" id="{7CCB6BF0-C265-C87A-5A48-11A48D4EF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1" name="Freeform 500">
              <a:extLst>
                <a:ext uri="{FF2B5EF4-FFF2-40B4-BE49-F238E27FC236}">
                  <a16:creationId xmlns:a16="http://schemas.microsoft.com/office/drawing/2014/main" id="{BAB6FF20-E519-D029-9715-BA9282EA7A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2" name="Freeform 501">
              <a:extLst>
                <a:ext uri="{FF2B5EF4-FFF2-40B4-BE49-F238E27FC236}">
                  <a16:creationId xmlns:a16="http://schemas.microsoft.com/office/drawing/2014/main" id="{CE3FF67C-33B7-0ED3-6775-B683BEF73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3" name="Freeform 502">
              <a:extLst>
                <a:ext uri="{FF2B5EF4-FFF2-40B4-BE49-F238E27FC236}">
                  <a16:creationId xmlns:a16="http://schemas.microsoft.com/office/drawing/2014/main" id="{08990B0E-87F3-3158-6383-74D3B6A05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55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4" name="Freeform 503">
              <a:extLst>
                <a:ext uri="{FF2B5EF4-FFF2-40B4-BE49-F238E27FC236}">
                  <a16:creationId xmlns:a16="http://schemas.microsoft.com/office/drawing/2014/main" id="{4EB51910-26A9-902A-C380-13DB65BD9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554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5 h 26"/>
                <a:gd name="T8" fmla="*/ 18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5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8 w 26"/>
                <a:gd name="T31" fmla="*/ 2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5" name="Freeform 504">
              <a:extLst>
                <a:ext uri="{FF2B5EF4-FFF2-40B4-BE49-F238E27FC236}">
                  <a16:creationId xmlns:a16="http://schemas.microsoft.com/office/drawing/2014/main" id="{01D0AE23-BE40-E8F5-8569-3A4498823A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10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10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6" name="Freeform 505">
              <a:extLst>
                <a:ext uri="{FF2B5EF4-FFF2-40B4-BE49-F238E27FC236}">
                  <a16:creationId xmlns:a16="http://schemas.microsoft.com/office/drawing/2014/main" id="{ED0E04E2-1B34-6DBF-5203-39E018D37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10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10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7" name="Freeform 506">
              <a:extLst>
                <a:ext uri="{FF2B5EF4-FFF2-40B4-BE49-F238E27FC236}">
                  <a16:creationId xmlns:a16="http://schemas.microsoft.com/office/drawing/2014/main" id="{89FE619D-7612-B660-3459-2DCFCAA08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8" name="Freeform 507">
              <a:extLst>
                <a:ext uri="{FF2B5EF4-FFF2-40B4-BE49-F238E27FC236}">
                  <a16:creationId xmlns:a16="http://schemas.microsoft.com/office/drawing/2014/main" id="{3E7F4BEF-E2E6-26BA-124F-2EC373A4F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39" name="Freeform 508">
              <a:extLst>
                <a:ext uri="{FF2B5EF4-FFF2-40B4-BE49-F238E27FC236}">
                  <a16:creationId xmlns:a16="http://schemas.microsoft.com/office/drawing/2014/main" id="{F1DC6E23-9AF8-A33E-EA22-EB02E4795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0" name="Freeform 509">
              <a:extLst>
                <a:ext uri="{FF2B5EF4-FFF2-40B4-BE49-F238E27FC236}">
                  <a16:creationId xmlns:a16="http://schemas.microsoft.com/office/drawing/2014/main" id="{0B08E769-CDF2-6E93-C31B-10A9AEC62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1" name="Freeform 510">
              <a:extLst>
                <a:ext uri="{FF2B5EF4-FFF2-40B4-BE49-F238E27FC236}">
                  <a16:creationId xmlns:a16="http://schemas.microsoft.com/office/drawing/2014/main" id="{4BDFB566-3E9A-C50E-272A-2A11866A1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2" name="Freeform 511">
              <a:extLst>
                <a:ext uri="{FF2B5EF4-FFF2-40B4-BE49-F238E27FC236}">
                  <a16:creationId xmlns:a16="http://schemas.microsoft.com/office/drawing/2014/main" id="{03F4AE60-3481-E59D-DA3F-6F8AA98BC0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3" name="Freeform 512">
              <a:extLst>
                <a:ext uri="{FF2B5EF4-FFF2-40B4-BE49-F238E27FC236}">
                  <a16:creationId xmlns:a16="http://schemas.microsoft.com/office/drawing/2014/main" id="{E55A18AC-E1BC-3D29-C40B-2FD9DBFAF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4" name="Freeform 513">
              <a:extLst>
                <a:ext uri="{FF2B5EF4-FFF2-40B4-BE49-F238E27FC236}">
                  <a16:creationId xmlns:a16="http://schemas.microsoft.com/office/drawing/2014/main" id="{BD0E43EE-A65D-7781-DA7A-B5B91A0B3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5" name="Freeform 514">
              <a:extLst>
                <a:ext uri="{FF2B5EF4-FFF2-40B4-BE49-F238E27FC236}">
                  <a16:creationId xmlns:a16="http://schemas.microsoft.com/office/drawing/2014/main" id="{B6A7505B-EA95-8B60-07D1-958FD227F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6" name="Freeform 515">
              <a:extLst>
                <a:ext uri="{FF2B5EF4-FFF2-40B4-BE49-F238E27FC236}">
                  <a16:creationId xmlns:a16="http://schemas.microsoft.com/office/drawing/2014/main" id="{477C6C01-CFD1-B87D-6E8D-E662DF6F2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7" name="Freeform 516">
              <a:extLst>
                <a:ext uri="{FF2B5EF4-FFF2-40B4-BE49-F238E27FC236}">
                  <a16:creationId xmlns:a16="http://schemas.microsoft.com/office/drawing/2014/main" id="{CD086DC9-BFF7-6374-63E8-F9BDFBA6C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8" name="Freeform 517">
              <a:extLst>
                <a:ext uri="{FF2B5EF4-FFF2-40B4-BE49-F238E27FC236}">
                  <a16:creationId xmlns:a16="http://schemas.microsoft.com/office/drawing/2014/main" id="{29928916-19DD-8003-5233-390B4C2CA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49" name="Freeform 518">
              <a:extLst>
                <a:ext uri="{FF2B5EF4-FFF2-40B4-BE49-F238E27FC236}">
                  <a16:creationId xmlns:a16="http://schemas.microsoft.com/office/drawing/2014/main" id="{61FEC216-AF2C-B7C9-169C-097EA1D7C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0" name="Freeform 519">
              <a:extLst>
                <a:ext uri="{FF2B5EF4-FFF2-40B4-BE49-F238E27FC236}">
                  <a16:creationId xmlns:a16="http://schemas.microsoft.com/office/drawing/2014/main" id="{5549B617-4109-C62C-1B14-95B98806A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1" name="Freeform 520">
              <a:extLst>
                <a:ext uri="{FF2B5EF4-FFF2-40B4-BE49-F238E27FC236}">
                  <a16:creationId xmlns:a16="http://schemas.microsoft.com/office/drawing/2014/main" id="{8D3A4D2B-D3BD-6757-665E-9BE3A555E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2" name="Freeform 521">
              <a:extLst>
                <a:ext uri="{FF2B5EF4-FFF2-40B4-BE49-F238E27FC236}">
                  <a16:creationId xmlns:a16="http://schemas.microsoft.com/office/drawing/2014/main" id="{298DA5D8-0973-F06A-94FA-CC8B63262C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3" name="Freeform 522">
              <a:extLst>
                <a:ext uri="{FF2B5EF4-FFF2-40B4-BE49-F238E27FC236}">
                  <a16:creationId xmlns:a16="http://schemas.microsoft.com/office/drawing/2014/main" id="{66FB07EB-DFE3-7141-5855-D0687052C0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4" name="Freeform 523">
              <a:extLst>
                <a:ext uri="{FF2B5EF4-FFF2-40B4-BE49-F238E27FC236}">
                  <a16:creationId xmlns:a16="http://schemas.microsoft.com/office/drawing/2014/main" id="{948C40CC-EBA2-F955-8234-5AA8E0A99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5" name="Freeform 524">
              <a:extLst>
                <a:ext uri="{FF2B5EF4-FFF2-40B4-BE49-F238E27FC236}">
                  <a16:creationId xmlns:a16="http://schemas.microsoft.com/office/drawing/2014/main" id="{0D97C378-45B7-34C4-DC02-D3D73B0B2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6" name="Freeform 525">
              <a:extLst>
                <a:ext uri="{FF2B5EF4-FFF2-40B4-BE49-F238E27FC236}">
                  <a16:creationId xmlns:a16="http://schemas.microsoft.com/office/drawing/2014/main" id="{BF19F3AA-7F59-9A73-CE49-D886E15AAF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7" name="Freeform 526">
              <a:extLst>
                <a:ext uri="{FF2B5EF4-FFF2-40B4-BE49-F238E27FC236}">
                  <a16:creationId xmlns:a16="http://schemas.microsoft.com/office/drawing/2014/main" id="{DC29712D-B81C-9CD7-6F80-045EC8FC9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8" name="Freeform 527">
              <a:extLst>
                <a:ext uri="{FF2B5EF4-FFF2-40B4-BE49-F238E27FC236}">
                  <a16:creationId xmlns:a16="http://schemas.microsoft.com/office/drawing/2014/main" id="{621B7086-A50D-6137-1A71-7FC34E490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59" name="Freeform 528">
              <a:extLst>
                <a:ext uri="{FF2B5EF4-FFF2-40B4-BE49-F238E27FC236}">
                  <a16:creationId xmlns:a16="http://schemas.microsoft.com/office/drawing/2014/main" id="{AE2DA090-2A64-A78D-3A32-6E5BB353E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5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5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5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5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0" name="Freeform 529">
              <a:extLst>
                <a:ext uri="{FF2B5EF4-FFF2-40B4-BE49-F238E27FC236}">
                  <a16:creationId xmlns:a16="http://schemas.microsoft.com/office/drawing/2014/main" id="{77F02E89-370B-DD6C-F6E2-E472472AC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5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5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5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5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1" name="Freeform 530">
              <a:extLst>
                <a:ext uri="{FF2B5EF4-FFF2-40B4-BE49-F238E27FC236}">
                  <a16:creationId xmlns:a16="http://schemas.microsoft.com/office/drawing/2014/main" id="{20F469A6-F3B0-AA90-1D01-AF51AA0A1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2" name="Freeform 531">
              <a:extLst>
                <a:ext uri="{FF2B5EF4-FFF2-40B4-BE49-F238E27FC236}">
                  <a16:creationId xmlns:a16="http://schemas.microsoft.com/office/drawing/2014/main" id="{FD7EA323-4D8F-1566-A336-2750FA474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3" name="Freeform 532">
              <a:extLst>
                <a:ext uri="{FF2B5EF4-FFF2-40B4-BE49-F238E27FC236}">
                  <a16:creationId xmlns:a16="http://schemas.microsoft.com/office/drawing/2014/main" id="{2A5897EF-C3B9-C5B3-90C9-E7BE0C03BA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10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10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4" name="Freeform 533">
              <a:extLst>
                <a:ext uri="{FF2B5EF4-FFF2-40B4-BE49-F238E27FC236}">
                  <a16:creationId xmlns:a16="http://schemas.microsoft.com/office/drawing/2014/main" id="{98119912-3640-35C2-C150-EB16CBBC9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9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10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10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10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5" name="Freeform 534">
              <a:extLst>
                <a:ext uri="{FF2B5EF4-FFF2-40B4-BE49-F238E27FC236}">
                  <a16:creationId xmlns:a16="http://schemas.microsoft.com/office/drawing/2014/main" id="{E24F1E26-0005-8CD6-CAC4-58B965EA0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" y="254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6" name="Freeform 535">
              <a:extLst>
                <a:ext uri="{FF2B5EF4-FFF2-40B4-BE49-F238E27FC236}">
                  <a16:creationId xmlns:a16="http://schemas.microsoft.com/office/drawing/2014/main" id="{8757F011-5E26-F603-21A2-22A17EEA2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" y="254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7" name="Freeform 536">
              <a:extLst>
                <a:ext uri="{FF2B5EF4-FFF2-40B4-BE49-F238E27FC236}">
                  <a16:creationId xmlns:a16="http://schemas.microsoft.com/office/drawing/2014/main" id="{1F26F5CF-DCD9-AEEA-2BC6-2EB40E891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8" name="Freeform 537">
              <a:extLst>
                <a:ext uri="{FF2B5EF4-FFF2-40B4-BE49-F238E27FC236}">
                  <a16:creationId xmlns:a16="http://schemas.microsoft.com/office/drawing/2014/main" id="{031C413A-EDA8-0C74-E6F8-31B654EC0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69" name="Freeform 538">
              <a:extLst>
                <a:ext uri="{FF2B5EF4-FFF2-40B4-BE49-F238E27FC236}">
                  <a16:creationId xmlns:a16="http://schemas.microsoft.com/office/drawing/2014/main" id="{E9B11ECB-D36C-A69D-557D-8F642143E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0" name="Freeform 539">
              <a:extLst>
                <a:ext uri="{FF2B5EF4-FFF2-40B4-BE49-F238E27FC236}">
                  <a16:creationId xmlns:a16="http://schemas.microsoft.com/office/drawing/2014/main" id="{C96302A4-3F8C-F963-5C29-42D6FAE0AF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1" name="Freeform 540">
              <a:extLst>
                <a:ext uri="{FF2B5EF4-FFF2-40B4-BE49-F238E27FC236}">
                  <a16:creationId xmlns:a16="http://schemas.microsoft.com/office/drawing/2014/main" id="{7A2203A1-A864-4EAE-2444-21A12F276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2" name="Freeform 541">
              <a:extLst>
                <a:ext uri="{FF2B5EF4-FFF2-40B4-BE49-F238E27FC236}">
                  <a16:creationId xmlns:a16="http://schemas.microsoft.com/office/drawing/2014/main" id="{F269E107-343B-212D-9058-AE4B3F0E8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3" name="Freeform 542">
              <a:extLst>
                <a:ext uri="{FF2B5EF4-FFF2-40B4-BE49-F238E27FC236}">
                  <a16:creationId xmlns:a16="http://schemas.microsoft.com/office/drawing/2014/main" id="{B3A6A1C2-EAAD-1D72-8FA6-D97A31E35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4" name="Freeform 543">
              <a:extLst>
                <a:ext uri="{FF2B5EF4-FFF2-40B4-BE49-F238E27FC236}">
                  <a16:creationId xmlns:a16="http://schemas.microsoft.com/office/drawing/2014/main" id="{82B7CEE2-E912-922D-28E6-25A792F99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6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6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5" name="Freeform 544">
              <a:extLst>
                <a:ext uri="{FF2B5EF4-FFF2-40B4-BE49-F238E27FC236}">
                  <a16:creationId xmlns:a16="http://schemas.microsoft.com/office/drawing/2014/main" id="{C0A90D2C-8D42-F35E-1CB2-C94264260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6" name="Freeform 545">
              <a:extLst>
                <a:ext uri="{FF2B5EF4-FFF2-40B4-BE49-F238E27FC236}">
                  <a16:creationId xmlns:a16="http://schemas.microsoft.com/office/drawing/2014/main" id="{B7435243-E5E4-95A1-96E4-9725B96D60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7" name="Freeform 546">
              <a:extLst>
                <a:ext uri="{FF2B5EF4-FFF2-40B4-BE49-F238E27FC236}">
                  <a16:creationId xmlns:a16="http://schemas.microsoft.com/office/drawing/2014/main" id="{81255D1A-DC7A-E455-CA04-E0C8B1FA4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8" name="Freeform 547">
              <a:extLst>
                <a:ext uri="{FF2B5EF4-FFF2-40B4-BE49-F238E27FC236}">
                  <a16:creationId xmlns:a16="http://schemas.microsoft.com/office/drawing/2014/main" id="{5602A7BD-FA97-A674-410E-75E5484E4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79" name="Freeform 548">
              <a:extLst>
                <a:ext uri="{FF2B5EF4-FFF2-40B4-BE49-F238E27FC236}">
                  <a16:creationId xmlns:a16="http://schemas.microsoft.com/office/drawing/2014/main" id="{6D09D15C-6335-03E2-0CEA-179AA4401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0" name="Freeform 549">
              <a:extLst>
                <a:ext uri="{FF2B5EF4-FFF2-40B4-BE49-F238E27FC236}">
                  <a16:creationId xmlns:a16="http://schemas.microsoft.com/office/drawing/2014/main" id="{0115177D-8860-EEEA-62DE-E098271E1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1" name="Freeform 550">
              <a:extLst>
                <a:ext uri="{FF2B5EF4-FFF2-40B4-BE49-F238E27FC236}">
                  <a16:creationId xmlns:a16="http://schemas.microsoft.com/office/drawing/2014/main" id="{8A26456E-E3DC-ACF5-DF09-997FAF857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2" name="Freeform 551">
              <a:extLst>
                <a:ext uri="{FF2B5EF4-FFF2-40B4-BE49-F238E27FC236}">
                  <a16:creationId xmlns:a16="http://schemas.microsoft.com/office/drawing/2014/main" id="{A62C4F27-20C1-E9C7-57AE-F459C6EE14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3" name="Freeform 552">
              <a:extLst>
                <a:ext uri="{FF2B5EF4-FFF2-40B4-BE49-F238E27FC236}">
                  <a16:creationId xmlns:a16="http://schemas.microsoft.com/office/drawing/2014/main" id="{84AE9680-296F-A443-D0A4-2B289ADA9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512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0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0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7 h 28"/>
                <a:gd name="T24" fmla="*/ 3 w 24"/>
                <a:gd name="T25" fmla="*/ 3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3 h 28"/>
                <a:gd name="T34" fmla="*/ 24 w 24"/>
                <a:gd name="T35" fmla="*/ 7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4" name="Freeform 553">
              <a:extLst>
                <a:ext uri="{FF2B5EF4-FFF2-40B4-BE49-F238E27FC236}">
                  <a16:creationId xmlns:a16="http://schemas.microsoft.com/office/drawing/2014/main" id="{1254125B-C745-A500-682D-15188AB349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" y="2512"/>
              <a:ext cx="24" cy="28"/>
            </a:xfrm>
            <a:custGeom>
              <a:avLst/>
              <a:gdLst>
                <a:gd name="T0" fmla="*/ 24 w 24"/>
                <a:gd name="T1" fmla="*/ 13 h 28"/>
                <a:gd name="T2" fmla="*/ 24 w 24"/>
                <a:gd name="T3" fmla="*/ 13 h 28"/>
                <a:gd name="T4" fmla="*/ 24 w 24"/>
                <a:gd name="T5" fmla="*/ 20 h 28"/>
                <a:gd name="T6" fmla="*/ 20 w 24"/>
                <a:gd name="T7" fmla="*/ 24 h 28"/>
                <a:gd name="T8" fmla="*/ 16 w 24"/>
                <a:gd name="T9" fmla="*/ 26 h 28"/>
                <a:gd name="T10" fmla="*/ 13 w 24"/>
                <a:gd name="T11" fmla="*/ 28 h 28"/>
                <a:gd name="T12" fmla="*/ 7 w 24"/>
                <a:gd name="T13" fmla="*/ 26 h 28"/>
                <a:gd name="T14" fmla="*/ 3 w 24"/>
                <a:gd name="T15" fmla="*/ 24 h 28"/>
                <a:gd name="T16" fmla="*/ 0 w 24"/>
                <a:gd name="T17" fmla="*/ 20 h 28"/>
                <a:gd name="T18" fmla="*/ 0 w 24"/>
                <a:gd name="T19" fmla="*/ 13 h 28"/>
                <a:gd name="T20" fmla="*/ 0 w 24"/>
                <a:gd name="T21" fmla="*/ 13 h 28"/>
                <a:gd name="T22" fmla="*/ 0 w 24"/>
                <a:gd name="T23" fmla="*/ 7 h 28"/>
                <a:gd name="T24" fmla="*/ 3 w 24"/>
                <a:gd name="T25" fmla="*/ 3 h 28"/>
                <a:gd name="T26" fmla="*/ 7 w 24"/>
                <a:gd name="T27" fmla="*/ 2 h 28"/>
                <a:gd name="T28" fmla="*/ 13 w 24"/>
                <a:gd name="T29" fmla="*/ 0 h 28"/>
                <a:gd name="T30" fmla="*/ 16 w 24"/>
                <a:gd name="T31" fmla="*/ 2 h 28"/>
                <a:gd name="T32" fmla="*/ 20 w 24"/>
                <a:gd name="T33" fmla="*/ 3 h 28"/>
                <a:gd name="T34" fmla="*/ 24 w 24"/>
                <a:gd name="T35" fmla="*/ 7 h 28"/>
                <a:gd name="T36" fmla="*/ 24 w 24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8">
                  <a:moveTo>
                    <a:pt x="24" y="13"/>
                  </a:moveTo>
                  <a:lnTo>
                    <a:pt x="24" y="13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0" y="3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5" name="Freeform 554">
              <a:extLst>
                <a:ext uri="{FF2B5EF4-FFF2-40B4-BE49-F238E27FC236}">
                  <a16:creationId xmlns:a16="http://schemas.microsoft.com/office/drawing/2014/main" id="{D74F8F88-5835-5292-4BCE-38BC308D4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248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6" name="Freeform 555">
              <a:extLst>
                <a:ext uri="{FF2B5EF4-FFF2-40B4-BE49-F238E27FC236}">
                  <a16:creationId xmlns:a16="http://schemas.microsoft.com/office/drawing/2014/main" id="{ADB438C1-883B-6D31-7EA4-570B7F060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7" y="248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7" name="Freeform 556">
              <a:extLst>
                <a:ext uri="{FF2B5EF4-FFF2-40B4-BE49-F238E27FC236}">
                  <a16:creationId xmlns:a16="http://schemas.microsoft.com/office/drawing/2014/main" id="{FF983ED8-1F4C-CD0B-1D05-7D253B542C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515"/>
              <a:ext cx="25" cy="28"/>
            </a:xfrm>
            <a:custGeom>
              <a:avLst/>
              <a:gdLst>
                <a:gd name="T0" fmla="*/ 25 w 25"/>
                <a:gd name="T1" fmla="*/ 15 h 28"/>
                <a:gd name="T2" fmla="*/ 25 w 25"/>
                <a:gd name="T3" fmla="*/ 15 h 28"/>
                <a:gd name="T4" fmla="*/ 25 w 25"/>
                <a:gd name="T5" fmla="*/ 21 h 28"/>
                <a:gd name="T6" fmla="*/ 21 w 25"/>
                <a:gd name="T7" fmla="*/ 25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5 h 28"/>
                <a:gd name="T16" fmla="*/ 0 w 25"/>
                <a:gd name="T17" fmla="*/ 21 h 28"/>
                <a:gd name="T18" fmla="*/ 0 w 25"/>
                <a:gd name="T19" fmla="*/ 15 h 28"/>
                <a:gd name="T20" fmla="*/ 0 w 25"/>
                <a:gd name="T21" fmla="*/ 15 h 28"/>
                <a:gd name="T22" fmla="*/ 0 w 25"/>
                <a:gd name="T23" fmla="*/ 8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8 h 28"/>
                <a:gd name="T36" fmla="*/ 25 w 25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5"/>
                  </a:moveTo>
                  <a:lnTo>
                    <a:pt x="25" y="15"/>
                  </a:lnTo>
                  <a:lnTo>
                    <a:pt x="25" y="21"/>
                  </a:lnTo>
                  <a:lnTo>
                    <a:pt x="21" y="25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5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8" name="Freeform 557">
              <a:extLst>
                <a:ext uri="{FF2B5EF4-FFF2-40B4-BE49-F238E27FC236}">
                  <a16:creationId xmlns:a16="http://schemas.microsoft.com/office/drawing/2014/main" id="{0E84FD33-A2CA-72B7-8FE1-BD084D381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" y="2515"/>
              <a:ext cx="25" cy="28"/>
            </a:xfrm>
            <a:custGeom>
              <a:avLst/>
              <a:gdLst>
                <a:gd name="T0" fmla="*/ 25 w 25"/>
                <a:gd name="T1" fmla="*/ 15 h 28"/>
                <a:gd name="T2" fmla="*/ 25 w 25"/>
                <a:gd name="T3" fmla="*/ 15 h 28"/>
                <a:gd name="T4" fmla="*/ 25 w 25"/>
                <a:gd name="T5" fmla="*/ 21 h 28"/>
                <a:gd name="T6" fmla="*/ 21 w 25"/>
                <a:gd name="T7" fmla="*/ 25 h 28"/>
                <a:gd name="T8" fmla="*/ 17 w 25"/>
                <a:gd name="T9" fmla="*/ 26 h 28"/>
                <a:gd name="T10" fmla="*/ 13 w 25"/>
                <a:gd name="T11" fmla="*/ 28 h 28"/>
                <a:gd name="T12" fmla="*/ 8 w 25"/>
                <a:gd name="T13" fmla="*/ 26 h 28"/>
                <a:gd name="T14" fmla="*/ 4 w 25"/>
                <a:gd name="T15" fmla="*/ 25 h 28"/>
                <a:gd name="T16" fmla="*/ 0 w 25"/>
                <a:gd name="T17" fmla="*/ 21 h 28"/>
                <a:gd name="T18" fmla="*/ 0 w 25"/>
                <a:gd name="T19" fmla="*/ 15 h 28"/>
                <a:gd name="T20" fmla="*/ 0 w 25"/>
                <a:gd name="T21" fmla="*/ 15 h 28"/>
                <a:gd name="T22" fmla="*/ 0 w 25"/>
                <a:gd name="T23" fmla="*/ 8 h 28"/>
                <a:gd name="T24" fmla="*/ 4 w 25"/>
                <a:gd name="T25" fmla="*/ 4 h 28"/>
                <a:gd name="T26" fmla="*/ 8 w 25"/>
                <a:gd name="T27" fmla="*/ 2 h 28"/>
                <a:gd name="T28" fmla="*/ 13 w 25"/>
                <a:gd name="T29" fmla="*/ 0 h 28"/>
                <a:gd name="T30" fmla="*/ 17 w 25"/>
                <a:gd name="T31" fmla="*/ 2 h 28"/>
                <a:gd name="T32" fmla="*/ 21 w 25"/>
                <a:gd name="T33" fmla="*/ 4 h 28"/>
                <a:gd name="T34" fmla="*/ 25 w 25"/>
                <a:gd name="T35" fmla="*/ 8 h 28"/>
                <a:gd name="T36" fmla="*/ 25 w 25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8">
                  <a:moveTo>
                    <a:pt x="25" y="15"/>
                  </a:moveTo>
                  <a:lnTo>
                    <a:pt x="25" y="15"/>
                  </a:lnTo>
                  <a:lnTo>
                    <a:pt x="25" y="21"/>
                  </a:lnTo>
                  <a:lnTo>
                    <a:pt x="21" y="25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4" y="25"/>
                  </a:lnTo>
                  <a:lnTo>
                    <a:pt x="0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5" y="8"/>
                  </a:lnTo>
                  <a:lnTo>
                    <a:pt x="25" y="15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89" name="Freeform 558">
              <a:extLst>
                <a:ext uri="{FF2B5EF4-FFF2-40B4-BE49-F238E27FC236}">
                  <a16:creationId xmlns:a16="http://schemas.microsoft.com/office/drawing/2014/main" id="{E5DB62A4-EDB1-9118-2F2C-5B0DCAC1F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0" name="Freeform 559">
              <a:extLst>
                <a:ext uri="{FF2B5EF4-FFF2-40B4-BE49-F238E27FC236}">
                  <a16:creationId xmlns:a16="http://schemas.microsoft.com/office/drawing/2014/main" id="{04B212FF-7E28-DCAA-5717-F599D1B1A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1" name="Freeform 560">
              <a:extLst>
                <a:ext uri="{FF2B5EF4-FFF2-40B4-BE49-F238E27FC236}">
                  <a16:creationId xmlns:a16="http://schemas.microsoft.com/office/drawing/2014/main" id="{12B88E68-82DF-157C-3A4F-50501B81D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2" name="Freeform 561">
              <a:extLst>
                <a:ext uri="{FF2B5EF4-FFF2-40B4-BE49-F238E27FC236}">
                  <a16:creationId xmlns:a16="http://schemas.microsoft.com/office/drawing/2014/main" id="{6D28E610-9ACF-0B5C-1C66-4FF9BD46F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3" name="Freeform 562">
              <a:extLst>
                <a:ext uri="{FF2B5EF4-FFF2-40B4-BE49-F238E27FC236}">
                  <a16:creationId xmlns:a16="http://schemas.microsoft.com/office/drawing/2014/main" id="{D150AD20-0DA3-554B-73CD-B7A346C39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4" name="Freeform 563">
              <a:extLst>
                <a:ext uri="{FF2B5EF4-FFF2-40B4-BE49-F238E27FC236}">
                  <a16:creationId xmlns:a16="http://schemas.microsoft.com/office/drawing/2014/main" id="{2E9DE6C1-3BB2-60C7-EADD-773A136B1B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0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1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8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8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1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5" name="Freeform 564">
              <a:extLst>
                <a:ext uri="{FF2B5EF4-FFF2-40B4-BE49-F238E27FC236}">
                  <a16:creationId xmlns:a16="http://schemas.microsoft.com/office/drawing/2014/main" id="{A1736BFB-6751-23AE-D5ED-3AB3978CC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6" name="Freeform 565">
              <a:extLst>
                <a:ext uri="{FF2B5EF4-FFF2-40B4-BE49-F238E27FC236}">
                  <a16:creationId xmlns:a16="http://schemas.microsoft.com/office/drawing/2014/main" id="{AACC4298-C703-F8E0-094D-286C2264E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7" name="Freeform 566">
              <a:extLst>
                <a:ext uri="{FF2B5EF4-FFF2-40B4-BE49-F238E27FC236}">
                  <a16:creationId xmlns:a16="http://schemas.microsoft.com/office/drawing/2014/main" id="{36F7173A-6642-C5B2-81CE-F246C7D0B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8" name="Freeform 567">
              <a:extLst>
                <a:ext uri="{FF2B5EF4-FFF2-40B4-BE49-F238E27FC236}">
                  <a16:creationId xmlns:a16="http://schemas.microsoft.com/office/drawing/2014/main" id="{A2436126-851E-A7F0-BCBF-807A6EAFF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1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1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399" name="Freeform 568">
              <a:extLst>
                <a:ext uri="{FF2B5EF4-FFF2-40B4-BE49-F238E27FC236}">
                  <a16:creationId xmlns:a16="http://schemas.microsoft.com/office/drawing/2014/main" id="{01EB613E-872A-E57B-3CE5-F4716A559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0" name="Freeform 569">
              <a:extLst>
                <a:ext uri="{FF2B5EF4-FFF2-40B4-BE49-F238E27FC236}">
                  <a16:creationId xmlns:a16="http://schemas.microsoft.com/office/drawing/2014/main" id="{1E543DCD-942A-AD61-360D-DE858852C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9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3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1" name="Freeform 570">
              <a:extLst>
                <a:ext uri="{FF2B5EF4-FFF2-40B4-BE49-F238E27FC236}">
                  <a16:creationId xmlns:a16="http://schemas.microsoft.com/office/drawing/2014/main" id="{4C743DB3-A651-3CB3-C852-3E6E3C173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60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2" name="Freeform 571">
              <a:extLst>
                <a:ext uri="{FF2B5EF4-FFF2-40B4-BE49-F238E27FC236}">
                  <a16:creationId xmlns:a16="http://schemas.microsoft.com/office/drawing/2014/main" id="{F8CAB800-F2F3-3FB5-C926-8B37EF616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260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3 h 26"/>
                <a:gd name="T26" fmla="*/ 7 w 26"/>
                <a:gd name="T27" fmla="*/ 1 h 26"/>
                <a:gd name="T28" fmla="*/ 13 w 26"/>
                <a:gd name="T29" fmla="*/ 0 h 26"/>
                <a:gd name="T30" fmla="*/ 19 w 26"/>
                <a:gd name="T31" fmla="*/ 1 h 26"/>
                <a:gd name="T32" fmla="*/ 22 w 26"/>
                <a:gd name="T33" fmla="*/ 3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9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3" name="Freeform 572">
              <a:extLst>
                <a:ext uri="{FF2B5EF4-FFF2-40B4-BE49-F238E27FC236}">
                  <a16:creationId xmlns:a16="http://schemas.microsoft.com/office/drawing/2014/main" id="{C3D385CA-7C50-1E19-C39A-2DE94475A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580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5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5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4" name="Freeform 573">
              <a:extLst>
                <a:ext uri="{FF2B5EF4-FFF2-40B4-BE49-F238E27FC236}">
                  <a16:creationId xmlns:a16="http://schemas.microsoft.com/office/drawing/2014/main" id="{FE75012C-7A31-ABE6-21E5-60A6C66A8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" y="2580"/>
              <a:ext cx="26" cy="28"/>
            </a:xfrm>
            <a:custGeom>
              <a:avLst/>
              <a:gdLst>
                <a:gd name="T0" fmla="*/ 26 w 26"/>
                <a:gd name="T1" fmla="*/ 13 h 28"/>
                <a:gd name="T2" fmla="*/ 26 w 26"/>
                <a:gd name="T3" fmla="*/ 13 h 28"/>
                <a:gd name="T4" fmla="*/ 24 w 26"/>
                <a:gd name="T5" fmla="*/ 21 h 28"/>
                <a:gd name="T6" fmla="*/ 22 w 26"/>
                <a:gd name="T7" fmla="*/ 25 h 28"/>
                <a:gd name="T8" fmla="*/ 18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5 h 28"/>
                <a:gd name="T16" fmla="*/ 2 w 26"/>
                <a:gd name="T17" fmla="*/ 21 h 28"/>
                <a:gd name="T18" fmla="*/ 0 w 26"/>
                <a:gd name="T19" fmla="*/ 13 h 28"/>
                <a:gd name="T20" fmla="*/ 0 w 26"/>
                <a:gd name="T21" fmla="*/ 13 h 28"/>
                <a:gd name="T22" fmla="*/ 2 w 26"/>
                <a:gd name="T23" fmla="*/ 8 h 28"/>
                <a:gd name="T24" fmla="*/ 3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8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3"/>
                  </a:moveTo>
                  <a:lnTo>
                    <a:pt x="26" y="13"/>
                  </a:lnTo>
                  <a:lnTo>
                    <a:pt x="24" y="21"/>
                  </a:lnTo>
                  <a:lnTo>
                    <a:pt x="22" y="25"/>
                  </a:lnTo>
                  <a:lnTo>
                    <a:pt x="18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5"/>
                  </a:lnTo>
                  <a:lnTo>
                    <a:pt x="2" y="2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5" name="Freeform 574">
              <a:extLst>
                <a:ext uri="{FF2B5EF4-FFF2-40B4-BE49-F238E27FC236}">
                  <a16:creationId xmlns:a16="http://schemas.microsoft.com/office/drawing/2014/main" id="{A5DEB4D4-7682-2C1D-0A21-123DD88A0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258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6" name="Freeform 575">
              <a:extLst>
                <a:ext uri="{FF2B5EF4-FFF2-40B4-BE49-F238E27FC236}">
                  <a16:creationId xmlns:a16="http://schemas.microsoft.com/office/drawing/2014/main" id="{36C735D0-4586-6691-F483-AD59BAF15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2588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4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9 w 26"/>
                <a:gd name="T31" fmla="*/ 2 h 26"/>
                <a:gd name="T32" fmla="*/ 23 w 26"/>
                <a:gd name="T33" fmla="*/ 4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9" y="2"/>
                  </a:lnTo>
                  <a:lnTo>
                    <a:pt x="23" y="4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7" name="Freeform 576">
              <a:extLst>
                <a:ext uri="{FF2B5EF4-FFF2-40B4-BE49-F238E27FC236}">
                  <a16:creationId xmlns:a16="http://schemas.microsoft.com/office/drawing/2014/main" id="{CCC14A05-4231-077D-DAB3-908A96C1C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54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8" name="Freeform 577">
              <a:extLst>
                <a:ext uri="{FF2B5EF4-FFF2-40B4-BE49-F238E27FC236}">
                  <a16:creationId xmlns:a16="http://schemas.microsoft.com/office/drawing/2014/main" id="{6EE0D1BF-3326-85BA-9ED1-28B1FBD81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" y="254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9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9 w 26"/>
                <a:gd name="T31" fmla="*/ 0 h 26"/>
                <a:gd name="T32" fmla="*/ 22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09" name="Freeform 578">
              <a:extLst>
                <a:ext uri="{FF2B5EF4-FFF2-40B4-BE49-F238E27FC236}">
                  <a16:creationId xmlns:a16="http://schemas.microsoft.com/office/drawing/2014/main" id="{481B37B9-FA1A-0BE9-BEF0-5DD065CCB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519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7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2 w 26"/>
                <a:gd name="T23" fmla="*/ 8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7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0" name="Freeform 579">
              <a:extLst>
                <a:ext uri="{FF2B5EF4-FFF2-40B4-BE49-F238E27FC236}">
                  <a16:creationId xmlns:a16="http://schemas.microsoft.com/office/drawing/2014/main" id="{3C974FBC-0747-FECD-387F-8E0B2B5400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" y="2519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1 h 28"/>
                <a:gd name="T6" fmla="*/ 22 w 26"/>
                <a:gd name="T7" fmla="*/ 24 h 28"/>
                <a:gd name="T8" fmla="*/ 17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4 w 26"/>
                <a:gd name="T15" fmla="*/ 24 h 28"/>
                <a:gd name="T16" fmla="*/ 2 w 26"/>
                <a:gd name="T17" fmla="*/ 21 h 28"/>
                <a:gd name="T18" fmla="*/ 0 w 26"/>
                <a:gd name="T19" fmla="*/ 15 h 28"/>
                <a:gd name="T20" fmla="*/ 0 w 26"/>
                <a:gd name="T21" fmla="*/ 15 h 28"/>
                <a:gd name="T22" fmla="*/ 2 w 26"/>
                <a:gd name="T23" fmla="*/ 8 h 28"/>
                <a:gd name="T24" fmla="*/ 4 w 26"/>
                <a:gd name="T25" fmla="*/ 4 h 28"/>
                <a:gd name="T26" fmla="*/ 7 w 26"/>
                <a:gd name="T27" fmla="*/ 2 h 28"/>
                <a:gd name="T28" fmla="*/ 13 w 26"/>
                <a:gd name="T29" fmla="*/ 0 h 28"/>
                <a:gd name="T30" fmla="*/ 17 w 26"/>
                <a:gd name="T31" fmla="*/ 2 h 28"/>
                <a:gd name="T32" fmla="*/ 22 w 26"/>
                <a:gd name="T33" fmla="*/ 4 h 28"/>
                <a:gd name="T34" fmla="*/ 24 w 26"/>
                <a:gd name="T35" fmla="*/ 8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1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6" y="15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1" name="Freeform 580">
              <a:extLst>
                <a:ext uri="{FF2B5EF4-FFF2-40B4-BE49-F238E27FC236}">
                  <a16:creationId xmlns:a16="http://schemas.microsoft.com/office/drawing/2014/main" id="{16133D51-8DCF-DB50-6562-CC0678EB1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525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0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2 w 26"/>
                <a:gd name="T17" fmla="*/ 20 h 28"/>
                <a:gd name="T18" fmla="*/ 0 w 26"/>
                <a:gd name="T19" fmla="*/ 15 h 28"/>
                <a:gd name="T20" fmla="*/ 0 w 26"/>
                <a:gd name="T21" fmla="*/ 15 h 28"/>
                <a:gd name="T22" fmla="*/ 2 w 26"/>
                <a:gd name="T23" fmla="*/ 9 h 28"/>
                <a:gd name="T24" fmla="*/ 3 w 26"/>
                <a:gd name="T25" fmla="*/ 3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3 h 28"/>
                <a:gd name="T34" fmla="*/ 24 w 26"/>
                <a:gd name="T35" fmla="*/ 9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9"/>
                  </a:lnTo>
                  <a:lnTo>
                    <a:pt x="3" y="3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3"/>
                  </a:lnTo>
                  <a:lnTo>
                    <a:pt x="24" y="9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2" name="Freeform 581">
              <a:extLst>
                <a:ext uri="{FF2B5EF4-FFF2-40B4-BE49-F238E27FC236}">
                  <a16:creationId xmlns:a16="http://schemas.microsoft.com/office/drawing/2014/main" id="{4C8637A7-715A-5B50-4962-3989C2BA2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0" y="2525"/>
              <a:ext cx="26" cy="28"/>
            </a:xfrm>
            <a:custGeom>
              <a:avLst/>
              <a:gdLst>
                <a:gd name="T0" fmla="*/ 26 w 26"/>
                <a:gd name="T1" fmla="*/ 15 h 28"/>
                <a:gd name="T2" fmla="*/ 26 w 26"/>
                <a:gd name="T3" fmla="*/ 15 h 28"/>
                <a:gd name="T4" fmla="*/ 24 w 26"/>
                <a:gd name="T5" fmla="*/ 20 h 28"/>
                <a:gd name="T6" fmla="*/ 22 w 26"/>
                <a:gd name="T7" fmla="*/ 24 h 28"/>
                <a:gd name="T8" fmla="*/ 16 w 26"/>
                <a:gd name="T9" fmla="*/ 26 h 28"/>
                <a:gd name="T10" fmla="*/ 13 w 26"/>
                <a:gd name="T11" fmla="*/ 28 h 28"/>
                <a:gd name="T12" fmla="*/ 7 w 26"/>
                <a:gd name="T13" fmla="*/ 26 h 28"/>
                <a:gd name="T14" fmla="*/ 3 w 26"/>
                <a:gd name="T15" fmla="*/ 24 h 28"/>
                <a:gd name="T16" fmla="*/ 2 w 26"/>
                <a:gd name="T17" fmla="*/ 20 h 28"/>
                <a:gd name="T18" fmla="*/ 0 w 26"/>
                <a:gd name="T19" fmla="*/ 15 h 28"/>
                <a:gd name="T20" fmla="*/ 0 w 26"/>
                <a:gd name="T21" fmla="*/ 15 h 28"/>
                <a:gd name="T22" fmla="*/ 2 w 26"/>
                <a:gd name="T23" fmla="*/ 9 h 28"/>
                <a:gd name="T24" fmla="*/ 3 w 26"/>
                <a:gd name="T25" fmla="*/ 3 h 28"/>
                <a:gd name="T26" fmla="*/ 7 w 26"/>
                <a:gd name="T27" fmla="*/ 2 h 28"/>
                <a:gd name="T28" fmla="*/ 13 w 26"/>
                <a:gd name="T29" fmla="*/ 0 h 28"/>
                <a:gd name="T30" fmla="*/ 16 w 26"/>
                <a:gd name="T31" fmla="*/ 2 h 28"/>
                <a:gd name="T32" fmla="*/ 22 w 26"/>
                <a:gd name="T33" fmla="*/ 3 h 28"/>
                <a:gd name="T34" fmla="*/ 24 w 26"/>
                <a:gd name="T35" fmla="*/ 9 h 28"/>
                <a:gd name="T36" fmla="*/ 26 w 26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6" y="15"/>
                  </a:moveTo>
                  <a:lnTo>
                    <a:pt x="26" y="15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8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2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9"/>
                  </a:lnTo>
                  <a:lnTo>
                    <a:pt x="3" y="3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3"/>
                  </a:lnTo>
                  <a:lnTo>
                    <a:pt x="24" y="9"/>
                  </a:lnTo>
                  <a:lnTo>
                    <a:pt x="26" y="15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3" name="Freeform 582">
              <a:extLst>
                <a:ext uri="{FF2B5EF4-FFF2-40B4-BE49-F238E27FC236}">
                  <a16:creationId xmlns:a16="http://schemas.microsoft.com/office/drawing/2014/main" id="{9D8B1CE2-C9AC-835F-7726-9D9BC5C57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4" name="Freeform 583">
              <a:extLst>
                <a:ext uri="{FF2B5EF4-FFF2-40B4-BE49-F238E27FC236}">
                  <a16:creationId xmlns:a16="http://schemas.microsoft.com/office/drawing/2014/main" id="{E278D308-75FD-E05A-D679-290FB01F1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9 h 26"/>
                <a:gd name="T6" fmla="*/ 23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2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5" name="Freeform 584">
              <a:extLst>
                <a:ext uri="{FF2B5EF4-FFF2-40B4-BE49-F238E27FC236}">
                  <a16:creationId xmlns:a16="http://schemas.microsoft.com/office/drawing/2014/main" id="{F7FC6ED7-9A6D-3998-0FA7-4F57E2B56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254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6" name="Freeform 585">
              <a:extLst>
                <a:ext uri="{FF2B5EF4-FFF2-40B4-BE49-F238E27FC236}">
                  <a16:creationId xmlns:a16="http://schemas.microsoft.com/office/drawing/2014/main" id="{38C106C2-451D-93C4-5125-403ADA7866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9" y="254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7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7" name="Freeform 586">
              <a:extLst>
                <a:ext uri="{FF2B5EF4-FFF2-40B4-BE49-F238E27FC236}">
                  <a16:creationId xmlns:a16="http://schemas.microsoft.com/office/drawing/2014/main" id="{42A1D90E-B44B-FBA6-1530-71B63D720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" y="2436"/>
              <a:ext cx="26" cy="27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4 w 26"/>
                <a:gd name="T5" fmla="*/ 20 h 27"/>
                <a:gd name="T6" fmla="*/ 22 w 26"/>
                <a:gd name="T7" fmla="*/ 24 h 27"/>
                <a:gd name="T8" fmla="*/ 16 w 26"/>
                <a:gd name="T9" fmla="*/ 26 h 27"/>
                <a:gd name="T10" fmla="*/ 13 w 26"/>
                <a:gd name="T11" fmla="*/ 27 h 27"/>
                <a:gd name="T12" fmla="*/ 7 w 26"/>
                <a:gd name="T13" fmla="*/ 26 h 27"/>
                <a:gd name="T14" fmla="*/ 3 w 26"/>
                <a:gd name="T15" fmla="*/ 24 h 27"/>
                <a:gd name="T16" fmla="*/ 1 w 26"/>
                <a:gd name="T17" fmla="*/ 20 h 27"/>
                <a:gd name="T18" fmla="*/ 0 w 26"/>
                <a:gd name="T19" fmla="*/ 13 h 27"/>
                <a:gd name="T20" fmla="*/ 0 w 26"/>
                <a:gd name="T21" fmla="*/ 13 h 27"/>
                <a:gd name="T22" fmla="*/ 1 w 26"/>
                <a:gd name="T23" fmla="*/ 7 h 27"/>
                <a:gd name="T24" fmla="*/ 3 w 26"/>
                <a:gd name="T25" fmla="*/ 3 h 27"/>
                <a:gd name="T26" fmla="*/ 7 w 26"/>
                <a:gd name="T27" fmla="*/ 1 h 27"/>
                <a:gd name="T28" fmla="*/ 13 w 26"/>
                <a:gd name="T29" fmla="*/ 0 h 27"/>
                <a:gd name="T30" fmla="*/ 16 w 26"/>
                <a:gd name="T31" fmla="*/ 1 h 27"/>
                <a:gd name="T32" fmla="*/ 22 w 26"/>
                <a:gd name="T33" fmla="*/ 3 h 27"/>
                <a:gd name="T34" fmla="*/ 24 w 26"/>
                <a:gd name="T35" fmla="*/ 7 h 27"/>
                <a:gd name="T36" fmla="*/ 26 w 26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7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6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8" name="Freeform 587">
              <a:extLst>
                <a:ext uri="{FF2B5EF4-FFF2-40B4-BE49-F238E27FC236}">
                  <a16:creationId xmlns:a16="http://schemas.microsoft.com/office/drawing/2014/main" id="{FB33F751-42A1-8BF2-7594-63353F6C0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9" y="2436"/>
              <a:ext cx="26" cy="27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4 w 26"/>
                <a:gd name="T5" fmla="*/ 20 h 27"/>
                <a:gd name="T6" fmla="*/ 22 w 26"/>
                <a:gd name="T7" fmla="*/ 24 h 27"/>
                <a:gd name="T8" fmla="*/ 16 w 26"/>
                <a:gd name="T9" fmla="*/ 26 h 27"/>
                <a:gd name="T10" fmla="*/ 13 w 26"/>
                <a:gd name="T11" fmla="*/ 27 h 27"/>
                <a:gd name="T12" fmla="*/ 7 w 26"/>
                <a:gd name="T13" fmla="*/ 26 h 27"/>
                <a:gd name="T14" fmla="*/ 3 w 26"/>
                <a:gd name="T15" fmla="*/ 24 h 27"/>
                <a:gd name="T16" fmla="*/ 1 w 26"/>
                <a:gd name="T17" fmla="*/ 20 h 27"/>
                <a:gd name="T18" fmla="*/ 0 w 26"/>
                <a:gd name="T19" fmla="*/ 13 h 27"/>
                <a:gd name="T20" fmla="*/ 0 w 26"/>
                <a:gd name="T21" fmla="*/ 13 h 27"/>
                <a:gd name="T22" fmla="*/ 1 w 26"/>
                <a:gd name="T23" fmla="*/ 7 h 27"/>
                <a:gd name="T24" fmla="*/ 3 w 26"/>
                <a:gd name="T25" fmla="*/ 3 h 27"/>
                <a:gd name="T26" fmla="*/ 7 w 26"/>
                <a:gd name="T27" fmla="*/ 1 h 27"/>
                <a:gd name="T28" fmla="*/ 13 w 26"/>
                <a:gd name="T29" fmla="*/ 0 h 27"/>
                <a:gd name="T30" fmla="*/ 16 w 26"/>
                <a:gd name="T31" fmla="*/ 1 h 27"/>
                <a:gd name="T32" fmla="*/ 22 w 26"/>
                <a:gd name="T33" fmla="*/ 3 h 27"/>
                <a:gd name="T34" fmla="*/ 24 w 26"/>
                <a:gd name="T35" fmla="*/ 7 h 27"/>
                <a:gd name="T36" fmla="*/ 26 w 26"/>
                <a:gd name="T37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7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1" y="2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6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19" name="Freeform 588">
              <a:extLst>
                <a:ext uri="{FF2B5EF4-FFF2-40B4-BE49-F238E27FC236}">
                  <a16:creationId xmlns:a16="http://schemas.microsoft.com/office/drawing/2014/main" id="{734E22BA-DE14-CF8A-0F92-7F286621E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540"/>
              <a:ext cx="26" cy="27"/>
            </a:xfrm>
            <a:custGeom>
              <a:avLst/>
              <a:gdLst>
                <a:gd name="T0" fmla="*/ 26 w 26"/>
                <a:gd name="T1" fmla="*/ 14 h 27"/>
                <a:gd name="T2" fmla="*/ 26 w 26"/>
                <a:gd name="T3" fmla="*/ 14 h 27"/>
                <a:gd name="T4" fmla="*/ 24 w 26"/>
                <a:gd name="T5" fmla="*/ 20 h 27"/>
                <a:gd name="T6" fmla="*/ 22 w 26"/>
                <a:gd name="T7" fmla="*/ 24 h 27"/>
                <a:gd name="T8" fmla="*/ 17 w 26"/>
                <a:gd name="T9" fmla="*/ 26 h 27"/>
                <a:gd name="T10" fmla="*/ 13 w 26"/>
                <a:gd name="T11" fmla="*/ 27 h 27"/>
                <a:gd name="T12" fmla="*/ 7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4 h 27"/>
                <a:gd name="T20" fmla="*/ 0 w 26"/>
                <a:gd name="T21" fmla="*/ 14 h 27"/>
                <a:gd name="T22" fmla="*/ 2 w 26"/>
                <a:gd name="T23" fmla="*/ 7 h 27"/>
                <a:gd name="T24" fmla="*/ 4 w 26"/>
                <a:gd name="T25" fmla="*/ 3 h 27"/>
                <a:gd name="T26" fmla="*/ 7 w 26"/>
                <a:gd name="T27" fmla="*/ 1 h 27"/>
                <a:gd name="T28" fmla="*/ 13 w 26"/>
                <a:gd name="T29" fmla="*/ 0 h 27"/>
                <a:gd name="T30" fmla="*/ 17 w 26"/>
                <a:gd name="T31" fmla="*/ 1 h 27"/>
                <a:gd name="T32" fmla="*/ 22 w 26"/>
                <a:gd name="T33" fmla="*/ 3 h 27"/>
                <a:gd name="T34" fmla="*/ 24 w 26"/>
                <a:gd name="T35" fmla="*/ 7 h 27"/>
                <a:gd name="T36" fmla="*/ 26 w 26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4"/>
                  </a:moveTo>
                  <a:lnTo>
                    <a:pt x="26" y="14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7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4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0" name="Freeform 589">
              <a:extLst>
                <a:ext uri="{FF2B5EF4-FFF2-40B4-BE49-F238E27FC236}">
                  <a16:creationId xmlns:a16="http://schemas.microsoft.com/office/drawing/2014/main" id="{F86EC451-8944-F932-D9B3-99A9A60EA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540"/>
              <a:ext cx="26" cy="27"/>
            </a:xfrm>
            <a:custGeom>
              <a:avLst/>
              <a:gdLst>
                <a:gd name="T0" fmla="*/ 26 w 26"/>
                <a:gd name="T1" fmla="*/ 14 h 27"/>
                <a:gd name="T2" fmla="*/ 26 w 26"/>
                <a:gd name="T3" fmla="*/ 14 h 27"/>
                <a:gd name="T4" fmla="*/ 24 w 26"/>
                <a:gd name="T5" fmla="*/ 20 h 27"/>
                <a:gd name="T6" fmla="*/ 22 w 26"/>
                <a:gd name="T7" fmla="*/ 24 h 27"/>
                <a:gd name="T8" fmla="*/ 17 w 26"/>
                <a:gd name="T9" fmla="*/ 26 h 27"/>
                <a:gd name="T10" fmla="*/ 13 w 26"/>
                <a:gd name="T11" fmla="*/ 27 h 27"/>
                <a:gd name="T12" fmla="*/ 7 w 26"/>
                <a:gd name="T13" fmla="*/ 26 h 27"/>
                <a:gd name="T14" fmla="*/ 4 w 26"/>
                <a:gd name="T15" fmla="*/ 24 h 27"/>
                <a:gd name="T16" fmla="*/ 2 w 26"/>
                <a:gd name="T17" fmla="*/ 20 h 27"/>
                <a:gd name="T18" fmla="*/ 0 w 26"/>
                <a:gd name="T19" fmla="*/ 14 h 27"/>
                <a:gd name="T20" fmla="*/ 0 w 26"/>
                <a:gd name="T21" fmla="*/ 14 h 27"/>
                <a:gd name="T22" fmla="*/ 2 w 26"/>
                <a:gd name="T23" fmla="*/ 7 h 27"/>
                <a:gd name="T24" fmla="*/ 4 w 26"/>
                <a:gd name="T25" fmla="*/ 3 h 27"/>
                <a:gd name="T26" fmla="*/ 7 w 26"/>
                <a:gd name="T27" fmla="*/ 1 h 27"/>
                <a:gd name="T28" fmla="*/ 13 w 26"/>
                <a:gd name="T29" fmla="*/ 0 h 27"/>
                <a:gd name="T30" fmla="*/ 17 w 26"/>
                <a:gd name="T31" fmla="*/ 1 h 27"/>
                <a:gd name="T32" fmla="*/ 22 w 26"/>
                <a:gd name="T33" fmla="*/ 3 h 27"/>
                <a:gd name="T34" fmla="*/ 24 w 26"/>
                <a:gd name="T35" fmla="*/ 7 h 27"/>
                <a:gd name="T36" fmla="*/ 26 w 26"/>
                <a:gd name="T3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7">
                  <a:moveTo>
                    <a:pt x="26" y="14"/>
                  </a:moveTo>
                  <a:lnTo>
                    <a:pt x="26" y="14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7"/>
                  </a:lnTo>
                  <a:lnTo>
                    <a:pt x="7" y="26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2" y="3"/>
                  </a:lnTo>
                  <a:lnTo>
                    <a:pt x="24" y="7"/>
                  </a:lnTo>
                  <a:lnTo>
                    <a:pt x="26" y="14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1" name="Freeform 590">
              <a:extLst>
                <a:ext uri="{FF2B5EF4-FFF2-40B4-BE49-F238E27FC236}">
                  <a16:creationId xmlns:a16="http://schemas.microsoft.com/office/drawing/2014/main" id="{9588582C-943D-92E4-15AF-A378F98DBC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251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4"/>
                  </a:lnTo>
                  <a:lnTo>
                    <a:pt x="24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2" name="Freeform 591">
              <a:extLst>
                <a:ext uri="{FF2B5EF4-FFF2-40B4-BE49-F238E27FC236}">
                  <a16:creationId xmlns:a16="http://schemas.microsoft.com/office/drawing/2014/main" id="{098A3451-7B7F-0D66-BF81-7B726A5EF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" y="2519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3 w 26"/>
                <a:gd name="T7" fmla="*/ 22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2 h 26"/>
                <a:gd name="T16" fmla="*/ 2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2 w 26"/>
                <a:gd name="T23" fmla="*/ 8 h 26"/>
                <a:gd name="T24" fmla="*/ 4 w 26"/>
                <a:gd name="T25" fmla="*/ 4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3 w 26"/>
                <a:gd name="T33" fmla="*/ 4 h 26"/>
                <a:gd name="T34" fmla="*/ 24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3" y="22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3" y="4"/>
                  </a:lnTo>
                  <a:lnTo>
                    <a:pt x="24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3" name="Freeform 592">
              <a:extLst>
                <a:ext uri="{FF2B5EF4-FFF2-40B4-BE49-F238E27FC236}">
                  <a16:creationId xmlns:a16="http://schemas.microsoft.com/office/drawing/2014/main" id="{E8C61BE7-CFF2-AB7B-F034-B3C92AE641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54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4" name="Freeform 593">
              <a:extLst>
                <a:ext uri="{FF2B5EF4-FFF2-40B4-BE49-F238E27FC236}">
                  <a16:creationId xmlns:a16="http://schemas.microsoft.com/office/drawing/2014/main" id="{402B46BB-E330-21FE-4375-3247DA4E7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8" y="254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4 w 26"/>
                <a:gd name="T15" fmla="*/ 22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1 h 26"/>
                <a:gd name="T26" fmla="*/ 7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2 w 26"/>
                <a:gd name="T33" fmla="*/ 1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1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5" name="Freeform 594">
              <a:extLst>
                <a:ext uri="{FF2B5EF4-FFF2-40B4-BE49-F238E27FC236}">
                  <a16:creationId xmlns:a16="http://schemas.microsoft.com/office/drawing/2014/main" id="{B8692CCC-E264-B871-60C5-78074736A5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51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6" name="Freeform 595">
              <a:extLst>
                <a:ext uri="{FF2B5EF4-FFF2-40B4-BE49-F238E27FC236}">
                  <a16:creationId xmlns:a16="http://schemas.microsoft.com/office/drawing/2014/main" id="{0A2BB3C4-A445-B440-CD16-827571DE0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" y="251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8 h 26"/>
                <a:gd name="T6" fmla="*/ 22 w 26"/>
                <a:gd name="T7" fmla="*/ 24 h 26"/>
                <a:gd name="T8" fmla="*/ 16 w 26"/>
                <a:gd name="T9" fmla="*/ 26 h 26"/>
                <a:gd name="T10" fmla="*/ 13 w 26"/>
                <a:gd name="T11" fmla="*/ 26 h 26"/>
                <a:gd name="T12" fmla="*/ 7 w 26"/>
                <a:gd name="T13" fmla="*/ 26 h 26"/>
                <a:gd name="T14" fmla="*/ 3 w 26"/>
                <a:gd name="T15" fmla="*/ 24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4 h 26"/>
                <a:gd name="T26" fmla="*/ 7 w 26"/>
                <a:gd name="T27" fmla="*/ 2 h 26"/>
                <a:gd name="T28" fmla="*/ 13 w 26"/>
                <a:gd name="T29" fmla="*/ 0 h 26"/>
                <a:gd name="T30" fmla="*/ 16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8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7" y="26"/>
                  </a:lnTo>
                  <a:lnTo>
                    <a:pt x="3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7" name="Freeform 596">
              <a:extLst>
                <a:ext uri="{FF2B5EF4-FFF2-40B4-BE49-F238E27FC236}">
                  <a16:creationId xmlns:a16="http://schemas.microsoft.com/office/drawing/2014/main" id="{6A48B524-1994-5B4C-DDF5-79C8EB897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251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3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3 w 26"/>
                <a:gd name="T33" fmla="*/ 3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3" y="3"/>
                  </a:lnTo>
                  <a:lnTo>
                    <a:pt x="25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8" name="Freeform 597">
              <a:extLst>
                <a:ext uri="{FF2B5EF4-FFF2-40B4-BE49-F238E27FC236}">
                  <a16:creationId xmlns:a16="http://schemas.microsoft.com/office/drawing/2014/main" id="{F9487207-FC63-40C5-F4ED-7F5AFFC127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2512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5 w 26"/>
                <a:gd name="T5" fmla="*/ 18 h 26"/>
                <a:gd name="T6" fmla="*/ 23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8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3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3 w 26"/>
                <a:gd name="T33" fmla="*/ 3 h 26"/>
                <a:gd name="T34" fmla="*/ 25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5" y="18"/>
                  </a:lnTo>
                  <a:lnTo>
                    <a:pt x="23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3" y="3"/>
                  </a:lnTo>
                  <a:lnTo>
                    <a:pt x="25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29" name="Freeform 598">
              <a:extLst>
                <a:ext uri="{FF2B5EF4-FFF2-40B4-BE49-F238E27FC236}">
                  <a16:creationId xmlns:a16="http://schemas.microsoft.com/office/drawing/2014/main" id="{CB17FA90-2CFE-763C-8138-333F01956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49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0" name="Freeform 599">
              <a:extLst>
                <a:ext uri="{FF2B5EF4-FFF2-40B4-BE49-F238E27FC236}">
                  <a16:creationId xmlns:a16="http://schemas.microsoft.com/office/drawing/2014/main" id="{69425657-2C96-9B9F-9134-4673FAB00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" y="2495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2 w 26"/>
                <a:gd name="T7" fmla="*/ 24 h 26"/>
                <a:gd name="T8" fmla="*/ 17 w 26"/>
                <a:gd name="T9" fmla="*/ 26 h 26"/>
                <a:gd name="T10" fmla="*/ 13 w 26"/>
                <a:gd name="T11" fmla="*/ 26 h 26"/>
                <a:gd name="T12" fmla="*/ 8 w 26"/>
                <a:gd name="T13" fmla="*/ 26 h 26"/>
                <a:gd name="T14" fmla="*/ 4 w 26"/>
                <a:gd name="T15" fmla="*/ 24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4 h 26"/>
                <a:gd name="T26" fmla="*/ 8 w 26"/>
                <a:gd name="T27" fmla="*/ 2 h 26"/>
                <a:gd name="T28" fmla="*/ 13 w 26"/>
                <a:gd name="T29" fmla="*/ 0 h 26"/>
                <a:gd name="T30" fmla="*/ 17 w 26"/>
                <a:gd name="T31" fmla="*/ 2 h 26"/>
                <a:gd name="T32" fmla="*/ 22 w 26"/>
                <a:gd name="T33" fmla="*/ 4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7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2" y="4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1" name="Freeform 600">
              <a:extLst>
                <a:ext uri="{FF2B5EF4-FFF2-40B4-BE49-F238E27FC236}">
                  <a16:creationId xmlns:a16="http://schemas.microsoft.com/office/drawing/2014/main" id="{15B677C9-D8A5-3BA8-97CE-250C993D8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9" y="248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5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5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5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5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2" name="Freeform 601">
              <a:extLst>
                <a:ext uri="{FF2B5EF4-FFF2-40B4-BE49-F238E27FC236}">
                  <a16:creationId xmlns:a16="http://schemas.microsoft.com/office/drawing/2014/main" id="{E13066AB-D0C5-A276-E998-93E879DCA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9" y="2480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6 w 26"/>
                <a:gd name="T5" fmla="*/ 19 h 26"/>
                <a:gd name="T6" fmla="*/ 22 w 26"/>
                <a:gd name="T7" fmla="*/ 22 h 26"/>
                <a:gd name="T8" fmla="*/ 18 w 26"/>
                <a:gd name="T9" fmla="*/ 24 h 26"/>
                <a:gd name="T10" fmla="*/ 13 w 26"/>
                <a:gd name="T11" fmla="*/ 26 h 26"/>
                <a:gd name="T12" fmla="*/ 9 w 26"/>
                <a:gd name="T13" fmla="*/ 24 h 26"/>
                <a:gd name="T14" fmla="*/ 5 w 26"/>
                <a:gd name="T15" fmla="*/ 22 h 26"/>
                <a:gd name="T16" fmla="*/ 1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1 w 26"/>
                <a:gd name="T23" fmla="*/ 8 h 26"/>
                <a:gd name="T24" fmla="*/ 5 w 26"/>
                <a:gd name="T25" fmla="*/ 2 h 26"/>
                <a:gd name="T26" fmla="*/ 9 w 26"/>
                <a:gd name="T27" fmla="*/ 0 h 26"/>
                <a:gd name="T28" fmla="*/ 13 w 26"/>
                <a:gd name="T29" fmla="*/ 0 h 26"/>
                <a:gd name="T30" fmla="*/ 18 w 26"/>
                <a:gd name="T31" fmla="*/ 0 h 26"/>
                <a:gd name="T32" fmla="*/ 22 w 26"/>
                <a:gd name="T33" fmla="*/ 2 h 26"/>
                <a:gd name="T34" fmla="*/ 26 w 26"/>
                <a:gd name="T35" fmla="*/ 8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6" y="19"/>
                  </a:lnTo>
                  <a:lnTo>
                    <a:pt x="22" y="22"/>
                  </a:lnTo>
                  <a:lnTo>
                    <a:pt x="18" y="24"/>
                  </a:lnTo>
                  <a:lnTo>
                    <a:pt x="13" y="26"/>
                  </a:lnTo>
                  <a:lnTo>
                    <a:pt x="9" y="24"/>
                  </a:lnTo>
                  <a:lnTo>
                    <a:pt x="5" y="22"/>
                  </a:lnTo>
                  <a:lnTo>
                    <a:pt x="1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5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6" y="8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3" name="Freeform 602">
              <a:extLst>
                <a:ext uri="{FF2B5EF4-FFF2-40B4-BE49-F238E27FC236}">
                  <a16:creationId xmlns:a16="http://schemas.microsoft.com/office/drawing/2014/main" id="{E0713348-0173-DEBF-A413-975BF744F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4" name="Freeform 603">
              <a:extLst>
                <a:ext uri="{FF2B5EF4-FFF2-40B4-BE49-F238E27FC236}">
                  <a16:creationId xmlns:a16="http://schemas.microsoft.com/office/drawing/2014/main" id="{1777613E-C665-DE51-A414-F77C5A77E4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0 w 26"/>
                <a:gd name="T7" fmla="*/ 22 h 26"/>
                <a:gd name="T8" fmla="*/ 16 w 26"/>
                <a:gd name="T9" fmla="*/ 24 h 26"/>
                <a:gd name="T10" fmla="*/ 13 w 26"/>
                <a:gd name="T11" fmla="*/ 26 h 26"/>
                <a:gd name="T12" fmla="*/ 7 w 26"/>
                <a:gd name="T13" fmla="*/ 24 h 26"/>
                <a:gd name="T14" fmla="*/ 3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3 w 26"/>
                <a:gd name="T25" fmla="*/ 2 h 26"/>
                <a:gd name="T26" fmla="*/ 7 w 26"/>
                <a:gd name="T27" fmla="*/ 0 h 26"/>
                <a:gd name="T28" fmla="*/ 13 w 26"/>
                <a:gd name="T29" fmla="*/ 0 h 26"/>
                <a:gd name="T30" fmla="*/ 16 w 26"/>
                <a:gd name="T31" fmla="*/ 0 h 26"/>
                <a:gd name="T32" fmla="*/ 20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6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5" name="Freeform 604">
              <a:extLst>
                <a:ext uri="{FF2B5EF4-FFF2-40B4-BE49-F238E27FC236}">
                  <a16:creationId xmlns:a16="http://schemas.microsoft.com/office/drawing/2014/main" id="{789AD4EF-9CF9-0BC8-CCFF-665407331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6" name="Freeform 605">
              <a:extLst>
                <a:ext uri="{FF2B5EF4-FFF2-40B4-BE49-F238E27FC236}">
                  <a16:creationId xmlns:a16="http://schemas.microsoft.com/office/drawing/2014/main" id="{00446D7F-71A9-2E3C-59D8-803D1D4C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" y="2677"/>
              <a:ext cx="26" cy="26"/>
            </a:xfrm>
            <a:custGeom>
              <a:avLst/>
              <a:gdLst>
                <a:gd name="T0" fmla="*/ 26 w 26"/>
                <a:gd name="T1" fmla="*/ 13 h 26"/>
                <a:gd name="T2" fmla="*/ 26 w 26"/>
                <a:gd name="T3" fmla="*/ 13 h 26"/>
                <a:gd name="T4" fmla="*/ 24 w 26"/>
                <a:gd name="T5" fmla="*/ 19 h 26"/>
                <a:gd name="T6" fmla="*/ 21 w 26"/>
                <a:gd name="T7" fmla="*/ 22 h 26"/>
                <a:gd name="T8" fmla="*/ 17 w 26"/>
                <a:gd name="T9" fmla="*/ 24 h 26"/>
                <a:gd name="T10" fmla="*/ 13 w 26"/>
                <a:gd name="T11" fmla="*/ 26 h 26"/>
                <a:gd name="T12" fmla="*/ 8 w 26"/>
                <a:gd name="T13" fmla="*/ 24 h 26"/>
                <a:gd name="T14" fmla="*/ 4 w 26"/>
                <a:gd name="T15" fmla="*/ 22 h 26"/>
                <a:gd name="T16" fmla="*/ 0 w 26"/>
                <a:gd name="T17" fmla="*/ 19 h 26"/>
                <a:gd name="T18" fmla="*/ 0 w 26"/>
                <a:gd name="T19" fmla="*/ 13 h 26"/>
                <a:gd name="T20" fmla="*/ 0 w 26"/>
                <a:gd name="T21" fmla="*/ 13 h 26"/>
                <a:gd name="T22" fmla="*/ 0 w 26"/>
                <a:gd name="T23" fmla="*/ 7 h 26"/>
                <a:gd name="T24" fmla="*/ 4 w 26"/>
                <a:gd name="T25" fmla="*/ 2 h 26"/>
                <a:gd name="T26" fmla="*/ 8 w 26"/>
                <a:gd name="T27" fmla="*/ 0 h 26"/>
                <a:gd name="T28" fmla="*/ 13 w 26"/>
                <a:gd name="T29" fmla="*/ 0 h 26"/>
                <a:gd name="T30" fmla="*/ 17 w 26"/>
                <a:gd name="T31" fmla="*/ 0 h 26"/>
                <a:gd name="T32" fmla="*/ 21 w 26"/>
                <a:gd name="T33" fmla="*/ 2 h 26"/>
                <a:gd name="T34" fmla="*/ 24 w 26"/>
                <a:gd name="T35" fmla="*/ 7 h 26"/>
                <a:gd name="T36" fmla="*/ 26 w 26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6">
                  <a:moveTo>
                    <a:pt x="26" y="13"/>
                  </a:moveTo>
                  <a:lnTo>
                    <a:pt x="26" y="13"/>
                  </a:lnTo>
                  <a:lnTo>
                    <a:pt x="24" y="19"/>
                  </a:lnTo>
                  <a:lnTo>
                    <a:pt x="21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4" y="7"/>
                  </a:lnTo>
                  <a:lnTo>
                    <a:pt x="26" y="13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  <p:sp>
          <p:nvSpPr>
            <p:cNvPr id="437" name="Freeform 606">
              <a:extLst>
                <a:ext uri="{FF2B5EF4-FFF2-40B4-BE49-F238E27FC236}">
                  <a16:creationId xmlns:a16="http://schemas.microsoft.com/office/drawing/2014/main" id="{C3AF9013-FCD1-6AE7-8E11-33C98DBBEF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677"/>
              <a:ext cx="24" cy="26"/>
            </a:xfrm>
            <a:custGeom>
              <a:avLst/>
              <a:gdLst>
                <a:gd name="T0" fmla="*/ 24 w 24"/>
                <a:gd name="T1" fmla="*/ 13 h 26"/>
                <a:gd name="T2" fmla="*/ 24 w 24"/>
                <a:gd name="T3" fmla="*/ 13 h 26"/>
                <a:gd name="T4" fmla="*/ 24 w 24"/>
                <a:gd name="T5" fmla="*/ 19 h 26"/>
                <a:gd name="T6" fmla="*/ 20 w 24"/>
                <a:gd name="T7" fmla="*/ 22 h 26"/>
                <a:gd name="T8" fmla="*/ 17 w 24"/>
                <a:gd name="T9" fmla="*/ 24 h 26"/>
                <a:gd name="T10" fmla="*/ 13 w 24"/>
                <a:gd name="T11" fmla="*/ 26 h 26"/>
                <a:gd name="T12" fmla="*/ 7 w 24"/>
                <a:gd name="T13" fmla="*/ 24 h 26"/>
                <a:gd name="T14" fmla="*/ 4 w 24"/>
                <a:gd name="T15" fmla="*/ 22 h 26"/>
                <a:gd name="T16" fmla="*/ 0 w 24"/>
                <a:gd name="T17" fmla="*/ 19 h 26"/>
                <a:gd name="T18" fmla="*/ 0 w 24"/>
                <a:gd name="T19" fmla="*/ 13 h 26"/>
                <a:gd name="T20" fmla="*/ 0 w 24"/>
                <a:gd name="T21" fmla="*/ 13 h 26"/>
                <a:gd name="T22" fmla="*/ 0 w 24"/>
                <a:gd name="T23" fmla="*/ 7 h 26"/>
                <a:gd name="T24" fmla="*/ 4 w 24"/>
                <a:gd name="T25" fmla="*/ 2 h 26"/>
                <a:gd name="T26" fmla="*/ 7 w 24"/>
                <a:gd name="T27" fmla="*/ 0 h 26"/>
                <a:gd name="T28" fmla="*/ 13 w 24"/>
                <a:gd name="T29" fmla="*/ 0 h 26"/>
                <a:gd name="T30" fmla="*/ 17 w 24"/>
                <a:gd name="T31" fmla="*/ 0 h 26"/>
                <a:gd name="T32" fmla="*/ 20 w 24"/>
                <a:gd name="T33" fmla="*/ 2 h 26"/>
                <a:gd name="T34" fmla="*/ 24 w 24"/>
                <a:gd name="T35" fmla="*/ 7 h 26"/>
                <a:gd name="T36" fmla="*/ 24 w 24"/>
                <a:gd name="T37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6">
                  <a:moveTo>
                    <a:pt x="24" y="13"/>
                  </a:moveTo>
                  <a:lnTo>
                    <a:pt x="24" y="13"/>
                  </a:lnTo>
                  <a:lnTo>
                    <a:pt x="24" y="19"/>
                  </a:lnTo>
                  <a:lnTo>
                    <a:pt x="20" y="22"/>
                  </a:lnTo>
                  <a:lnTo>
                    <a:pt x="17" y="24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4" y="22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4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>
                <a:solidFill>
                  <a:srgbClr val="1E1E1E"/>
                </a:solidFill>
                <a:latin typeface="Arial" panose="020B0604020202020204"/>
              </a:endParaRPr>
            </a:p>
          </p:txBody>
        </p:sp>
      </p:grpSp>
      <p:sp>
        <p:nvSpPr>
          <p:cNvPr id="16" name="Freeform 608">
            <a:extLst>
              <a:ext uri="{FF2B5EF4-FFF2-40B4-BE49-F238E27FC236}">
                <a16:creationId xmlns:a16="http://schemas.microsoft.com/office/drawing/2014/main" id="{4324E7E7-4C8A-2D30-B1D5-F4870645E87E}"/>
              </a:ext>
            </a:extLst>
          </p:cNvPr>
          <p:cNvSpPr>
            <a:spLocks/>
          </p:cNvSpPr>
          <p:nvPr/>
        </p:nvSpPr>
        <p:spPr bwMode="auto">
          <a:xfrm>
            <a:off x="2171702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" name="Freeform 609">
            <a:extLst>
              <a:ext uri="{FF2B5EF4-FFF2-40B4-BE49-F238E27FC236}">
                <a16:creationId xmlns:a16="http://schemas.microsoft.com/office/drawing/2014/main" id="{4C1A1C0D-7EFF-4EC9-C133-8314C0B50B1F}"/>
              </a:ext>
            </a:extLst>
          </p:cNvPr>
          <p:cNvSpPr>
            <a:spLocks/>
          </p:cNvSpPr>
          <p:nvPr/>
        </p:nvSpPr>
        <p:spPr bwMode="auto">
          <a:xfrm>
            <a:off x="237278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6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3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3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6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" name="Freeform 610">
            <a:extLst>
              <a:ext uri="{FF2B5EF4-FFF2-40B4-BE49-F238E27FC236}">
                <a16:creationId xmlns:a16="http://schemas.microsoft.com/office/drawing/2014/main" id="{79A0FC19-B0C9-42B5-2FD8-2E833F11A97C}"/>
              </a:ext>
            </a:extLst>
          </p:cNvPr>
          <p:cNvSpPr>
            <a:spLocks/>
          </p:cNvSpPr>
          <p:nvPr/>
        </p:nvSpPr>
        <p:spPr bwMode="auto">
          <a:xfrm>
            <a:off x="237278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6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3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3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6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0" name="Freeform 611">
            <a:extLst>
              <a:ext uri="{FF2B5EF4-FFF2-40B4-BE49-F238E27FC236}">
                <a16:creationId xmlns:a16="http://schemas.microsoft.com/office/drawing/2014/main" id="{6F5EA2E4-04E8-6765-69E6-900BC2649255}"/>
              </a:ext>
            </a:extLst>
          </p:cNvPr>
          <p:cNvSpPr>
            <a:spLocks/>
          </p:cNvSpPr>
          <p:nvPr/>
        </p:nvSpPr>
        <p:spPr bwMode="auto">
          <a:xfrm>
            <a:off x="2571752" y="5666317"/>
            <a:ext cx="52917" cy="55033"/>
          </a:xfrm>
          <a:custGeom>
            <a:avLst/>
            <a:gdLst>
              <a:gd name="T0" fmla="*/ 25 w 25"/>
              <a:gd name="T1" fmla="*/ 13 h 26"/>
              <a:gd name="T2" fmla="*/ 25 w 25"/>
              <a:gd name="T3" fmla="*/ 13 h 26"/>
              <a:gd name="T4" fmla="*/ 25 w 25"/>
              <a:gd name="T5" fmla="*/ 19 h 26"/>
              <a:gd name="T6" fmla="*/ 21 w 25"/>
              <a:gd name="T7" fmla="*/ 22 h 26"/>
              <a:gd name="T8" fmla="*/ 17 w 25"/>
              <a:gd name="T9" fmla="*/ 24 h 26"/>
              <a:gd name="T10" fmla="*/ 13 w 25"/>
              <a:gd name="T11" fmla="*/ 26 h 26"/>
              <a:gd name="T12" fmla="*/ 8 w 25"/>
              <a:gd name="T13" fmla="*/ 24 h 26"/>
              <a:gd name="T14" fmla="*/ 4 w 25"/>
              <a:gd name="T15" fmla="*/ 22 h 26"/>
              <a:gd name="T16" fmla="*/ 0 w 25"/>
              <a:gd name="T17" fmla="*/ 19 h 26"/>
              <a:gd name="T18" fmla="*/ 0 w 25"/>
              <a:gd name="T19" fmla="*/ 13 h 26"/>
              <a:gd name="T20" fmla="*/ 0 w 25"/>
              <a:gd name="T21" fmla="*/ 13 h 26"/>
              <a:gd name="T22" fmla="*/ 0 w 25"/>
              <a:gd name="T23" fmla="*/ 7 h 26"/>
              <a:gd name="T24" fmla="*/ 4 w 25"/>
              <a:gd name="T25" fmla="*/ 2 h 26"/>
              <a:gd name="T26" fmla="*/ 8 w 25"/>
              <a:gd name="T27" fmla="*/ 0 h 26"/>
              <a:gd name="T28" fmla="*/ 13 w 25"/>
              <a:gd name="T29" fmla="*/ 0 h 26"/>
              <a:gd name="T30" fmla="*/ 17 w 25"/>
              <a:gd name="T31" fmla="*/ 0 h 26"/>
              <a:gd name="T32" fmla="*/ 21 w 25"/>
              <a:gd name="T33" fmla="*/ 2 h 26"/>
              <a:gd name="T34" fmla="*/ 25 w 25"/>
              <a:gd name="T35" fmla="*/ 7 h 26"/>
              <a:gd name="T36" fmla="*/ 25 w 25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26">
                <a:moveTo>
                  <a:pt x="25" y="13"/>
                </a:moveTo>
                <a:lnTo>
                  <a:pt x="25" y="13"/>
                </a:lnTo>
                <a:lnTo>
                  <a:pt x="25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5" y="7"/>
                </a:lnTo>
                <a:lnTo>
                  <a:pt x="25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2" name="Freeform 612">
            <a:extLst>
              <a:ext uri="{FF2B5EF4-FFF2-40B4-BE49-F238E27FC236}">
                <a16:creationId xmlns:a16="http://schemas.microsoft.com/office/drawing/2014/main" id="{3033F6F2-7B55-82B0-FF8E-8E071D489D01}"/>
              </a:ext>
            </a:extLst>
          </p:cNvPr>
          <p:cNvSpPr>
            <a:spLocks/>
          </p:cNvSpPr>
          <p:nvPr/>
        </p:nvSpPr>
        <p:spPr bwMode="auto">
          <a:xfrm>
            <a:off x="2571752" y="5666317"/>
            <a:ext cx="52917" cy="55033"/>
          </a:xfrm>
          <a:custGeom>
            <a:avLst/>
            <a:gdLst>
              <a:gd name="T0" fmla="*/ 25 w 25"/>
              <a:gd name="T1" fmla="*/ 13 h 26"/>
              <a:gd name="T2" fmla="*/ 25 w 25"/>
              <a:gd name="T3" fmla="*/ 13 h 26"/>
              <a:gd name="T4" fmla="*/ 25 w 25"/>
              <a:gd name="T5" fmla="*/ 19 h 26"/>
              <a:gd name="T6" fmla="*/ 21 w 25"/>
              <a:gd name="T7" fmla="*/ 22 h 26"/>
              <a:gd name="T8" fmla="*/ 17 w 25"/>
              <a:gd name="T9" fmla="*/ 24 h 26"/>
              <a:gd name="T10" fmla="*/ 13 w 25"/>
              <a:gd name="T11" fmla="*/ 26 h 26"/>
              <a:gd name="T12" fmla="*/ 8 w 25"/>
              <a:gd name="T13" fmla="*/ 24 h 26"/>
              <a:gd name="T14" fmla="*/ 4 w 25"/>
              <a:gd name="T15" fmla="*/ 22 h 26"/>
              <a:gd name="T16" fmla="*/ 0 w 25"/>
              <a:gd name="T17" fmla="*/ 19 h 26"/>
              <a:gd name="T18" fmla="*/ 0 w 25"/>
              <a:gd name="T19" fmla="*/ 13 h 26"/>
              <a:gd name="T20" fmla="*/ 0 w 25"/>
              <a:gd name="T21" fmla="*/ 13 h 26"/>
              <a:gd name="T22" fmla="*/ 0 w 25"/>
              <a:gd name="T23" fmla="*/ 7 h 26"/>
              <a:gd name="T24" fmla="*/ 4 w 25"/>
              <a:gd name="T25" fmla="*/ 2 h 26"/>
              <a:gd name="T26" fmla="*/ 8 w 25"/>
              <a:gd name="T27" fmla="*/ 0 h 26"/>
              <a:gd name="T28" fmla="*/ 13 w 25"/>
              <a:gd name="T29" fmla="*/ 0 h 26"/>
              <a:gd name="T30" fmla="*/ 17 w 25"/>
              <a:gd name="T31" fmla="*/ 0 h 26"/>
              <a:gd name="T32" fmla="*/ 21 w 25"/>
              <a:gd name="T33" fmla="*/ 2 h 26"/>
              <a:gd name="T34" fmla="*/ 25 w 25"/>
              <a:gd name="T35" fmla="*/ 7 h 26"/>
              <a:gd name="T36" fmla="*/ 25 w 25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26">
                <a:moveTo>
                  <a:pt x="25" y="13"/>
                </a:moveTo>
                <a:lnTo>
                  <a:pt x="25" y="13"/>
                </a:lnTo>
                <a:lnTo>
                  <a:pt x="25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5" y="7"/>
                </a:lnTo>
                <a:lnTo>
                  <a:pt x="25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3" name="Freeform 613">
            <a:extLst>
              <a:ext uri="{FF2B5EF4-FFF2-40B4-BE49-F238E27FC236}">
                <a16:creationId xmlns:a16="http://schemas.microsoft.com/office/drawing/2014/main" id="{12B4855E-39B7-65CB-1995-11122771369A}"/>
              </a:ext>
            </a:extLst>
          </p:cNvPr>
          <p:cNvSpPr>
            <a:spLocks/>
          </p:cNvSpPr>
          <p:nvPr/>
        </p:nvSpPr>
        <p:spPr bwMode="auto">
          <a:xfrm>
            <a:off x="277283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1 w 24"/>
              <a:gd name="T7" fmla="*/ 22 h 26"/>
              <a:gd name="T8" fmla="*/ 17 w 24"/>
              <a:gd name="T9" fmla="*/ 24 h 26"/>
              <a:gd name="T10" fmla="*/ 11 w 24"/>
              <a:gd name="T11" fmla="*/ 26 h 26"/>
              <a:gd name="T12" fmla="*/ 8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8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1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1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1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4" name="Freeform 614">
            <a:extLst>
              <a:ext uri="{FF2B5EF4-FFF2-40B4-BE49-F238E27FC236}">
                <a16:creationId xmlns:a16="http://schemas.microsoft.com/office/drawing/2014/main" id="{6409093A-FAE0-0F24-E60A-31CE88F6781D}"/>
              </a:ext>
            </a:extLst>
          </p:cNvPr>
          <p:cNvSpPr>
            <a:spLocks/>
          </p:cNvSpPr>
          <p:nvPr/>
        </p:nvSpPr>
        <p:spPr bwMode="auto">
          <a:xfrm>
            <a:off x="277283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1 w 24"/>
              <a:gd name="T7" fmla="*/ 22 h 26"/>
              <a:gd name="T8" fmla="*/ 17 w 24"/>
              <a:gd name="T9" fmla="*/ 24 h 26"/>
              <a:gd name="T10" fmla="*/ 11 w 24"/>
              <a:gd name="T11" fmla="*/ 26 h 26"/>
              <a:gd name="T12" fmla="*/ 8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8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1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1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1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5" name="Freeform 615">
            <a:extLst>
              <a:ext uri="{FF2B5EF4-FFF2-40B4-BE49-F238E27FC236}">
                <a16:creationId xmlns:a16="http://schemas.microsoft.com/office/drawing/2014/main" id="{E5205881-DA29-6D4B-5558-0DBEEEF1195C}"/>
              </a:ext>
            </a:extLst>
          </p:cNvPr>
          <p:cNvSpPr>
            <a:spLocks/>
          </p:cNvSpPr>
          <p:nvPr/>
        </p:nvSpPr>
        <p:spPr bwMode="auto">
          <a:xfrm>
            <a:off x="2973919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1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1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1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6" name="Freeform 616">
            <a:extLst>
              <a:ext uri="{FF2B5EF4-FFF2-40B4-BE49-F238E27FC236}">
                <a16:creationId xmlns:a16="http://schemas.microsoft.com/office/drawing/2014/main" id="{8DBB8177-7C0C-4785-0934-3C7EA5F4DB90}"/>
              </a:ext>
            </a:extLst>
          </p:cNvPr>
          <p:cNvSpPr>
            <a:spLocks/>
          </p:cNvSpPr>
          <p:nvPr/>
        </p:nvSpPr>
        <p:spPr bwMode="auto">
          <a:xfrm>
            <a:off x="2973919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1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1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1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7" name="Freeform 617">
            <a:extLst>
              <a:ext uri="{FF2B5EF4-FFF2-40B4-BE49-F238E27FC236}">
                <a16:creationId xmlns:a16="http://schemas.microsoft.com/office/drawing/2014/main" id="{52544A16-9222-6237-15E5-137F40F6A808}"/>
              </a:ext>
            </a:extLst>
          </p:cNvPr>
          <p:cNvSpPr>
            <a:spLocks/>
          </p:cNvSpPr>
          <p:nvPr/>
        </p:nvSpPr>
        <p:spPr bwMode="auto">
          <a:xfrm>
            <a:off x="32723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9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9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8" name="Freeform 618">
            <a:extLst>
              <a:ext uri="{FF2B5EF4-FFF2-40B4-BE49-F238E27FC236}">
                <a16:creationId xmlns:a16="http://schemas.microsoft.com/office/drawing/2014/main" id="{17602839-AD5A-E73E-E4E7-F672CAA34D11}"/>
              </a:ext>
            </a:extLst>
          </p:cNvPr>
          <p:cNvSpPr>
            <a:spLocks/>
          </p:cNvSpPr>
          <p:nvPr/>
        </p:nvSpPr>
        <p:spPr bwMode="auto">
          <a:xfrm>
            <a:off x="32723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9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9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29" name="Freeform 619">
            <a:extLst>
              <a:ext uri="{FF2B5EF4-FFF2-40B4-BE49-F238E27FC236}">
                <a16:creationId xmlns:a16="http://schemas.microsoft.com/office/drawing/2014/main" id="{0E2288CA-AC5B-0114-A0DD-29616DB0DA64}"/>
              </a:ext>
            </a:extLst>
          </p:cNvPr>
          <p:cNvSpPr>
            <a:spLocks/>
          </p:cNvSpPr>
          <p:nvPr/>
        </p:nvSpPr>
        <p:spPr bwMode="auto">
          <a:xfrm>
            <a:off x="34882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1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1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0" name="Freeform 620">
            <a:extLst>
              <a:ext uri="{FF2B5EF4-FFF2-40B4-BE49-F238E27FC236}">
                <a16:creationId xmlns:a16="http://schemas.microsoft.com/office/drawing/2014/main" id="{BA011369-FECA-0078-5843-C21E1EA58713}"/>
              </a:ext>
            </a:extLst>
          </p:cNvPr>
          <p:cNvSpPr>
            <a:spLocks/>
          </p:cNvSpPr>
          <p:nvPr/>
        </p:nvSpPr>
        <p:spPr bwMode="auto">
          <a:xfrm>
            <a:off x="34882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1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1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1" name="Freeform 621">
            <a:extLst>
              <a:ext uri="{FF2B5EF4-FFF2-40B4-BE49-F238E27FC236}">
                <a16:creationId xmlns:a16="http://schemas.microsoft.com/office/drawing/2014/main" id="{4F800749-AF7F-9E39-C96E-F38AEC3E82AE}"/>
              </a:ext>
            </a:extLst>
          </p:cNvPr>
          <p:cNvSpPr>
            <a:spLocks/>
          </p:cNvSpPr>
          <p:nvPr/>
        </p:nvSpPr>
        <p:spPr bwMode="auto">
          <a:xfrm>
            <a:off x="3672419" y="540596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5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5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9 w 26"/>
              <a:gd name="T31" fmla="*/ 2 h 26"/>
              <a:gd name="T32" fmla="*/ 23 w 26"/>
              <a:gd name="T33" fmla="*/ 4 h 26"/>
              <a:gd name="T34" fmla="*/ 25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5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5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9" y="2"/>
                </a:lnTo>
                <a:lnTo>
                  <a:pt x="23" y="4"/>
                </a:lnTo>
                <a:lnTo>
                  <a:pt x="25" y="8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2" name="Freeform 622">
            <a:extLst>
              <a:ext uri="{FF2B5EF4-FFF2-40B4-BE49-F238E27FC236}">
                <a16:creationId xmlns:a16="http://schemas.microsoft.com/office/drawing/2014/main" id="{61FE933E-D75F-78D7-DC50-20ED0BE67E55}"/>
              </a:ext>
            </a:extLst>
          </p:cNvPr>
          <p:cNvSpPr>
            <a:spLocks/>
          </p:cNvSpPr>
          <p:nvPr/>
        </p:nvSpPr>
        <p:spPr bwMode="auto">
          <a:xfrm>
            <a:off x="3672419" y="540596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5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5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9 w 26"/>
              <a:gd name="T31" fmla="*/ 2 h 26"/>
              <a:gd name="T32" fmla="*/ 23 w 26"/>
              <a:gd name="T33" fmla="*/ 4 h 26"/>
              <a:gd name="T34" fmla="*/ 25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5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5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9" y="2"/>
                </a:lnTo>
                <a:lnTo>
                  <a:pt x="23" y="4"/>
                </a:lnTo>
                <a:lnTo>
                  <a:pt x="25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3" name="Freeform 623">
            <a:extLst>
              <a:ext uri="{FF2B5EF4-FFF2-40B4-BE49-F238E27FC236}">
                <a16:creationId xmlns:a16="http://schemas.microsoft.com/office/drawing/2014/main" id="{B0242F5D-FE4C-AFF9-B21F-368A073284F7}"/>
              </a:ext>
            </a:extLst>
          </p:cNvPr>
          <p:cNvSpPr>
            <a:spLocks/>
          </p:cNvSpPr>
          <p:nvPr/>
        </p:nvSpPr>
        <p:spPr bwMode="auto">
          <a:xfrm>
            <a:off x="387350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9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4" name="Freeform 624">
            <a:extLst>
              <a:ext uri="{FF2B5EF4-FFF2-40B4-BE49-F238E27FC236}">
                <a16:creationId xmlns:a16="http://schemas.microsoft.com/office/drawing/2014/main" id="{2A3D793C-EC7F-85AE-23C9-B73924767143}"/>
              </a:ext>
            </a:extLst>
          </p:cNvPr>
          <p:cNvSpPr>
            <a:spLocks/>
          </p:cNvSpPr>
          <p:nvPr/>
        </p:nvSpPr>
        <p:spPr bwMode="auto">
          <a:xfrm>
            <a:off x="387350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9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5" name="Freeform 625">
            <a:extLst>
              <a:ext uri="{FF2B5EF4-FFF2-40B4-BE49-F238E27FC236}">
                <a16:creationId xmlns:a16="http://schemas.microsoft.com/office/drawing/2014/main" id="{658EB404-C324-7B7F-D459-6281898BD300}"/>
              </a:ext>
            </a:extLst>
          </p:cNvPr>
          <p:cNvSpPr>
            <a:spLocks/>
          </p:cNvSpPr>
          <p:nvPr/>
        </p:nvSpPr>
        <p:spPr bwMode="auto">
          <a:xfrm>
            <a:off x="40745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6" name="Freeform 626">
            <a:extLst>
              <a:ext uri="{FF2B5EF4-FFF2-40B4-BE49-F238E27FC236}">
                <a16:creationId xmlns:a16="http://schemas.microsoft.com/office/drawing/2014/main" id="{090B2F1A-41C1-8CD7-7AE9-1A81D9F273DF}"/>
              </a:ext>
            </a:extLst>
          </p:cNvPr>
          <p:cNvSpPr>
            <a:spLocks/>
          </p:cNvSpPr>
          <p:nvPr/>
        </p:nvSpPr>
        <p:spPr bwMode="auto">
          <a:xfrm>
            <a:off x="40745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7" name="Freeform 627">
            <a:extLst>
              <a:ext uri="{FF2B5EF4-FFF2-40B4-BE49-F238E27FC236}">
                <a16:creationId xmlns:a16="http://schemas.microsoft.com/office/drawing/2014/main" id="{193681C7-1E8C-CCF7-B0D7-4D4FABD17B0B}"/>
              </a:ext>
            </a:extLst>
          </p:cNvPr>
          <p:cNvSpPr>
            <a:spLocks/>
          </p:cNvSpPr>
          <p:nvPr/>
        </p:nvSpPr>
        <p:spPr bwMode="auto">
          <a:xfrm>
            <a:off x="42756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8" name="Freeform 628">
            <a:extLst>
              <a:ext uri="{FF2B5EF4-FFF2-40B4-BE49-F238E27FC236}">
                <a16:creationId xmlns:a16="http://schemas.microsoft.com/office/drawing/2014/main" id="{D8220C17-28A6-6BC6-5EC2-6E11BEDE08C0}"/>
              </a:ext>
            </a:extLst>
          </p:cNvPr>
          <p:cNvSpPr>
            <a:spLocks/>
          </p:cNvSpPr>
          <p:nvPr/>
        </p:nvSpPr>
        <p:spPr bwMode="auto">
          <a:xfrm>
            <a:off x="42756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39" name="Freeform 629">
            <a:extLst>
              <a:ext uri="{FF2B5EF4-FFF2-40B4-BE49-F238E27FC236}">
                <a16:creationId xmlns:a16="http://schemas.microsoft.com/office/drawing/2014/main" id="{8992E6F6-7217-961A-73EC-F3FCD85F19E8}"/>
              </a:ext>
            </a:extLst>
          </p:cNvPr>
          <p:cNvSpPr>
            <a:spLocks/>
          </p:cNvSpPr>
          <p:nvPr/>
        </p:nvSpPr>
        <p:spPr bwMode="auto">
          <a:xfrm>
            <a:off x="44746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1" name="Freeform 630">
            <a:extLst>
              <a:ext uri="{FF2B5EF4-FFF2-40B4-BE49-F238E27FC236}">
                <a16:creationId xmlns:a16="http://schemas.microsoft.com/office/drawing/2014/main" id="{993B319F-63C3-BA32-E05E-EC912A7D9A59}"/>
              </a:ext>
            </a:extLst>
          </p:cNvPr>
          <p:cNvSpPr>
            <a:spLocks/>
          </p:cNvSpPr>
          <p:nvPr/>
        </p:nvSpPr>
        <p:spPr bwMode="auto">
          <a:xfrm>
            <a:off x="44746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2" name="Freeform 631">
            <a:extLst>
              <a:ext uri="{FF2B5EF4-FFF2-40B4-BE49-F238E27FC236}">
                <a16:creationId xmlns:a16="http://schemas.microsoft.com/office/drawing/2014/main" id="{ABB6687B-39B1-EBDD-40C6-831B56D1C4E9}"/>
              </a:ext>
            </a:extLst>
          </p:cNvPr>
          <p:cNvSpPr>
            <a:spLocks/>
          </p:cNvSpPr>
          <p:nvPr/>
        </p:nvSpPr>
        <p:spPr bwMode="auto">
          <a:xfrm>
            <a:off x="4675719" y="53953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4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4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3" name="Freeform 632">
            <a:extLst>
              <a:ext uri="{FF2B5EF4-FFF2-40B4-BE49-F238E27FC236}">
                <a16:creationId xmlns:a16="http://schemas.microsoft.com/office/drawing/2014/main" id="{AD47E12B-FC2E-F5E6-1ECE-BE90FFDDD254}"/>
              </a:ext>
            </a:extLst>
          </p:cNvPr>
          <p:cNvSpPr>
            <a:spLocks/>
          </p:cNvSpPr>
          <p:nvPr/>
        </p:nvSpPr>
        <p:spPr bwMode="auto">
          <a:xfrm>
            <a:off x="4675719" y="53953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4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4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4" name="Freeform 633">
            <a:extLst>
              <a:ext uri="{FF2B5EF4-FFF2-40B4-BE49-F238E27FC236}">
                <a16:creationId xmlns:a16="http://schemas.microsoft.com/office/drawing/2014/main" id="{68C67D00-4434-AF36-EEB9-37422290DEA5}"/>
              </a:ext>
            </a:extLst>
          </p:cNvPr>
          <p:cNvSpPr>
            <a:spLocks/>
          </p:cNvSpPr>
          <p:nvPr/>
        </p:nvSpPr>
        <p:spPr bwMode="auto">
          <a:xfrm>
            <a:off x="4876802" y="53594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4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5" name="Freeform 634">
            <a:extLst>
              <a:ext uri="{FF2B5EF4-FFF2-40B4-BE49-F238E27FC236}">
                <a16:creationId xmlns:a16="http://schemas.microsoft.com/office/drawing/2014/main" id="{1F9754E2-F638-705B-F6C7-D61DD7E15511}"/>
              </a:ext>
            </a:extLst>
          </p:cNvPr>
          <p:cNvSpPr>
            <a:spLocks/>
          </p:cNvSpPr>
          <p:nvPr/>
        </p:nvSpPr>
        <p:spPr bwMode="auto">
          <a:xfrm>
            <a:off x="4876802" y="53594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4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6" name="Freeform 635">
            <a:extLst>
              <a:ext uri="{FF2B5EF4-FFF2-40B4-BE49-F238E27FC236}">
                <a16:creationId xmlns:a16="http://schemas.microsoft.com/office/drawing/2014/main" id="{935ADF8A-7B5F-E83A-BE9F-C2D33246794D}"/>
              </a:ext>
            </a:extLst>
          </p:cNvPr>
          <p:cNvSpPr>
            <a:spLocks/>
          </p:cNvSpPr>
          <p:nvPr/>
        </p:nvSpPr>
        <p:spPr bwMode="auto">
          <a:xfrm>
            <a:off x="5077885" y="53784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5 h 26"/>
              <a:gd name="T8" fmla="*/ 16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3 w 26"/>
              <a:gd name="T15" fmla="*/ 25 h 26"/>
              <a:gd name="T16" fmla="*/ 1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1 w 26"/>
              <a:gd name="T23" fmla="*/ 8 h 26"/>
              <a:gd name="T24" fmla="*/ 3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6 w 26"/>
              <a:gd name="T31" fmla="*/ 2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5"/>
                </a:lnTo>
                <a:lnTo>
                  <a:pt x="16" y="26"/>
                </a:lnTo>
                <a:lnTo>
                  <a:pt x="13" y="26"/>
                </a:lnTo>
                <a:lnTo>
                  <a:pt x="7" y="26"/>
                </a:lnTo>
                <a:lnTo>
                  <a:pt x="3" y="25"/>
                </a:lnTo>
                <a:lnTo>
                  <a:pt x="1" y="19"/>
                </a:lnTo>
                <a:lnTo>
                  <a:pt x="0" y="13"/>
                </a:lnTo>
                <a:lnTo>
                  <a:pt x="0" y="13"/>
                </a:lnTo>
                <a:lnTo>
                  <a:pt x="1" y="8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6" y="2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7" name="Freeform 636">
            <a:extLst>
              <a:ext uri="{FF2B5EF4-FFF2-40B4-BE49-F238E27FC236}">
                <a16:creationId xmlns:a16="http://schemas.microsoft.com/office/drawing/2014/main" id="{F03A83BA-5C50-10B8-D3D4-BF1D9B997CC6}"/>
              </a:ext>
            </a:extLst>
          </p:cNvPr>
          <p:cNvSpPr>
            <a:spLocks/>
          </p:cNvSpPr>
          <p:nvPr/>
        </p:nvSpPr>
        <p:spPr bwMode="auto">
          <a:xfrm>
            <a:off x="5077885" y="53784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5 h 26"/>
              <a:gd name="T8" fmla="*/ 16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3 w 26"/>
              <a:gd name="T15" fmla="*/ 25 h 26"/>
              <a:gd name="T16" fmla="*/ 1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1 w 26"/>
              <a:gd name="T23" fmla="*/ 8 h 26"/>
              <a:gd name="T24" fmla="*/ 3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6 w 26"/>
              <a:gd name="T31" fmla="*/ 2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5"/>
                </a:lnTo>
                <a:lnTo>
                  <a:pt x="16" y="26"/>
                </a:lnTo>
                <a:lnTo>
                  <a:pt x="13" y="26"/>
                </a:lnTo>
                <a:lnTo>
                  <a:pt x="7" y="26"/>
                </a:lnTo>
                <a:lnTo>
                  <a:pt x="3" y="25"/>
                </a:lnTo>
                <a:lnTo>
                  <a:pt x="1" y="19"/>
                </a:lnTo>
                <a:lnTo>
                  <a:pt x="0" y="13"/>
                </a:lnTo>
                <a:lnTo>
                  <a:pt x="0" y="13"/>
                </a:lnTo>
                <a:lnTo>
                  <a:pt x="1" y="8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6" y="2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8" name="Freeform 637">
            <a:extLst>
              <a:ext uri="{FF2B5EF4-FFF2-40B4-BE49-F238E27FC236}">
                <a16:creationId xmlns:a16="http://schemas.microsoft.com/office/drawing/2014/main" id="{A9A99E57-C86B-5034-C4AC-EEF0D2CE2D85}"/>
              </a:ext>
            </a:extLst>
          </p:cNvPr>
          <p:cNvSpPr>
            <a:spLocks/>
          </p:cNvSpPr>
          <p:nvPr/>
        </p:nvSpPr>
        <p:spPr bwMode="auto">
          <a:xfrm>
            <a:off x="52768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49" name="Freeform 638">
            <a:extLst>
              <a:ext uri="{FF2B5EF4-FFF2-40B4-BE49-F238E27FC236}">
                <a16:creationId xmlns:a16="http://schemas.microsoft.com/office/drawing/2014/main" id="{8ED3B974-5B8E-8AF0-C580-08E8FAAA4A2D}"/>
              </a:ext>
            </a:extLst>
          </p:cNvPr>
          <p:cNvSpPr>
            <a:spLocks/>
          </p:cNvSpPr>
          <p:nvPr/>
        </p:nvSpPr>
        <p:spPr bwMode="auto">
          <a:xfrm>
            <a:off x="52768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0" name="Freeform 639">
            <a:extLst>
              <a:ext uri="{FF2B5EF4-FFF2-40B4-BE49-F238E27FC236}">
                <a16:creationId xmlns:a16="http://schemas.microsoft.com/office/drawing/2014/main" id="{989DA98B-E474-F734-A44D-3F37ED319774}"/>
              </a:ext>
            </a:extLst>
          </p:cNvPr>
          <p:cNvSpPr>
            <a:spLocks/>
          </p:cNvSpPr>
          <p:nvPr/>
        </p:nvSpPr>
        <p:spPr bwMode="auto">
          <a:xfrm>
            <a:off x="54779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1" name="Freeform 640">
            <a:extLst>
              <a:ext uri="{FF2B5EF4-FFF2-40B4-BE49-F238E27FC236}">
                <a16:creationId xmlns:a16="http://schemas.microsoft.com/office/drawing/2014/main" id="{E63F7C20-83ED-AE54-A2C6-548667A555AE}"/>
              </a:ext>
            </a:extLst>
          </p:cNvPr>
          <p:cNvSpPr>
            <a:spLocks/>
          </p:cNvSpPr>
          <p:nvPr/>
        </p:nvSpPr>
        <p:spPr bwMode="auto">
          <a:xfrm>
            <a:off x="54779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2" name="Freeform 641">
            <a:extLst>
              <a:ext uri="{FF2B5EF4-FFF2-40B4-BE49-F238E27FC236}">
                <a16:creationId xmlns:a16="http://schemas.microsoft.com/office/drawing/2014/main" id="{0F34BEB7-8ED0-F786-2850-FDE8C9E54953}"/>
              </a:ext>
            </a:extLst>
          </p:cNvPr>
          <p:cNvSpPr>
            <a:spLocks/>
          </p:cNvSpPr>
          <p:nvPr/>
        </p:nvSpPr>
        <p:spPr bwMode="auto">
          <a:xfrm>
            <a:off x="5679019" y="54504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6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3 w 26"/>
              <a:gd name="T15" fmla="*/ 24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6 w 26"/>
              <a:gd name="T31" fmla="*/ 2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6" y="26"/>
                </a:lnTo>
                <a:lnTo>
                  <a:pt x="13" y="26"/>
                </a:lnTo>
                <a:lnTo>
                  <a:pt x="7" y="26"/>
                </a:lnTo>
                <a:lnTo>
                  <a:pt x="3" y="24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6" y="2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3" name="Freeform 642">
            <a:extLst>
              <a:ext uri="{FF2B5EF4-FFF2-40B4-BE49-F238E27FC236}">
                <a16:creationId xmlns:a16="http://schemas.microsoft.com/office/drawing/2014/main" id="{17239CA0-31FC-88BE-5643-1199EF642F57}"/>
              </a:ext>
            </a:extLst>
          </p:cNvPr>
          <p:cNvSpPr>
            <a:spLocks/>
          </p:cNvSpPr>
          <p:nvPr/>
        </p:nvSpPr>
        <p:spPr bwMode="auto">
          <a:xfrm>
            <a:off x="5679019" y="54504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6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3 w 26"/>
              <a:gd name="T15" fmla="*/ 24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6 w 26"/>
              <a:gd name="T31" fmla="*/ 2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6" y="26"/>
                </a:lnTo>
                <a:lnTo>
                  <a:pt x="13" y="26"/>
                </a:lnTo>
                <a:lnTo>
                  <a:pt x="7" y="26"/>
                </a:lnTo>
                <a:lnTo>
                  <a:pt x="3" y="24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6" y="2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4" name="Freeform 643">
            <a:extLst>
              <a:ext uri="{FF2B5EF4-FFF2-40B4-BE49-F238E27FC236}">
                <a16:creationId xmlns:a16="http://schemas.microsoft.com/office/drawing/2014/main" id="{728D9595-8322-D373-4C74-E932D07301EE}"/>
              </a:ext>
            </a:extLst>
          </p:cNvPr>
          <p:cNvSpPr>
            <a:spLocks/>
          </p:cNvSpPr>
          <p:nvPr/>
        </p:nvSpPr>
        <p:spPr bwMode="auto">
          <a:xfrm>
            <a:off x="5877986" y="54461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4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4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4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4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5" name="Freeform 644">
            <a:extLst>
              <a:ext uri="{FF2B5EF4-FFF2-40B4-BE49-F238E27FC236}">
                <a16:creationId xmlns:a16="http://schemas.microsoft.com/office/drawing/2014/main" id="{A3782770-E1FC-D9DC-3C3D-2FAB2497CA02}"/>
              </a:ext>
            </a:extLst>
          </p:cNvPr>
          <p:cNvSpPr>
            <a:spLocks/>
          </p:cNvSpPr>
          <p:nvPr/>
        </p:nvSpPr>
        <p:spPr bwMode="auto">
          <a:xfrm>
            <a:off x="5877986" y="54461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4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4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4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4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6" name="Freeform 645">
            <a:extLst>
              <a:ext uri="{FF2B5EF4-FFF2-40B4-BE49-F238E27FC236}">
                <a16:creationId xmlns:a16="http://schemas.microsoft.com/office/drawing/2014/main" id="{0B70BADF-83CE-5CE0-6036-5C394DAB93D2}"/>
              </a:ext>
            </a:extLst>
          </p:cNvPr>
          <p:cNvSpPr>
            <a:spLocks/>
          </p:cNvSpPr>
          <p:nvPr/>
        </p:nvSpPr>
        <p:spPr bwMode="auto">
          <a:xfrm>
            <a:off x="5977469" y="54038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8 h 26"/>
              <a:gd name="T6" fmla="*/ 22 w 26"/>
              <a:gd name="T7" fmla="*/ 24 h 26"/>
              <a:gd name="T8" fmla="*/ 18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5 w 26"/>
              <a:gd name="T15" fmla="*/ 24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5 w 26"/>
              <a:gd name="T25" fmla="*/ 3 h 26"/>
              <a:gd name="T26" fmla="*/ 9 w 26"/>
              <a:gd name="T27" fmla="*/ 1 h 26"/>
              <a:gd name="T28" fmla="*/ 13 w 26"/>
              <a:gd name="T29" fmla="*/ 0 h 26"/>
              <a:gd name="T30" fmla="*/ 18 w 26"/>
              <a:gd name="T31" fmla="*/ 1 h 26"/>
              <a:gd name="T32" fmla="*/ 22 w 26"/>
              <a:gd name="T33" fmla="*/ 3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8"/>
                </a:lnTo>
                <a:lnTo>
                  <a:pt x="22" y="24"/>
                </a:lnTo>
                <a:lnTo>
                  <a:pt x="18" y="26"/>
                </a:lnTo>
                <a:lnTo>
                  <a:pt x="13" y="26"/>
                </a:lnTo>
                <a:lnTo>
                  <a:pt x="9" y="26"/>
                </a:lnTo>
                <a:lnTo>
                  <a:pt x="5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5" y="3"/>
                </a:lnTo>
                <a:lnTo>
                  <a:pt x="9" y="1"/>
                </a:lnTo>
                <a:lnTo>
                  <a:pt x="13" y="0"/>
                </a:lnTo>
                <a:lnTo>
                  <a:pt x="18" y="1"/>
                </a:lnTo>
                <a:lnTo>
                  <a:pt x="22" y="3"/>
                </a:lnTo>
                <a:lnTo>
                  <a:pt x="26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7" name="Freeform 646">
            <a:extLst>
              <a:ext uri="{FF2B5EF4-FFF2-40B4-BE49-F238E27FC236}">
                <a16:creationId xmlns:a16="http://schemas.microsoft.com/office/drawing/2014/main" id="{C9D5A1B9-0541-341E-397D-FB3162470AB9}"/>
              </a:ext>
            </a:extLst>
          </p:cNvPr>
          <p:cNvSpPr>
            <a:spLocks/>
          </p:cNvSpPr>
          <p:nvPr/>
        </p:nvSpPr>
        <p:spPr bwMode="auto">
          <a:xfrm>
            <a:off x="5977469" y="54038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8 h 26"/>
              <a:gd name="T6" fmla="*/ 22 w 26"/>
              <a:gd name="T7" fmla="*/ 24 h 26"/>
              <a:gd name="T8" fmla="*/ 18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5 w 26"/>
              <a:gd name="T15" fmla="*/ 24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5 w 26"/>
              <a:gd name="T25" fmla="*/ 3 h 26"/>
              <a:gd name="T26" fmla="*/ 9 w 26"/>
              <a:gd name="T27" fmla="*/ 1 h 26"/>
              <a:gd name="T28" fmla="*/ 13 w 26"/>
              <a:gd name="T29" fmla="*/ 0 h 26"/>
              <a:gd name="T30" fmla="*/ 18 w 26"/>
              <a:gd name="T31" fmla="*/ 1 h 26"/>
              <a:gd name="T32" fmla="*/ 22 w 26"/>
              <a:gd name="T33" fmla="*/ 3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8"/>
                </a:lnTo>
                <a:lnTo>
                  <a:pt x="22" y="24"/>
                </a:lnTo>
                <a:lnTo>
                  <a:pt x="18" y="26"/>
                </a:lnTo>
                <a:lnTo>
                  <a:pt x="13" y="26"/>
                </a:lnTo>
                <a:lnTo>
                  <a:pt x="9" y="26"/>
                </a:lnTo>
                <a:lnTo>
                  <a:pt x="5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5" y="3"/>
                </a:lnTo>
                <a:lnTo>
                  <a:pt x="9" y="1"/>
                </a:lnTo>
                <a:lnTo>
                  <a:pt x="13" y="0"/>
                </a:lnTo>
                <a:lnTo>
                  <a:pt x="18" y="1"/>
                </a:lnTo>
                <a:lnTo>
                  <a:pt x="22" y="3"/>
                </a:lnTo>
                <a:lnTo>
                  <a:pt x="26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8" name="Freeform 647">
            <a:extLst>
              <a:ext uri="{FF2B5EF4-FFF2-40B4-BE49-F238E27FC236}">
                <a16:creationId xmlns:a16="http://schemas.microsoft.com/office/drawing/2014/main" id="{9FF73FFD-739E-6B3F-49F4-E971AA1A5110}"/>
              </a:ext>
            </a:extLst>
          </p:cNvPr>
          <p:cNvSpPr>
            <a:spLocks/>
          </p:cNvSpPr>
          <p:nvPr/>
        </p:nvSpPr>
        <p:spPr bwMode="auto">
          <a:xfrm>
            <a:off x="6079069" y="54504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4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4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59" name="Freeform 648">
            <a:extLst>
              <a:ext uri="{FF2B5EF4-FFF2-40B4-BE49-F238E27FC236}">
                <a16:creationId xmlns:a16="http://schemas.microsoft.com/office/drawing/2014/main" id="{24E2FDCE-941E-3FC1-61F7-37C22318DAE7}"/>
              </a:ext>
            </a:extLst>
          </p:cNvPr>
          <p:cNvSpPr>
            <a:spLocks/>
          </p:cNvSpPr>
          <p:nvPr/>
        </p:nvSpPr>
        <p:spPr bwMode="auto">
          <a:xfrm>
            <a:off x="6079069" y="54504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4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4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60" name="Freeform 649">
            <a:extLst>
              <a:ext uri="{FF2B5EF4-FFF2-40B4-BE49-F238E27FC236}">
                <a16:creationId xmlns:a16="http://schemas.microsoft.com/office/drawing/2014/main" id="{AB32AE8D-E85F-8237-0D06-8D1AB3E6589B}"/>
              </a:ext>
            </a:extLst>
          </p:cNvPr>
          <p:cNvSpPr>
            <a:spLocks/>
          </p:cNvSpPr>
          <p:nvPr/>
        </p:nvSpPr>
        <p:spPr bwMode="auto">
          <a:xfrm>
            <a:off x="6280152" y="54588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3 h 26"/>
              <a:gd name="T26" fmla="*/ 7 w 26"/>
              <a:gd name="T27" fmla="*/ 1 h 26"/>
              <a:gd name="T28" fmla="*/ 13 w 26"/>
              <a:gd name="T29" fmla="*/ 0 h 26"/>
              <a:gd name="T30" fmla="*/ 17 w 26"/>
              <a:gd name="T31" fmla="*/ 1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3"/>
                </a:lnTo>
                <a:lnTo>
                  <a:pt x="7" y="1"/>
                </a:lnTo>
                <a:lnTo>
                  <a:pt x="13" y="0"/>
                </a:lnTo>
                <a:lnTo>
                  <a:pt x="17" y="1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61" name="Freeform 650">
            <a:extLst>
              <a:ext uri="{FF2B5EF4-FFF2-40B4-BE49-F238E27FC236}">
                <a16:creationId xmlns:a16="http://schemas.microsoft.com/office/drawing/2014/main" id="{EC55BFF5-752A-AA77-FC62-E21A91DC3C4F}"/>
              </a:ext>
            </a:extLst>
          </p:cNvPr>
          <p:cNvSpPr>
            <a:spLocks/>
          </p:cNvSpPr>
          <p:nvPr/>
        </p:nvSpPr>
        <p:spPr bwMode="auto">
          <a:xfrm>
            <a:off x="6280152" y="54588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3 h 26"/>
              <a:gd name="T26" fmla="*/ 7 w 26"/>
              <a:gd name="T27" fmla="*/ 1 h 26"/>
              <a:gd name="T28" fmla="*/ 13 w 26"/>
              <a:gd name="T29" fmla="*/ 0 h 26"/>
              <a:gd name="T30" fmla="*/ 17 w 26"/>
              <a:gd name="T31" fmla="*/ 1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3"/>
                </a:lnTo>
                <a:lnTo>
                  <a:pt x="7" y="1"/>
                </a:lnTo>
                <a:lnTo>
                  <a:pt x="13" y="0"/>
                </a:lnTo>
                <a:lnTo>
                  <a:pt x="17" y="1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62" name="Freeform 651">
            <a:extLst>
              <a:ext uri="{FF2B5EF4-FFF2-40B4-BE49-F238E27FC236}">
                <a16:creationId xmlns:a16="http://schemas.microsoft.com/office/drawing/2014/main" id="{C1B36CD3-9A17-B4A3-6D19-A0426B64F708}"/>
              </a:ext>
            </a:extLst>
          </p:cNvPr>
          <p:cNvSpPr>
            <a:spLocks/>
          </p:cNvSpPr>
          <p:nvPr/>
        </p:nvSpPr>
        <p:spPr bwMode="auto">
          <a:xfrm>
            <a:off x="6481236" y="52937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1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1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1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1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63" name="Freeform 652">
            <a:extLst>
              <a:ext uri="{FF2B5EF4-FFF2-40B4-BE49-F238E27FC236}">
                <a16:creationId xmlns:a16="http://schemas.microsoft.com/office/drawing/2014/main" id="{7394C64C-A952-BDB0-B0EF-3AAAEF033B73}"/>
              </a:ext>
            </a:extLst>
          </p:cNvPr>
          <p:cNvSpPr>
            <a:spLocks/>
          </p:cNvSpPr>
          <p:nvPr/>
        </p:nvSpPr>
        <p:spPr bwMode="auto">
          <a:xfrm>
            <a:off x="6481236" y="52937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1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1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8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1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1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64" name="Freeform 653">
            <a:extLst>
              <a:ext uri="{FF2B5EF4-FFF2-40B4-BE49-F238E27FC236}">
                <a16:creationId xmlns:a16="http://schemas.microsoft.com/office/drawing/2014/main" id="{44DF4D2C-C0D6-9E1B-BFCE-541D22DC29F2}"/>
              </a:ext>
            </a:extLst>
          </p:cNvPr>
          <p:cNvSpPr>
            <a:spLocks/>
          </p:cNvSpPr>
          <p:nvPr/>
        </p:nvSpPr>
        <p:spPr bwMode="auto">
          <a:xfrm>
            <a:off x="6680202" y="54334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5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5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3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5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5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7" y="2"/>
                </a:lnTo>
                <a:lnTo>
                  <a:pt x="23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85" name="Freeform 654">
            <a:extLst>
              <a:ext uri="{FF2B5EF4-FFF2-40B4-BE49-F238E27FC236}">
                <a16:creationId xmlns:a16="http://schemas.microsoft.com/office/drawing/2014/main" id="{4FD041A6-3B5F-6107-07E6-6ADC71BF2D23}"/>
              </a:ext>
            </a:extLst>
          </p:cNvPr>
          <p:cNvSpPr>
            <a:spLocks/>
          </p:cNvSpPr>
          <p:nvPr/>
        </p:nvSpPr>
        <p:spPr bwMode="auto">
          <a:xfrm>
            <a:off x="6680202" y="54334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5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5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3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5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5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7" y="2"/>
                </a:lnTo>
                <a:lnTo>
                  <a:pt x="23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89" name="Freeform 655">
            <a:extLst>
              <a:ext uri="{FF2B5EF4-FFF2-40B4-BE49-F238E27FC236}">
                <a16:creationId xmlns:a16="http://schemas.microsoft.com/office/drawing/2014/main" id="{96F0ED38-DD08-34D1-2CB5-0ECFF7C49C53}"/>
              </a:ext>
            </a:extLst>
          </p:cNvPr>
          <p:cNvSpPr>
            <a:spLocks/>
          </p:cNvSpPr>
          <p:nvPr/>
        </p:nvSpPr>
        <p:spPr bwMode="auto">
          <a:xfrm>
            <a:off x="6881286" y="54102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3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3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4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3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3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0" name="Freeform 656">
            <a:extLst>
              <a:ext uri="{FF2B5EF4-FFF2-40B4-BE49-F238E27FC236}">
                <a16:creationId xmlns:a16="http://schemas.microsoft.com/office/drawing/2014/main" id="{D0D339F8-EB29-9529-0679-C144445EC85A}"/>
              </a:ext>
            </a:extLst>
          </p:cNvPr>
          <p:cNvSpPr>
            <a:spLocks/>
          </p:cNvSpPr>
          <p:nvPr/>
        </p:nvSpPr>
        <p:spPr bwMode="auto">
          <a:xfrm>
            <a:off x="6881286" y="54102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3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3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4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3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3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1" name="Freeform 657">
            <a:extLst>
              <a:ext uri="{FF2B5EF4-FFF2-40B4-BE49-F238E27FC236}">
                <a16:creationId xmlns:a16="http://schemas.microsoft.com/office/drawing/2014/main" id="{CE190455-53A1-16F7-FF45-3646DB4B488F}"/>
              </a:ext>
            </a:extLst>
          </p:cNvPr>
          <p:cNvSpPr>
            <a:spLocks/>
          </p:cNvSpPr>
          <p:nvPr/>
        </p:nvSpPr>
        <p:spPr bwMode="auto">
          <a:xfrm>
            <a:off x="7109886" y="54038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8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3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3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8" y="26"/>
                </a:lnTo>
                <a:lnTo>
                  <a:pt x="13" y="26"/>
                </a:lnTo>
                <a:lnTo>
                  <a:pt x="9" y="26"/>
                </a:lnTo>
                <a:lnTo>
                  <a:pt x="3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3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FDBF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2" name="Freeform 658">
            <a:extLst>
              <a:ext uri="{FF2B5EF4-FFF2-40B4-BE49-F238E27FC236}">
                <a16:creationId xmlns:a16="http://schemas.microsoft.com/office/drawing/2014/main" id="{B2AE9646-5162-5F47-1CC1-24B516CE8255}"/>
              </a:ext>
            </a:extLst>
          </p:cNvPr>
          <p:cNvSpPr>
            <a:spLocks/>
          </p:cNvSpPr>
          <p:nvPr/>
        </p:nvSpPr>
        <p:spPr bwMode="auto">
          <a:xfrm>
            <a:off x="7109886" y="54038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8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3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3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8" y="26"/>
                </a:lnTo>
                <a:lnTo>
                  <a:pt x="13" y="26"/>
                </a:lnTo>
                <a:lnTo>
                  <a:pt x="9" y="26"/>
                </a:lnTo>
                <a:lnTo>
                  <a:pt x="3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3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FDBF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3" name="Freeform 659">
            <a:extLst>
              <a:ext uri="{FF2B5EF4-FFF2-40B4-BE49-F238E27FC236}">
                <a16:creationId xmlns:a16="http://schemas.microsoft.com/office/drawing/2014/main" id="{E8DD0B10-A599-517F-A647-063DDD8C228D}"/>
              </a:ext>
            </a:extLst>
          </p:cNvPr>
          <p:cNvSpPr>
            <a:spLocks/>
          </p:cNvSpPr>
          <p:nvPr/>
        </p:nvSpPr>
        <p:spPr bwMode="auto">
          <a:xfrm>
            <a:off x="17716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0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0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4" name="Freeform 660">
            <a:extLst>
              <a:ext uri="{FF2B5EF4-FFF2-40B4-BE49-F238E27FC236}">
                <a16:creationId xmlns:a16="http://schemas.microsoft.com/office/drawing/2014/main" id="{EA3977BE-305D-4DA4-F212-571E9F797598}"/>
              </a:ext>
            </a:extLst>
          </p:cNvPr>
          <p:cNvSpPr>
            <a:spLocks/>
          </p:cNvSpPr>
          <p:nvPr/>
        </p:nvSpPr>
        <p:spPr bwMode="auto">
          <a:xfrm>
            <a:off x="17716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0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0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5" name="Freeform 661">
            <a:extLst>
              <a:ext uri="{FF2B5EF4-FFF2-40B4-BE49-F238E27FC236}">
                <a16:creationId xmlns:a16="http://schemas.microsoft.com/office/drawing/2014/main" id="{012ECBE3-727C-5577-37B2-F431F171E4E1}"/>
              </a:ext>
            </a:extLst>
          </p:cNvPr>
          <p:cNvSpPr>
            <a:spLocks/>
          </p:cNvSpPr>
          <p:nvPr/>
        </p:nvSpPr>
        <p:spPr bwMode="auto">
          <a:xfrm>
            <a:off x="1970618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1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1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6" name="Freeform 662">
            <a:extLst>
              <a:ext uri="{FF2B5EF4-FFF2-40B4-BE49-F238E27FC236}">
                <a16:creationId xmlns:a16="http://schemas.microsoft.com/office/drawing/2014/main" id="{034D36C1-EF42-64ED-7216-E644CF40D5B8}"/>
              </a:ext>
            </a:extLst>
          </p:cNvPr>
          <p:cNvSpPr>
            <a:spLocks/>
          </p:cNvSpPr>
          <p:nvPr/>
        </p:nvSpPr>
        <p:spPr bwMode="auto">
          <a:xfrm>
            <a:off x="1970618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1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1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7" name="Freeform 663">
            <a:extLst>
              <a:ext uri="{FF2B5EF4-FFF2-40B4-BE49-F238E27FC236}">
                <a16:creationId xmlns:a16="http://schemas.microsoft.com/office/drawing/2014/main" id="{9DB5EDD5-3816-88EE-3259-E6F6ABEED52E}"/>
              </a:ext>
            </a:extLst>
          </p:cNvPr>
          <p:cNvSpPr>
            <a:spLocks/>
          </p:cNvSpPr>
          <p:nvPr/>
        </p:nvSpPr>
        <p:spPr bwMode="auto">
          <a:xfrm>
            <a:off x="2171702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8" name="Freeform 664">
            <a:extLst>
              <a:ext uri="{FF2B5EF4-FFF2-40B4-BE49-F238E27FC236}">
                <a16:creationId xmlns:a16="http://schemas.microsoft.com/office/drawing/2014/main" id="{F0A3686C-95D6-1ABB-E4FC-967A53D4E597}"/>
              </a:ext>
            </a:extLst>
          </p:cNvPr>
          <p:cNvSpPr>
            <a:spLocks/>
          </p:cNvSpPr>
          <p:nvPr/>
        </p:nvSpPr>
        <p:spPr bwMode="auto">
          <a:xfrm>
            <a:off x="2171702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99" name="Freeform 665">
            <a:extLst>
              <a:ext uri="{FF2B5EF4-FFF2-40B4-BE49-F238E27FC236}">
                <a16:creationId xmlns:a16="http://schemas.microsoft.com/office/drawing/2014/main" id="{3FDF5523-F818-B167-04EB-75A7BE6996F8}"/>
              </a:ext>
            </a:extLst>
          </p:cNvPr>
          <p:cNvSpPr>
            <a:spLocks/>
          </p:cNvSpPr>
          <p:nvPr/>
        </p:nvSpPr>
        <p:spPr bwMode="auto">
          <a:xfrm>
            <a:off x="23833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3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10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10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2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3" y="22"/>
                </a:lnTo>
                <a:lnTo>
                  <a:pt x="19" y="24"/>
                </a:lnTo>
                <a:lnTo>
                  <a:pt x="13" y="26"/>
                </a:lnTo>
                <a:lnTo>
                  <a:pt x="10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10" y="0"/>
                </a:lnTo>
                <a:lnTo>
                  <a:pt x="13" y="0"/>
                </a:lnTo>
                <a:lnTo>
                  <a:pt x="19" y="0"/>
                </a:lnTo>
                <a:lnTo>
                  <a:pt x="23" y="2"/>
                </a:lnTo>
                <a:lnTo>
                  <a:pt x="26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0" name="Freeform 666">
            <a:extLst>
              <a:ext uri="{FF2B5EF4-FFF2-40B4-BE49-F238E27FC236}">
                <a16:creationId xmlns:a16="http://schemas.microsoft.com/office/drawing/2014/main" id="{08F83F1A-7826-23B8-A923-ABC9196B9C38}"/>
              </a:ext>
            </a:extLst>
          </p:cNvPr>
          <p:cNvSpPr>
            <a:spLocks/>
          </p:cNvSpPr>
          <p:nvPr/>
        </p:nvSpPr>
        <p:spPr bwMode="auto">
          <a:xfrm>
            <a:off x="23833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3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10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10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2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3" y="22"/>
                </a:lnTo>
                <a:lnTo>
                  <a:pt x="19" y="24"/>
                </a:lnTo>
                <a:lnTo>
                  <a:pt x="13" y="26"/>
                </a:lnTo>
                <a:lnTo>
                  <a:pt x="10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10" y="0"/>
                </a:lnTo>
                <a:lnTo>
                  <a:pt x="13" y="0"/>
                </a:lnTo>
                <a:lnTo>
                  <a:pt x="19" y="0"/>
                </a:lnTo>
                <a:lnTo>
                  <a:pt x="23" y="2"/>
                </a:lnTo>
                <a:lnTo>
                  <a:pt x="26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1" name="Freeform 667">
            <a:extLst>
              <a:ext uri="{FF2B5EF4-FFF2-40B4-BE49-F238E27FC236}">
                <a16:creationId xmlns:a16="http://schemas.microsoft.com/office/drawing/2014/main" id="{1BA100B9-1FF1-3C7B-E40A-29DF9C784F13}"/>
              </a:ext>
            </a:extLst>
          </p:cNvPr>
          <p:cNvSpPr>
            <a:spLocks/>
          </p:cNvSpPr>
          <p:nvPr/>
        </p:nvSpPr>
        <p:spPr bwMode="auto">
          <a:xfrm>
            <a:off x="2571752" y="5666317"/>
            <a:ext cx="52917" cy="55033"/>
          </a:xfrm>
          <a:custGeom>
            <a:avLst/>
            <a:gdLst>
              <a:gd name="T0" fmla="*/ 25 w 25"/>
              <a:gd name="T1" fmla="*/ 13 h 26"/>
              <a:gd name="T2" fmla="*/ 25 w 25"/>
              <a:gd name="T3" fmla="*/ 13 h 26"/>
              <a:gd name="T4" fmla="*/ 25 w 25"/>
              <a:gd name="T5" fmla="*/ 19 h 26"/>
              <a:gd name="T6" fmla="*/ 21 w 25"/>
              <a:gd name="T7" fmla="*/ 22 h 26"/>
              <a:gd name="T8" fmla="*/ 17 w 25"/>
              <a:gd name="T9" fmla="*/ 24 h 26"/>
              <a:gd name="T10" fmla="*/ 13 w 25"/>
              <a:gd name="T11" fmla="*/ 26 h 26"/>
              <a:gd name="T12" fmla="*/ 8 w 25"/>
              <a:gd name="T13" fmla="*/ 24 h 26"/>
              <a:gd name="T14" fmla="*/ 4 w 25"/>
              <a:gd name="T15" fmla="*/ 22 h 26"/>
              <a:gd name="T16" fmla="*/ 0 w 25"/>
              <a:gd name="T17" fmla="*/ 19 h 26"/>
              <a:gd name="T18" fmla="*/ 0 w 25"/>
              <a:gd name="T19" fmla="*/ 13 h 26"/>
              <a:gd name="T20" fmla="*/ 0 w 25"/>
              <a:gd name="T21" fmla="*/ 13 h 26"/>
              <a:gd name="T22" fmla="*/ 0 w 25"/>
              <a:gd name="T23" fmla="*/ 7 h 26"/>
              <a:gd name="T24" fmla="*/ 4 w 25"/>
              <a:gd name="T25" fmla="*/ 2 h 26"/>
              <a:gd name="T26" fmla="*/ 8 w 25"/>
              <a:gd name="T27" fmla="*/ 0 h 26"/>
              <a:gd name="T28" fmla="*/ 13 w 25"/>
              <a:gd name="T29" fmla="*/ 0 h 26"/>
              <a:gd name="T30" fmla="*/ 17 w 25"/>
              <a:gd name="T31" fmla="*/ 0 h 26"/>
              <a:gd name="T32" fmla="*/ 21 w 25"/>
              <a:gd name="T33" fmla="*/ 2 h 26"/>
              <a:gd name="T34" fmla="*/ 25 w 25"/>
              <a:gd name="T35" fmla="*/ 7 h 26"/>
              <a:gd name="T36" fmla="*/ 25 w 25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26">
                <a:moveTo>
                  <a:pt x="25" y="13"/>
                </a:moveTo>
                <a:lnTo>
                  <a:pt x="25" y="13"/>
                </a:lnTo>
                <a:lnTo>
                  <a:pt x="25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5" y="7"/>
                </a:lnTo>
                <a:lnTo>
                  <a:pt x="25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2" name="Freeform 668">
            <a:extLst>
              <a:ext uri="{FF2B5EF4-FFF2-40B4-BE49-F238E27FC236}">
                <a16:creationId xmlns:a16="http://schemas.microsoft.com/office/drawing/2014/main" id="{1A5091E0-171E-9840-B6C2-AB4618EE05FD}"/>
              </a:ext>
            </a:extLst>
          </p:cNvPr>
          <p:cNvSpPr>
            <a:spLocks/>
          </p:cNvSpPr>
          <p:nvPr/>
        </p:nvSpPr>
        <p:spPr bwMode="auto">
          <a:xfrm>
            <a:off x="2571752" y="5666317"/>
            <a:ext cx="52917" cy="55033"/>
          </a:xfrm>
          <a:custGeom>
            <a:avLst/>
            <a:gdLst>
              <a:gd name="T0" fmla="*/ 25 w 25"/>
              <a:gd name="T1" fmla="*/ 13 h 26"/>
              <a:gd name="T2" fmla="*/ 25 w 25"/>
              <a:gd name="T3" fmla="*/ 13 h 26"/>
              <a:gd name="T4" fmla="*/ 25 w 25"/>
              <a:gd name="T5" fmla="*/ 19 h 26"/>
              <a:gd name="T6" fmla="*/ 21 w 25"/>
              <a:gd name="T7" fmla="*/ 22 h 26"/>
              <a:gd name="T8" fmla="*/ 17 w 25"/>
              <a:gd name="T9" fmla="*/ 24 h 26"/>
              <a:gd name="T10" fmla="*/ 13 w 25"/>
              <a:gd name="T11" fmla="*/ 26 h 26"/>
              <a:gd name="T12" fmla="*/ 8 w 25"/>
              <a:gd name="T13" fmla="*/ 24 h 26"/>
              <a:gd name="T14" fmla="*/ 4 w 25"/>
              <a:gd name="T15" fmla="*/ 22 h 26"/>
              <a:gd name="T16" fmla="*/ 0 w 25"/>
              <a:gd name="T17" fmla="*/ 19 h 26"/>
              <a:gd name="T18" fmla="*/ 0 w 25"/>
              <a:gd name="T19" fmla="*/ 13 h 26"/>
              <a:gd name="T20" fmla="*/ 0 w 25"/>
              <a:gd name="T21" fmla="*/ 13 h 26"/>
              <a:gd name="T22" fmla="*/ 0 w 25"/>
              <a:gd name="T23" fmla="*/ 7 h 26"/>
              <a:gd name="T24" fmla="*/ 4 w 25"/>
              <a:gd name="T25" fmla="*/ 2 h 26"/>
              <a:gd name="T26" fmla="*/ 8 w 25"/>
              <a:gd name="T27" fmla="*/ 0 h 26"/>
              <a:gd name="T28" fmla="*/ 13 w 25"/>
              <a:gd name="T29" fmla="*/ 0 h 26"/>
              <a:gd name="T30" fmla="*/ 17 w 25"/>
              <a:gd name="T31" fmla="*/ 0 h 26"/>
              <a:gd name="T32" fmla="*/ 21 w 25"/>
              <a:gd name="T33" fmla="*/ 2 h 26"/>
              <a:gd name="T34" fmla="*/ 25 w 25"/>
              <a:gd name="T35" fmla="*/ 7 h 26"/>
              <a:gd name="T36" fmla="*/ 25 w 25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26">
                <a:moveTo>
                  <a:pt x="25" y="13"/>
                </a:moveTo>
                <a:lnTo>
                  <a:pt x="25" y="13"/>
                </a:lnTo>
                <a:lnTo>
                  <a:pt x="25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5" y="7"/>
                </a:lnTo>
                <a:lnTo>
                  <a:pt x="25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3" name="Freeform 669">
            <a:extLst>
              <a:ext uri="{FF2B5EF4-FFF2-40B4-BE49-F238E27FC236}">
                <a16:creationId xmlns:a16="http://schemas.microsoft.com/office/drawing/2014/main" id="{24980267-5DE6-619F-C854-F299E6CF7EE7}"/>
              </a:ext>
            </a:extLst>
          </p:cNvPr>
          <p:cNvSpPr>
            <a:spLocks/>
          </p:cNvSpPr>
          <p:nvPr/>
        </p:nvSpPr>
        <p:spPr bwMode="auto">
          <a:xfrm>
            <a:off x="2772835" y="5359401"/>
            <a:ext cx="50800" cy="59267"/>
          </a:xfrm>
          <a:custGeom>
            <a:avLst/>
            <a:gdLst>
              <a:gd name="T0" fmla="*/ 24 w 24"/>
              <a:gd name="T1" fmla="*/ 13 h 28"/>
              <a:gd name="T2" fmla="*/ 24 w 24"/>
              <a:gd name="T3" fmla="*/ 13 h 28"/>
              <a:gd name="T4" fmla="*/ 24 w 24"/>
              <a:gd name="T5" fmla="*/ 21 h 28"/>
              <a:gd name="T6" fmla="*/ 21 w 24"/>
              <a:gd name="T7" fmla="*/ 24 h 28"/>
              <a:gd name="T8" fmla="*/ 17 w 24"/>
              <a:gd name="T9" fmla="*/ 26 h 28"/>
              <a:gd name="T10" fmla="*/ 11 w 24"/>
              <a:gd name="T11" fmla="*/ 28 h 28"/>
              <a:gd name="T12" fmla="*/ 8 w 24"/>
              <a:gd name="T13" fmla="*/ 26 h 28"/>
              <a:gd name="T14" fmla="*/ 4 w 24"/>
              <a:gd name="T15" fmla="*/ 24 h 28"/>
              <a:gd name="T16" fmla="*/ 0 w 24"/>
              <a:gd name="T17" fmla="*/ 21 h 28"/>
              <a:gd name="T18" fmla="*/ 0 w 24"/>
              <a:gd name="T19" fmla="*/ 13 h 28"/>
              <a:gd name="T20" fmla="*/ 0 w 24"/>
              <a:gd name="T21" fmla="*/ 13 h 28"/>
              <a:gd name="T22" fmla="*/ 0 w 24"/>
              <a:gd name="T23" fmla="*/ 8 h 28"/>
              <a:gd name="T24" fmla="*/ 4 w 24"/>
              <a:gd name="T25" fmla="*/ 4 h 28"/>
              <a:gd name="T26" fmla="*/ 8 w 24"/>
              <a:gd name="T27" fmla="*/ 2 h 28"/>
              <a:gd name="T28" fmla="*/ 11 w 24"/>
              <a:gd name="T29" fmla="*/ 0 h 28"/>
              <a:gd name="T30" fmla="*/ 17 w 24"/>
              <a:gd name="T31" fmla="*/ 2 h 28"/>
              <a:gd name="T32" fmla="*/ 21 w 24"/>
              <a:gd name="T33" fmla="*/ 4 h 28"/>
              <a:gd name="T34" fmla="*/ 24 w 24"/>
              <a:gd name="T35" fmla="*/ 8 h 28"/>
              <a:gd name="T36" fmla="*/ 24 w 24"/>
              <a:gd name="T37" fmla="*/ 1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8">
                <a:moveTo>
                  <a:pt x="24" y="13"/>
                </a:moveTo>
                <a:lnTo>
                  <a:pt x="24" y="13"/>
                </a:lnTo>
                <a:lnTo>
                  <a:pt x="24" y="21"/>
                </a:lnTo>
                <a:lnTo>
                  <a:pt x="21" y="24"/>
                </a:lnTo>
                <a:lnTo>
                  <a:pt x="17" y="26"/>
                </a:lnTo>
                <a:lnTo>
                  <a:pt x="11" y="28"/>
                </a:lnTo>
                <a:lnTo>
                  <a:pt x="8" y="26"/>
                </a:lnTo>
                <a:lnTo>
                  <a:pt x="4" y="24"/>
                </a:lnTo>
                <a:lnTo>
                  <a:pt x="0" y="21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8" y="2"/>
                </a:lnTo>
                <a:lnTo>
                  <a:pt x="11" y="0"/>
                </a:lnTo>
                <a:lnTo>
                  <a:pt x="17" y="2"/>
                </a:lnTo>
                <a:lnTo>
                  <a:pt x="21" y="4"/>
                </a:lnTo>
                <a:lnTo>
                  <a:pt x="24" y="8"/>
                </a:lnTo>
                <a:lnTo>
                  <a:pt x="24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4" name="Freeform 670">
            <a:extLst>
              <a:ext uri="{FF2B5EF4-FFF2-40B4-BE49-F238E27FC236}">
                <a16:creationId xmlns:a16="http://schemas.microsoft.com/office/drawing/2014/main" id="{8BFC31BF-51E9-BB5C-D61F-D37C212674F3}"/>
              </a:ext>
            </a:extLst>
          </p:cNvPr>
          <p:cNvSpPr>
            <a:spLocks/>
          </p:cNvSpPr>
          <p:nvPr/>
        </p:nvSpPr>
        <p:spPr bwMode="auto">
          <a:xfrm>
            <a:off x="2772835" y="5359401"/>
            <a:ext cx="50800" cy="59267"/>
          </a:xfrm>
          <a:custGeom>
            <a:avLst/>
            <a:gdLst>
              <a:gd name="T0" fmla="*/ 24 w 24"/>
              <a:gd name="T1" fmla="*/ 13 h 28"/>
              <a:gd name="T2" fmla="*/ 24 w 24"/>
              <a:gd name="T3" fmla="*/ 13 h 28"/>
              <a:gd name="T4" fmla="*/ 24 w 24"/>
              <a:gd name="T5" fmla="*/ 21 h 28"/>
              <a:gd name="T6" fmla="*/ 21 w 24"/>
              <a:gd name="T7" fmla="*/ 24 h 28"/>
              <a:gd name="T8" fmla="*/ 17 w 24"/>
              <a:gd name="T9" fmla="*/ 26 h 28"/>
              <a:gd name="T10" fmla="*/ 11 w 24"/>
              <a:gd name="T11" fmla="*/ 28 h 28"/>
              <a:gd name="T12" fmla="*/ 8 w 24"/>
              <a:gd name="T13" fmla="*/ 26 h 28"/>
              <a:gd name="T14" fmla="*/ 4 w 24"/>
              <a:gd name="T15" fmla="*/ 24 h 28"/>
              <a:gd name="T16" fmla="*/ 0 w 24"/>
              <a:gd name="T17" fmla="*/ 21 h 28"/>
              <a:gd name="T18" fmla="*/ 0 w 24"/>
              <a:gd name="T19" fmla="*/ 13 h 28"/>
              <a:gd name="T20" fmla="*/ 0 w 24"/>
              <a:gd name="T21" fmla="*/ 13 h 28"/>
              <a:gd name="T22" fmla="*/ 0 w 24"/>
              <a:gd name="T23" fmla="*/ 8 h 28"/>
              <a:gd name="T24" fmla="*/ 4 w 24"/>
              <a:gd name="T25" fmla="*/ 4 h 28"/>
              <a:gd name="T26" fmla="*/ 8 w 24"/>
              <a:gd name="T27" fmla="*/ 2 h 28"/>
              <a:gd name="T28" fmla="*/ 11 w 24"/>
              <a:gd name="T29" fmla="*/ 0 h 28"/>
              <a:gd name="T30" fmla="*/ 17 w 24"/>
              <a:gd name="T31" fmla="*/ 2 h 28"/>
              <a:gd name="T32" fmla="*/ 21 w 24"/>
              <a:gd name="T33" fmla="*/ 4 h 28"/>
              <a:gd name="T34" fmla="*/ 24 w 24"/>
              <a:gd name="T35" fmla="*/ 8 h 28"/>
              <a:gd name="T36" fmla="*/ 24 w 24"/>
              <a:gd name="T37" fmla="*/ 1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8">
                <a:moveTo>
                  <a:pt x="24" y="13"/>
                </a:moveTo>
                <a:lnTo>
                  <a:pt x="24" y="13"/>
                </a:lnTo>
                <a:lnTo>
                  <a:pt x="24" y="21"/>
                </a:lnTo>
                <a:lnTo>
                  <a:pt x="21" y="24"/>
                </a:lnTo>
                <a:lnTo>
                  <a:pt x="17" y="26"/>
                </a:lnTo>
                <a:lnTo>
                  <a:pt x="11" y="28"/>
                </a:lnTo>
                <a:lnTo>
                  <a:pt x="8" y="26"/>
                </a:lnTo>
                <a:lnTo>
                  <a:pt x="4" y="24"/>
                </a:lnTo>
                <a:lnTo>
                  <a:pt x="0" y="21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8" y="2"/>
                </a:lnTo>
                <a:lnTo>
                  <a:pt x="11" y="0"/>
                </a:lnTo>
                <a:lnTo>
                  <a:pt x="17" y="2"/>
                </a:lnTo>
                <a:lnTo>
                  <a:pt x="21" y="4"/>
                </a:lnTo>
                <a:lnTo>
                  <a:pt x="24" y="8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5" name="Freeform 671">
            <a:extLst>
              <a:ext uri="{FF2B5EF4-FFF2-40B4-BE49-F238E27FC236}">
                <a16:creationId xmlns:a16="http://schemas.microsoft.com/office/drawing/2014/main" id="{D26DD815-0FB4-2321-8E89-2E809BB1DBD9}"/>
              </a:ext>
            </a:extLst>
          </p:cNvPr>
          <p:cNvSpPr>
            <a:spLocks/>
          </p:cNvSpPr>
          <p:nvPr/>
        </p:nvSpPr>
        <p:spPr bwMode="auto">
          <a:xfrm>
            <a:off x="2872319" y="5312834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0 h 28"/>
              <a:gd name="T6" fmla="*/ 22 w 26"/>
              <a:gd name="T7" fmla="*/ 24 h 28"/>
              <a:gd name="T8" fmla="*/ 18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3 w 26"/>
              <a:gd name="T15" fmla="*/ 24 h 28"/>
              <a:gd name="T16" fmla="*/ 1 w 26"/>
              <a:gd name="T17" fmla="*/ 20 h 28"/>
              <a:gd name="T18" fmla="*/ 0 w 26"/>
              <a:gd name="T19" fmla="*/ 15 h 28"/>
              <a:gd name="T20" fmla="*/ 0 w 26"/>
              <a:gd name="T21" fmla="*/ 15 h 28"/>
              <a:gd name="T22" fmla="*/ 1 w 26"/>
              <a:gd name="T23" fmla="*/ 7 h 28"/>
              <a:gd name="T24" fmla="*/ 3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8 w 26"/>
              <a:gd name="T31" fmla="*/ 2 h 28"/>
              <a:gd name="T32" fmla="*/ 22 w 26"/>
              <a:gd name="T33" fmla="*/ 4 h 28"/>
              <a:gd name="T34" fmla="*/ 24 w 26"/>
              <a:gd name="T35" fmla="*/ 7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0"/>
                </a:lnTo>
                <a:lnTo>
                  <a:pt x="22" y="24"/>
                </a:lnTo>
                <a:lnTo>
                  <a:pt x="18" y="26"/>
                </a:lnTo>
                <a:lnTo>
                  <a:pt x="13" y="28"/>
                </a:lnTo>
                <a:lnTo>
                  <a:pt x="7" y="26"/>
                </a:lnTo>
                <a:lnTo>
                  <a:pt x="3" y="24"/>
                </a:lnTo>
                <a:lnTo>
                  <a:pt x="1" y="20"/>
                </a:lnTo>
                <a:lnTo>
                  <a:pt x="0" y="15"/>
                </a:lnTo>
                <a:lnTo>
                  <a:pt x="0" y="15"/>
                </a:lnTo>
                <a:lnTo>
                  <a:pt x="1" y="7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8" y="2"/>
                </a:lnTo>
                <a:lnTo>
                  <a:pt x="22" y="4"/>
                </a:lnTo>
                <a:lnTo>
                  <a:pt x="24" y="7"/>
                </a:lnTo>
                <a:lnTo>
                  <a:pt x="26" y="15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6" name="Freeform 672">
            <a:extLst>
              <a:ext uri="{FF2B5EF4-FFF2-40B4-BE49-F238E27FC236}">
                <a16:creationId xmlns:a16="http://schemas.microsoft.com/office/drawing/2014/main" id="{0D8DF068-1A15-E881-4707-08153EB4F957}"/>
              </a:ext>
            </a:extLst>
          </p:cNvPr>
          <p:cNvSpPr>
            <a:spLocks/>
          </p:cNvSpPr>
          <p:nvPr/>
        </p:nvSpPr>
        <p:spPr bwMode="auto">
          <a:xfrm>
            <a:off x="2872319" y="5312834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0 h 28"/>
              <a:gd name="T6" fmla="*/ 22 w 26"/>
              <a:gd name="T7" fmla="*/ 24 h 28"/>
              <a:gd name="T8" fmla="*/ 18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3 w 26"/>
              <a:gd name="T15" fmla="*/ 24 h 28"/>
              <a:gd name="T16" fmla="*/ 1 w 26"/>
              <a:gd name="T17" fmla="*/ 20 h 28"/>
              <a:gd name="T18" fmla="*/ 0 w 26"/>
              <a:gd name="T19" fmla="*/ 15 h 28"/>
              <a:gd name="T20" fmla="*/ 0 w 26"/>
              <a:gd name="T21" fmla="*/ 15 h 28"/>
              <a:gd name="T22" fmla="*/ 1 w 26"/>
              <a:gd name="T23" fmla="*/ 7 h 28"/>
              <a:gd name="T24" fmla="*/ 3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8 w 26"/>
              <a:gd name="T31" fmla="*/ 2 h 28"/>
              <a:gd name="T32" fmla="*/ 22 w 26"/>
              <a:gd name="T33" fmla="*/ 4 h 28"/>
              <a:gd name="T34" fmla="*/ 24 w 26"/>
              <a:gd name="T35" fmla="*/ 7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0"/>
                </a:lnTo>
                <a:lnTo>
                  <a:pt x="22" y="24"/>
                </a:lnTo>
                <a:lnTo>
                  <a:pt x="18" y="26"/>
                </a:lnTo>
                <a:lnTo>
                  <a:pt x="13" y="28"/>
                </a:lnTo>
                <a:lnTo>
                  <a:pt x="7" y="26"/>
                </a:lnTo>
                <a:lnTo>
                  <a:pt x="3" y="24"/>
                </a:lnTo>
                <a:lnTo>
                  <a:pt x="1" y="20"/>
                </a:lnTo>
                <a:lnTo>
                  <a:pt x="0" y="15"/>
                </a:lnTo>
                <a:lnTo>
                  <a:pt x="0" y="15"/>
                </a:lnTo>
                <a:lnTo>
                  <a:pt x="1" y="7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8" y="2"/>
                </a:lnTo>
                <a:lnTo>
                  <a:pt x="22" y="4"/>
                </a:lnTo>
                <a:lnTo>
                  <a:pt x="24" y="7"/>
                </a:lnTo>
                <a:lnTo>
                  <a:pt x="26" y="15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7" name="Freeform 673">
            <a:extLst>
              <a:ext uri="{FF2B5EF4-FFF2-40B4-BE49-F238E27FC236}">
                <a16:creationId xmlns:a16="http://schemas.microsoft.com/office/drawing/2014/main" id="{F5D6D484-7604-3D86-2E4D-B4426ADD9EFC}"/>
              </a:ext>
            </a:extLst>
          </p:cNvPr>
          <p:cNvSpPr>
            <a:spLocks/>
          </p:cNvSpPr>
          <p:nvPr/>
        </p:nvSpPr>
        <p:spPr bwMode="auto">
          <a:xfrm>
            <a:off x="2973919" y="5185834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3 h 26"/>
              <a:gd name="T8" fmla="*/ 17 w 24"/>
              <a:gd name="T9" fmla="*/ 26 h 26"/>
              <a:gd name="T10" fmla="*/ 11 w 24"/>
              <a:gd name="T11" fmla="*/ 26 h 26"/>
              <a:gd name="T12" fmla="*/ 7 w 24"/>
              <a:gd name="T13" fmla="*/ 26 h 26"/>
              <a:gd name="T14" fmla="*/ 4 w 24"/>
              <a:gd name="T15" fmla="*/ 23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8 h 26"/>
              <a:gd name="T24" fmla="*/ 4 w 24"/>
              <a:gd name="T25" fmla="*/ 4 h 26"/>
              <a:gd name="T26" fmla="*/ 7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0 w 24"/>
              <a:gd name="T33" fmla="*/ 4 h 26"/>
              <a:gd name="T34" fmla="*/ 24 w 24"/>
              <a:gd name="T35" fmla="*/ 8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3"/>
                </a:lnTo>
                <a:lnTo>
                  <a:pt x="17" y="26"/>
                </a:lnTo>
                <a:lnTo>
                  <a:pt x="11" y="26"/>
                </a:lnTo>
                <a:lnTo>
                  <a:pt x="7" y="26"/>
                </a:lnTo>
                <a:lnTo>
                  <a:pt x="4" y="23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0"/>
                </a:lnTo>
                <a:lnTo>
                  <a:pt x="11" y="0"/>
                </a:lnTo>
                <a:lnTo>
                  <a:pt x="17" y="0"/>
                </a:lnTo>
                <a:lnTo>
                  <a:pt x="20" y="4"/>
                </a:lnTo>
                <a:lnTo>
                  <a:pt x="24" y="8"/>
                </a:lnTo>
                <a:lnTo>
                  <a:pt x="24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8" name="Freeform 674">
            <a:extLst>
              <a:ext uri="{FF2B5EF4-FFF2-40B4-BE49-F238E27FC236}">
                <a16:creationId xmlns:a16="http://schemas.microsoft.com/office/drawing/2014/main" id="{B161075D-4C9D-A736-74CC-4EC00ABFAAA7}"/>
              </a:ext>
            </a:extLst>
          </p:cNvPr>
          <p:cNvSpPr>
            <a:spLocks/>
          </p:cNvSpPr>
          <p:nvPr/>
        </p:nvSpPr>
        <p:spPr bwMode="auto">
          <a:xfrm>
            <a:off x="2973919" y="5185834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3 h 26"/>
              <a:gd name="T8" fmla="*/ 17 w 24"/>
              <a:gd name="T9" fmla="*/ 26 h 26"/>
              <a:gd name="T10" fmla="*/ 11 w 24"/>
              <a:gd name="T11" fmla="*/ 26 h 26"/>
              <a:gd name="T12" fmla="*/ 7 w 24"/>
              <a:gd name="T13" fmla="*/ 26 h 26"/>
              <a:gd name="T14" fmla="*/ 4 w 24"/>
              <a:gd name="T15" fmla="*/ 23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8 h 26"/>
              <a:gd name="T24" fmla="*/ 4 w 24"/>
              <a:gd name="T25" fmla="*/ 4 h 26"/>
              <a:gd name="T26" fmla="*/ 7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0 w 24"/>
              <a:gd name="T33" fmla="*/ 4 h 26"/>
              <a:gd name="T34" fmla="*/ 24 w 24"/>
              <a:gd name="T35" fmla="*/ 8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3"/>
                </a:lnTo>
                <a:lnTo>
                  <a:pt x="17" y="26"/>
                </a:lnTo>
                <a:lnTo>
                  <a:pt x="11" y="26"/>
                </a:lnTo>
                <a:lnTo>
                  <a:pt x="7" y="26"/>
                </a:lnTo>
                <a:lnTo>
                  <a:pt x="4" y="23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0"/>
                </a:lnTo>
                <a:lnTo>
                  <a:pt x="11" y="0"/>
                </a:lnTo>
                <a:lnTo>
                  <a:pt x="17" y="0"/>
                </a:lnTo>
                <a:lnTo>
                  <a:pt x="20" y="4"/>
                </a:lnTo>
                <a:lnTo>
                  <a:pt x="24" y="8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09" name="Freeform 675">
            <a:extLst>
              <a:ext uri="{FF2B5EF4-FFF2-40B4-BE49-F238E27FC236}">
                <a16:creationId xmlns:a16="http://schemas.microsoft.com/office/drawing/2014/main" id="{0374DB79-49C2-1A9E-48DE-15BBB222737A}"/>
              </a:ext>
            </a:extLst>
          </p:cNvPr>
          <p:cNvSpPr>
            <a:spLocks/>
          </p:cNvSpPr>
          <p:nvPr/>
        </p:nvSpPr>
        <p:spPr bwMode="auto">
          <a:xfrm>
            <a:off x="30712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2"/>
                </a:lnTo>
                <a:lnTo>
                  <a:pt x="19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3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0" name="Freeform 676">
            <a:extLst>
              <a:ext uri="{FF2B5EF4-FFF2-40B4-BE49-F238E27FC236}">
                <a16:creationId xmlns:a16="http://schemas.microsoft.com/office/drawing/2014/main" id="{97BDE544-967E-BD12-9DE7-1AD89CFFCE86}"/>
              </a:ext>
            </a:extLst>
          </p:cNvPr>
          <p:cNvSpPr>
            <a:spLocks/>
          </p:cNvSpPr>
          <p:nvPr/>
        </p:nvSpPr>
        <p:spPr bwMode="auto">
          <a:xfrm>
            <a:off x="30712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2"/>
                </a:lnTo>
                <a:lnTo>
                  <a:pt x="19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3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1" name="Freeform 677">
            <a:extLst>
              <a:ext uri="{FF2B5EF4-FFF2-40B4-BE49-F238E27FC236}">
                <a16:creationId xmlns:a16="http://schemas.microsoft.com/office/drawing/2014/main" id="{88516D69-47FE-0484-5A70-9B55BCDC740B}"/>
              </a:ext>
            </a:extLst>
          </p:cNvPr>
          <p:cNvSpPr>
            <a:spLocks/>
          </p:cNvSpPr>
          <p:nvPr/>
        </p:nvSpPr>
        <p:spPr bwMode="auto">
          <a:xfrm>
            <a:off x="32723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9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9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2" name="Freeform 678">
            <a:extLst>
              <a:ext uri="{FF2B5EF4-FFF2-40B4-BE49-F238E27FC236}">
                <a16:creationId xmlns:a16="http://schemas.microsoft.com/office/drawing/2014/main" id="{A4405B21-8620-6766-1F6C-AF98447586BF}"/>
              </a:ext>
            </a:extLst>
          </p:cNvPr>
          <p:cNvSpPr>
            <a:spLocks/>
          </p:cNvSpPr>
          <p:nvPr/>
        </p:nvSpPr>
        <p:spPr bwMode="auto">
          <a:xfrm>
            <a:off x="32723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9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9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3" name="Freeform 679">
            <a:extLst>
              <a:ext uri="{FF2B5EF4-FFF2-40B4-BE49-F238E27FC236}">
                <a16:creationId xmlns:a16="http://schemas.microsoft.com/office/drawing/2014/main" id="{BA693353-9D30-46AC-8097-7B178B360EC3}"/>
              </a:ext>
            </a:extLst>
          </p:cNvPr>
          <p:cNvSpPr>
            <a:spLocks/>
          </p:cNvSpPr>
          <p:nvPr/>
        </p:nvSpPr>
        <p:spPr bwMode="auto">
          <a:xfrm>
            <a:off x="3473452" y="5179484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0 h 28"/>
              <a:gd name="T6" fmla="*/ 22 w 26"/>
              <a:gd name="T7" fmla="*/ 24 h 28"/>
              <a:gd name="T8" fmla="*/ 18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3 w 26"/>
              <a:gd name="T15" fmla="*/ 24 h 28"/>
              <a:gd name="T16" fmla="*/ 2 w 26"/>
              <a:gd name="T17" fmla="*/ 20 h 28"/>
              <a:gd name="T18" fmla="*/ 0 w 26"/>
              <a:gd name="T19" fmla="*/ 15 h 28"/>
              <a:gd name="T20" fmla="*/ 0 w 26"/>
              <a:gd name="T21" fmla="*/ 15 h 28"/>
              <a:gd name="T22" fmla="*/ 2 w 26"/>
              <a:gd name="T23" fmla="*/ 7 h 28"/>
              <a:gd name="T24" fmla="*/ 3 w 26"/>
              <a:gd name="T25" fmla="*/ 3 h 28"/>
              <a:gd name="T26" fmla="*/ 7 w 26"/>
              <a:gd name="T27" fmla="*/ 2 h 28"/>
              <a:gd name="T28" fmla="*/ 13 w 26"/>
              <a:gd name="T29" fmla="*/ 0 h 28"/>
              <a:gd name="T30" fmla="*/ 18 w 26"/>
              <a:gd name="T31" fmla="*/ 2 h 28"/>
              <a:gd name="T32" fmla="*/ 22 w 26"/>
              <a:gd name="T33" fmla="*/ 3 h 28"/>
              <a:gd name="T34" fmla="*/ 24 w 26"/>
              <a:gd name="T35" fmla="*/ 7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0"/>
                </a:lnTo>
                <a:lnTo>
                  <a:pt x="22" y="24"/>
                </a:lnTo>
                <a:lnTo>
                  <a:pt x="18" y="26"/>
                </a:lnTo>
                <a:lnTo>
                  <a:pt x="13" y="28"/>
                </a:lnTo>
                <a:lnTo>
                  <a:pt x="7" y="26"/>
                </a:lnTo>
                <a:lnTo>
                  <a:pt x="3" y="24"/>
                </a:lnTo>
                <a:lnTo>
                  <a:pt x="2" y="20"/>
                </a:lnTo>
                <a:lnTo>
                  <a:pt x="0" y="15"/>
                </a:lnTo>
                <a:lnTo>
                  <a:pt x="0" y="15"/>
                </a:lnTo>
                <a:lnTo>
                  <a:pt x="2" y="7"/>
                </a:lnTo>
                <a:lnTo>
                  <a:pt x="3" y="3"/>
                </a:lnTo>
                <a:lnTo>
                  <a:pt x="7" y="2"/>
                </a:lnTo>
                <a:lnTo>
                  <a:pt x="13" y="0"/>
                </a:lnTo>
                <a:lnTo>
                  <a:pt x="18" y="2"/>
                </a:lnTo>
                <a:lnTo>
                  <a:pt x="22" y="3"/>
                </a:lnTo>
                <a:lnTo>
                  <a:pt x="24" y="7"/>
                </a:lnTo>
                <a:lnTo>
                  <a:pt x="26" y="15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4" name="Freeform 680">
            <a:extLst>
              <a:ext uri="{FF2B5EF4-FFF2-40B4-BE49-F238E27FC236}">
                <a16:creationId xmlns:a16="http://schemas.microsoft.com/office/drawing/2014/main" id="{0BDB12B8-FF2B-688F-0F12-30B32B874534}"/>
              </a:ext>
            </a:extLst>
          </p:cNvPr>
          <p:cNvSpPr>
            <a:spLocks/>
          </p:cNvSpPr>
          <p:nvPr/>
        </p:nvSpPr>
        <p:spPr bwMode="auto">
          <a:xfrm>
            <a:off x="3473452" y="5179484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0 h 28"/>
              <a:gd name="T6" fmla="*/ 22 w 26"/>
              <a:gd name="T7" fmla="*/ 24 h 28"/>
              <a:gd name="T8" fmla="*/ 18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3 w 26"/>
              <a:gd name="T15" fmla="*/ 24 h 28"/>
              <a:gd name="T16" fmla="*/ 2 w 26"/>
              <a:gd name="T17" fmla="*/ 20 h 28"/>
              <a:gd name="T18" fmla="*/ 0 w 26"/>
              <a:gd name="T19" fmla="*/ 15 h 28"/>
              <a:gd name="T20" fmla="*/ 0 w 26"/>
              <a:gd name="T21" fmla="*/ 15 h 28"/>
              <a:gd name="T22" fmla="*/ 2 w 26"/>
              <a:gd name="T23" fmla="*/ 7 h 28"/>
              <a:gd name="T24" fmla="*/ 3 w 26"/>
              <a:gd name="T25" fmla="*/ 3 h 28"/>
              <a:gd name="T26" fmla="*/ 7 w 26"/>
              <a:gd name="T27" fmla="*/ 2 h 28"/>
              <a:gd name="T28" fmla="*/ 13 w 26"/>
              <a:gd name="T29" fmla="*/ 0 h 28"/>
              <a:gd name="T30" fmla="*/ 18 w 26"/>
              <a:gd name="T31" fmla="*/ 2 h 28"/>
              <a:gd name="T32" fmla="*/ 22 w 26"/>
              <a:gd name="T33" fmla="*/ 3 h 28"/>
              <a:gd name="T34" fmla="*/ 24 w 26"/>
              <a:gd name="T35" fmla="*/ 7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0"/>
                </a:lnTo>
                <a:lnTo>
                  <a:pt x="22" y="24"/>
                </a:lnTo>
                <a:lnTo>
                  <a:pt x="18" y="26"/>
                </a:lnTo>
                <a:lnTo>
                  <a:pt x="13" y="28"/>
                </a:lnTo>
                <a:lnTo>
                  <a:pt x="7" y="26"/>
                </a:lnTo>
                <a:lnTo>
                  <a:pt x="3" y="24"/>
                </a:lnTo>
                <a:lnTo>
                  <a:pt x="2" y="20"/>
                </a:lnTo>
                <a:lnTo>
                  <a:pt x="0" y="15"/>
                </a:lnTo>
                <a:lnTo>
                  <a:pt x="0" y="15"/>
                </a:lnTo>
                <a:lnTo>
                  <a:pt x="2" y="7"/>
                </a:lnTo>
                <a:lnTo>
                  <a:pt x="3" y="3"/>
                </a:lnTo>
                <a:lnTo>
                  <a:pt x="7" y="2"/>
                </a:lnTo>
                <a:lnTo>
                  <a:pt x="13" y="0"/>
                </a:lnTo>
                <a:lnTo>
                  <a:pt x="18" y="2"/>
                </a:lnTo>
                <a:lnTo>
                  <a:pt x="22" y="3"/>
                </a:lnTo>
                <a:lnTo>
                  <a:pt x="24" y="7"/>
                </a:lnTo>
                <a:lnTo>
                  <a:pt x="26" y="15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5" name="Freeform 681">
            <a:extLst>
              <a:ext uri="{FF2B5EF4-FFF2-40B4-BE49-F238E27FC236}">
                <a16:creationId xmlns:a16="http://schemas.microsoft.com/office/drawing/2014/main" id="{B5EEA38F-F12C-B6DF-29CA-0AF5188AB97E}"/>
              </a:ext>
            </a:extLst>
          </p:cNvPr>
          <p:cNvSpPr>
            <a:spLocks/>
          </p:cNvSpPr>
          <p:nvPr/>
        </p:nvSpPr>
        <p:spPr bwMode="auto">
          <a:xfrm>
            <a:off x="3672419" y="50736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8 h 26"/>
              <a:gd name="T6" fmla="*/ 23 w 26"/>
              <a:gd name="T7" fmla="*/ 22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1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1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8"/>
                </a:lnTo>
                <a:lnTo>
                  <a:pt x="23" y="22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1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3" y="1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6" name="Freeform 682">
            <a:extLst>
              <a:ext uri="{FF2B5EF4-FFF2-40B4-BE49-F238E27FC236}">
                <a16:creationId xmlns:a16="http://schemas.microsoft.com/office/drawing/2014/main" id="{EFF4AEB9-0768-05D9-748A-50D04D1E422D}"/>
              </a:ext>
            </a:extLst>
          </p:cNvPr>
          <p:cNvSpPr>
            <a:spLocks/>
          </p:cNvSpPr>
          <p:nvPr/>
        </p:nvSpPr>
        <p:spPr bwMode="auto">
          <a:xfrm>
            <a:off x="3672419" y="50736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8 h 26"/>
              <a:gd name="T6" fmla="*/ 23 w 26"/>
              <a:gd name="T7" fmla="*/ 22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1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1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8"/>
                </a:lnTo>
                <a:lnTo>
                  <a:pt x="23" y="22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1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3" y="1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7" name="Freeform 683">
            <a:extLst>
              <a:ext uri="{FF2B5EF4-FFF2-40B4-BE49-F238E27FC236}">
                <a16:creationId xmlns:a16="http://schemas.microsoft.com/office/drawing/2014/main" id="{CE2E5B26-E86A-12AC-D9E3-B969EE3D1C73}"/>
              </a:ext>
            </a:extLst>
          </p:cNvPr>
          <p:cNvSpPr>
            <a:spLocks/>
          </p:cNvSpPr>
          <p:nvPr/>
        </p:nvSpPr>
        <p:spPr bwMode="auto">
          <a:xfrm>
            <a:off x="3873502" y="52620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3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3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8" name="Freeform 684">
            <a:extLst>
              <a:ext uri="{FF2B5EF4-FFF2-40B4-BE49-F238E27FC236}">
                <a16:creationId xmlns:a16="http://schemas.microsoft.com/office/drawing/2014/main" id="{6ED5DBC5-090A-2350-F00E-8D7A00D687CE}"/>
              </a:ext>
            </a:extLst>
          </p:cNvPr>
          <p:cNvSpPr>
            <a:spLocks/>
          </p:cNvSpPr>
          <p:nvPr/>
        </p:nvSpPr>
        <p:spPr bwMode="auto">
          <a:xfrm>
            <a:off x="3873502" y="52620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3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3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19" name="Freeform 685">
            <a:extLst>
              <a:ext uri="{FF2B5EF4-FFF2-40B4-BE49-F238E27FC236}">
                <a16:creationId xmlns:a16="http://schemas.microsoft.com/office/drawing/2014/main" id="{B5BC1536-D068-D221-2666-8E938AD2C9B0}"/>
              </a:ext>
            </a:extLst>
          </p:cNvPr>
          <p:cNvSpPr>
            <a:spLocks/>
          </p:cNvSpPr>
          <p:nvPr/>
        </p:nvSpPr>
        <p:spPr bwMode="auto">
          <a:xfrm>
            <a:off x="4074585" y="52895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3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3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0" name="Freeform 686">
            <a:extLst>
              <a:ext uri="{FF2B5EF4-FFF2-40B4-BE49-F238E27FC236}">
                <a16:creationId xmlns:a16="http://schemas.microsoft.com/office/drawing/2014/main" id="{8F8BB0E4-2908-9780-E244-D1F2C9A2D789}"/>
              </a:ext>
            </a:extLst>
          </p:cNvPr>
          <p:cNvSpPr>
            <a:spLocks/>
          </p:cNvSpPr>
          <p:nvPr/>
        </p:nvSpPr>
        <p:spPr bwMode="auto">
          <a:xfrm>
            <a:off x="4074585" y="528955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3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3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3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3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1" name="Freeform 687">
            <a:extLst>
              <a:ext uri="{FF2B5EF4-FFF2-40B4-BE49-F238E27FC236}">
                <a16:creationId xmlns:a16="http://schemas.microsoft.com/office/drawing/2014/main" id="{10774F66-1342-0F9F-B81E-9A6772C58BB4}"/>
              </a:ext>
            </a:extLst>
          </p:cNvPr>
          <p:cNvSpPr>
            <a:spLocks/>
          </p:cNvSpPr>
          <p:nvPr/>
        </p:nvSpPr>
        <p:spPr bwMode="auto">
          <a:xfrm>
            <a:off x="42756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2" name="Freeform 688">
            <a:extLst>
              <a:ext uri="{FF2B5EF4-FFF2-40B4-BE49-F238E27FC236}">
                <a16:creationId xmlns:a16="http://schemas.microsoft.com/office/drawing/2014/main" id="{77AFF8D4-2E17-E848-5B6F-E6EEF09626ED}"/>
              </a:ext>
            </a:extLst>
          </p:cNvPr>
          <p:cNvSpPr>
            <a:spLocks/>
          </p:cNvSpPr>
          <p:nvPr/>
        </p:nvSpPr>
        <p:spPr bwMode="auto">
          <a:xfrm>
            <a:off x="42756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3" name="Freeform 689">
            <a:extLst>
              <a:ext uri="{FF2B5EF4-FFF2-40B4-BE49-F238E27FC236}">
                <a16:creationId xmlns:a16="http://schemas.microsoft.com/office/drawing/2014/main" id="{AACE3474-4364-BE0B-83F7-B1CFFDEB5258}"/>
              </a:ext>
            </a:extLst>
          </p:cNvPr>
          <p:cNvSpPr>
            <a:spLocks/>
          </p:cNvSpPr>
          <p:nvPr/>
        </p:nvSpPr>
        <p:spPr bwMode="auto">
          <a:xfrm>
            <a:off x="4474635" y="52302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8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8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4" name="Freeform 690">
            <a:extLst>
              <a:ext uri="{FF2B5EF4-FFF2-40B4-BE49-F238E27FC236}">
                <a16:creationId xmlns:a16="http://schemas.microsoft.com/office/drawing/2014/main" id="{4545CC7A-C70D-0AB5-E89C-826CC736E09B}"/>
              </a:ext>
            </a:extLst>
          </p:cNvPr>
          <p:cNvSpPr>
            <a:spLocks/>
          </p:cNvSpPr>
          <p:nvPr/>
        </p:nvSpPr>
        <p:spPr bwMode="auto">
          <a:xfrm>
            <a:off x="4474635" y="52302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8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8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5" name="Freeform 691">
            <a:extLst>
              <a:ext uri="{FF2B5EF4-FFF2-40B4-BE49-F238E27FC236}">
                <a16:creationId xmlns:a16="http://schemas.microsoft.com/office/drawing/2014/main" id="{B1CA66C4-F038-CC57-B6A2-456C97482676}"/>
              </a:ext>
            </a:extLst>
          </p:cNvPr>
          <p:cNvSpPr>
            <a:spLocks/>
          </p:cNvSpPr>
          <p:nvPr/>
        </p:nvSpPr>
        <p:spPr bwMode="auto">
          <a:xfrm>
            <a:off x="4675719" y="51710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4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4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6" name="Freeform 692">
            <a:extLst>
              <a:ext uri="{FF2B5EF4-FFF2-40B4-BE49-F238E27FC236}">
                <a16:creationId xmlns:a16="http://schemas.microsoft.com/office/drawing/2014/main" id="{BCD58A4F-CBF6-83D9-898E-B345CD08D159}"/>
              </a:ext>
            </a:extLst>
          </p:cNvPr>
          <p:cNvSpPr>
            <a:spLocks/>
          </p:cNvSpPr>
          <p:nvPr/>
        </p:nvSpPr>
        <p:spPr bwMode="auto">
          <a:xfrm>
            <a:off x="4675719" y="51710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4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6"/>
                </a:lnTo>
                <a:lnTo>
                  <a:pt x="13" y="26"/>
                </a:lnTo>
                <a:lnTo>
                  <a:pt x="8" y="26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4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7" name="Freeform 693">
            <a:extLst>
              <a:ext uri="{FF2B5EF4-FFF2-40B4-BE49-F238E27FC236}">
                <a16:creationId xmlns:a16="http://schemas.microsoft.com/office/drawing/2014/main" id="{C7007078-25D0-F6A7-9E7D-7CDC00F3272B}"/>
              </a:ext>
            </a:extLst>
          </p:cNvPr>
          <p:cNvSpPr>
            <a:spLocks/>
          </p:cNvSpPr>
          <p:nvPr/>
        </p:nvSpPr>
        <p:spPr bwMode="auto">
          <a:xfrm>
            <a:off x="4876802" y="51477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8" name="Freeform 694">
            <a:extLst>
              <a:ext uri="{FF2B5EF4-FFF2-40B4-BE49-F238E27FC236}">
                <a16:creationId xmlns:a16="http://schemas.microsoft.com/office/drawing/2014/main" id="{7C39C65F-77D9-EA82-EBFE-628995618BEA}"/>
              </a:ext>
            </a:extLst>
          </p:cNvPr>
          <p:cNvSpPr>
            <a:spLocks/>
          </p:cNvSpPr>
          <p:nvPr/>
        </p:nvSpPr>
        <p:spPr bwMode="auto">
          <a:xfrm>
            <a:off x="4876802" y="51477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4 h 26"/>
              <a:gd name="T26" fmla="*/ 7 w 26"/>
              <a:gd name="T27" fmla="*/ 2 h 26"/>
              <a:gd name="T28" fmla="*/ 13 w 26"/>
              <a:gd name="T29" fmla="*/ 0 h 26"/>
              <a:gd name="T30" fmla="*/ 17 w 26"/>
              <a:gd name="T31" fmla="*/ 2 h 26"/>
              <a:gd name="T32" fmla="*/ 22 w 26"/>
              <a:gd name="T33" fmla="*/ 4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29" name="Freeform 695">
            <a:extLst>
              <a:ext uri="{FF2B5EF4-FFF2-40B4-BE49-F238E27FC236}">
                <a16:creationId xmlns:a16="http://schemas.microsoft.com/office/drawing/2014/main" id="{84AABADB-9D7D-6BEF-3A5B-BD04EEF263EC}"/>
              </a:ext>
            </a:extLst>
          </p:cNvPr>
          <p:cNvSpPr>
            <a:spLocks/>
          </p:cNvSpPr>
          <p:nvPr/>
        </p:nvSpPr>
        <p:spPr bwMode="auto">
          <a:xfrm>
            <a:off x="5077885" y="51477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1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1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1" y="18"/>
                </a:lnTo>
                <a:lnTo>
                  <a:pt x="0" y="13"/>
                </a:lnTo>
                <a:lnTo>
                  <a:pt x="0" y="13"/>
                </a:lnTo>
                <a:lnTo>
                  <a:pt x="1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0" name="Freeform 696">
            <a:extLst>
              <a:ext uri="{FF2B5EF4-FFF2-40B4-BE49-F238E27FC236}">
                <a16:creationId xmlns:a16="http://schemas.microsoft.com/office/drawing/2014/main" id="{2D999C0F-7E7E-9FC8-B419-2E19E009D3D3}"/>
              </a:ext>
            </a:extLst>
          </p:cNvPr>
          <p:cNvSpPr>
            <a:spLocks/>
          </p:cNvSpPr>
          <p:nvPr/>
        </p:nvSpPr>
        <p:spPr bwMode="auto">
          <a:xfrm>
            <a:off x="5077885" y="51477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8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1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1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1" y="18"/>
                </a:lnTo>
                <a:lnTo>
                  <a:pt x="0" y="13"/>
                </a:lnTo>
                <a:lnTo>
                  <a:pt x="0" y="13"/>
                </a:lnTo>
                <a:lnTo>
                  <a:pt x="1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1" name="Freeform 697">
            <a:extLst>
              <a:ext uri="{FF2B5EF4-FFF2-40B4-BE49-F238E27FC236}">
                <a16:creationId xmlns:a16="http://schemas.microsoft.com/office/drawing/2014/main" id="{848ACFB0-0A6B-C0EF-91DF-93BAA6FC09AF}"/>
              </a:ext>
            </a:extLst>
          </p:cNvPr>
          <p:cNvSpPr>
            <a:spLocks/>
          </p:cNvSpPr>
          <p:nvPr/>
        </p:nvSpPr>
        <p:spPr bwMode="auto">
          <a:xfrm>
            <a:off x="5276852" y="5262034"/>
            <a:ext cx="55033" cy="59267"/>
          </a:xfrm>
          <a:custGeom>
            <a:avLst/>
            <a:gdLst>
              <a:gd name="T0" fmla="*/ 26 w 26"/>
              <a:gd name="T1" fmla="*/ 13 h 28"/>
              <a:gd name="T2" fmla="*/ 26 w 26"/>
              <a:gd name="T3" fmla="*/ 13 h 28"/>
              <a:gd name="T4" fmla="*/ 24 w 26"/>
              <a:gd name="T5" fmla="*/ 18 h 28"/>
              <a:gd name="T6" fmla="*/ 23 w 26"/>
              <a:gd name="T7" fmla="*/ 24 h 28"/>
              <a:gd name="T8" fmla="*/ 17 w 26"/>
              <a:gd name="T9" fmla="*/ 26 h 28"/>
              <a:gd name="T10" fmla="*/ 13 w 26"/>
              <a:gd name="T11" fmla="*/ 28 h 28"/>
              <a:gd name="T12" fmla="*/ 8 w 26"/>
              <a:gd name="T13" fmla="*/ 26 h 28"/>
              <a:gd name="T14" fmla="*/ 4 w 26"/>
              <a:gd name="T15" fmla="*/ 24 h 28"/>
              <a:gd name="T16" fmla="*/ 2 w 26"/>
              <a:gd name="T17" fmla="*/ 18 h 28"/>
              <a:gd name="T18" fmla="*/ 0 w 26"/>
              <a:gd name="T19" fmla="*/ 13 h 28"/>
              <a:gd name="T20" fmla="*/ 0 w 26"/>
              <a:gd name="T21" fmla="*/ 13 h 28"/>
              <a:gd name="T22" fmla="*/ 2 w 26"/>
              <a:gd name="T23" fmla="*/ 7 h 28"/>
              <a:gd name="T24" fmla="*/ 4 w 26"/>
              <a:gd name="T25" fmla="*/ 3 h 28"/>
              <a:gd name="T26" fmla="*/ 8 w 26"/>
              <a:gd name="T27" fmla="*/ 2 h 28"/>
              <a:gd name="T28" fmla="*/ 13 w 26"/>
              <a:gd name="T29" fmla="*/ 0 h 28"/>
              <a:gd name="T30" fmla="*/ 17 w 26"/>
              <a:gd name="T31" fmla="*/ 2 h 28"/>
              <a:gd name="T32" fmla="*/ 23 w 26"/>
              <a:gd name="T33" fmla="*/ 3 h 28"/>
              <a:gd name="T34" fmla="*/ 24 w 26"/>
              <a:gd name="T35" fmla="*/ 7 h 28"/>
              <a:gd name="T36" fmla="*/ 26 w 26"/>
              <a:gd name="T37" fmla="*/ 1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3" y="24"/>
                </a:lnTo>
                <a:lnTo>
                  <a:pt x="17" y="26"/>
                </a:lnTo>
                <a:lnTo>
                  <a:pt x="13" y="28"/>
                </a:lnTo>
                <a:lnTo>
                  <a:pt x="8" y="26"/>
                </a:lnTo>
                <a:lnTo>
                  <a:pt x="4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3"/>
                </a:lnTo>
                <a:lnTo>
                  <a:pt x="8" y="2"/>
                </a:lnTo>
                <a:lnTo>
                  <a:pt x="13" y="0"/>
                </a:lnTo>
                <a:lnTo>
                  <a:pt x="17" y="2"/>
                </a:lnTo>
                <a:lnTo>
                  <a:pt x="23" y="3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2" name="Freeform 698">
            <a:extLst>
              <a:ext uri="{FF2B5EF4-FFF2-40B4-BE49-F238E27FC236}">
                <a16:creationId xmlns:a16="http://schemas.microsoft.com/office/drawing/2014/main" id="{4176AB1A-116F-8423-5E57-F766F66599A6}"/>
              </a:ext>
            </a:extLst>
          </p:cNvPr>
          <p:cNvSpPr>
            <a:spLocks/>
          </p:cNvSpPr>
          <p:nvPr/>
        </p:nvSpPr>
        <p:spPr bwMode="auto">
          <a:xfrm>
            <a:off x="5276852" y="5262034"/>
            <a:ext cx="55033" cy="59267"/>
          </a:xfrm>
          <a:custGeom>
            <a:avLst/>
            <a:gdLst>
              <a:gd name="T0" fmla="*/ 26 w 26"/>
              <a:gd name="T1" fmla="*/ 13 h 28"/>
              <a:gd name="T2" fmla="*/ 26 w 26"/>
              <a:gd name="T3" fmla="*/ 13 h 28"/>
              <a:gd name="T4" fmla="*/ 24 w 26"/>
              <a:gd name="T5" fmla="*/ 18 h 28"/>
              <a:gd name="T6" fmla="*/ 23 w 26"/>
              <a:gd name="T7" fmla="*/ 24 h 28"/>
              <a:gd name="T8" fmla="*/ 17 w 26"/>
              <a:gd name="T9" fmla="*/ 26 h 28"/>
              <a:gd name="T10" fmla="*/ 13 w 26"/>
              <a:gd name="T11" fmla="*/ 28 h 28"/>
              <a:gd name="T12" fmla="*/ 8 w 26"/>
              <a:gd name="T13" fmla="*/ 26 h 28"/>
              <a:gd name="T14" fmla="*/ 4 w 26"/>
              <a:gd name="T15" fmla="*/ 24 h 28"/>
              <a:gd name="T16" fmla="*/ 2 w 26"/>
              <a:gd name="T17" fmla="*/ 18 h 28"/>
              <a:gd name="T18" fmla="*/ 0 w 26"/>
              <a:gd name="T19" fmla="*/ 13 h 28"/>
              <a:gd name="T20" fmla="*/ 0 w 26"/>
              <a:gd name="T21" fmla="*/ 13 h 28"/>
              <a:gd name="T22" fmla="*/ 2 w 26"/>
              <a:gd name="T23" fmla="*/ 7 h 28"/>
              <a:gd name="T24" fmla="*/ 4 w 26"/>
              <a:gd name="T25" fmla="*/ 3 h 28"/>
              <a:gd name="T26" fmla="*/ 8 w 26"/>
              <a:gd name="T27" fmla="*/ 2 h 28"/>
              <a:gd name="T28" fmla="*/ 13 w 26"/>
              <a:gd name="T29" fmla="*/ 0 h 28"/>
              <a:gd name="T30" fmla="*/ 17 w 26"/>
              <a:gd name="T31" fmla="*/ 2 h 28"/>
              <a:gd name="T32" fmla="*/ 23 w 26"/>
              <a:gd name="T33" fmla="*/ 3 h 28"/>
              <a:gd name="T34" fmla="*/ 24 w 26"/>
              <a:gd name="T35" fmla="*/ 7 h 28"/>
              <a:gd name="T36" fmla="*/ 26 w 26"/>
              <a:gd name="T37" fmla="*/ 1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3"/>
                </a:moveTo>
                <a:lnTo>
                  <a:pt x="26" y="13"/>
                </a:lnTo>
                <a:lnTo>
                  <a:pt x="24" y="18"/>
                </a:lnTo>
                <a:lnTo>
                  <a:pt x="23" y="24"/>
                </a:lnTo>
                <a:lnTo>
                  <a:pt x="17" y="26"/>
                </a:lnTo>
                <a:lnTo>
                  <a:pt x="13" y="28"/>
                </a:lnTo>
                <a:lnTo>
                  <a:pt x="8" y="26"/>
                </a:lnTo>
                <a:lnTo>
                  <a:pt x="4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3"/>
                </a:lnTo>
                <a:lnTo>
                  <a:pt x="8" y="2"/>
                </a:lnTo>
                <a:lnTo>
                  <a:pt x="13" y="0"/>
                </a:lnTo>
                <a:lnTo>
                  <a:pt x="17" y="2"/>
                </a:lnTo>
                <a:lnTo>
                  <a:pt x="23" y="3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3" name="Freeform 699">
            <a:extLst>
              <a:ext uri="{FF2B5EF4-FFF2-40B4-BE49-F238E27FC236}">
                <a16:creationId xmlns:a16="http://schemas.microsoft.com/office/drawing/2014/main" id="{7FB95A1C-D621-033B-DB5E-0B199EA774DA}"/>
              </a:ext>
            </a:extLst>
          </p:cNvPr>
          <p:cNvSpPr>
            <a:spLocks/>
          </p:cNvSpPr>
          <p:nvPr/>
        </p:nvSpPr>
        <p:spPr bwMode="auto">
          <a:xfrm>
            <a:off x="5477935" y="53594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4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4" name="Freeform 700">
            <a:extLst>
              <a:ext uri="{FF2B5EF4-FFF2-40B4-BE49-F238E27FC236}">
                <a16:creationId xmlns:a16="http://schemas.microsoft.com/office/drawing/2014/main" id="{7372CB18-4C43-6EB5-21F3-4AF13462FCD1}"/>
              </a:ext>
            </a:extLst>
          </p:cNvPr>
          <p:cNvSpPr>
            <a:spLocks/>
          </p:cNvSpPr>
          <p:nvPr/>
        </p:nvSpPr>
        <p:spPr bwMode="auto">
          <a:xfrm>
            <a:off x="5477935" y="53594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4 h 26"/>
              <a:gd name="T8" fmla="*/ 17 w 26"/>
              <a:gd name="T9" fmla="*/ 26 h 26"/>
              <a:gd name="T10" fmla="*/ 13 w 26"/>
              <a:gd name="T11" fmla="*/ 26 h 26"/>
              <a:gd name="T12" fmla="*/ 7 w 26"/>
              <a:gd name="T13" fmla="*/ 26 h 26"/>
              <a:gd name="T14" fmla="*/ 4 w 26"/>
              <a:gd name="T15" fmla="*/ 24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4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4"/>
                </a:lnTo>
                <a:lnTo>
                  <a:pt x="17" y="26"/>
                </a:lnTo>
                <a:lnTo>
                  <a:pt x="13" y="26"/>
                </a:lnTo>
                <a:lnTo>
                  <a:pt x="7" y="26"/>
                </a:lnTo>
                <a:lnTo>
                  <a:pt x="4" y="24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5" name="Freeform 701">
            <a:extLst>
              <a:ext uri="{FF2B5EF4-FFF2-40B4-BE49-F238E27FC236}">
                <a16:creationId xmlns:a16="http://schemas.microsoft.com/office/drawing/2014/main" id="{F8A10957-0196-A7A7-C8CD-58B2E641F516}"/>
              </a:ext>
            </a:extLst>
          </p:cNvPr>
          <p:cNvSpPr>
            <a:spLocks/>
          </p:cNvSpPr>
          <p:nvPr/>
        </p:nvSpPr>
        <p:spPr bwMode="auto">
          <a:xfrm>
            <a:off x="5679019" y="5281084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0 h 28"/>
              <a:gd name="T6" fmla="*/ 22 w 26"/>
              <a:gd name="T7" fmla="*/ 24 h 28"/>
              <a:gd name="T8" fmla="*/ 16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3 w 26"/>
              <a:gd name="T15" fmla="*/ 24 h 28"/>
              <a:gd name="T16" fmla="*/ 0 w 26"/>
              <a:gd name="T17" fmla="*/ 20 h 28"/>
              <a:gd name="T18" fmla="*/ 0 w 26"/>
              <a:gd name="T19" fmla="*/ 15 h 28"/>
              <a:gd name="T20" fmla="*/ 0 w 26"/>
              <a:gd name="T21" fmla="*/ 15 h 28"/>
              <a:gd name="T22" fmla="*/ 0 w 26"/>
              <a:gd name="T23" fmla="*/ 7 h 28"/>
              <a:gd name="T24" fmla="*/ 3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6 w 26"/>
              <a:gd name="T31" fmla="*/ 2 h 28"/>
              <a:gd name="T32" fmla="*/ 22 w 26"/>
              <a:gd name="T33" fmla="*/ 4 h 28"/>
              <a:gd name="T34" fmla="*/ 24 w 26"/>
              <a:gd name="T35" fmla="*/ 7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0"/>
                </a:lnTo>
                <a:lnTo>
                  <a:pt x="22" y="24"/>
                </a:lnTo>
                <a:lnTo>
                  <a:pt x="16" y="26"/>
                </a:lnTo>
                <a:lnTo>
                  <a:pt x="13" y="28"/>
                </a:lnTo>
                <a:lnTo>
                  <a:pt x="7" y="26"/>
                </a:lnTo>
                <a:lnTo>
                  <a:pt x="3" y="24"/>
                </a:lnTo>
                <a:lnTo>
                  <a:pt x="0" y="20"/>
                </a:lnTo>
                <a:lnTo>
                  <a:pt x="0" y="15"/>
                </a:lnTo>
                <a:lnTo>
                  <a:pt x="0" y="15"/>
                </a:lnTo>
                <a:lnTo>
                  <a:pt x="0" y="7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6" y="2"/>
                </a:lnTo>
                <a:lnTo>
                  <a:pt x="22" y="4"/>
                </a:lnTo>
                <a:lnTo>
                  <a:pt x="24" y="7"/>
                </a:lnTo>
                <a:lnTo>
                  <a:pt x="26" y="15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6" name="Freeform 702">
            <a:extLst>
              <a:ext uri="{FF2B5EF4-FFF2-40B4-BE49-F238E27FC236}">
                <a16:creationId xmlns:a16="http://schemas.microsoft.com/office/drawing/2014/main" id="{F48C4BD9-2925-2970-8AD7-456E717AB317}"/>
              </a:ext>
            </a:extLst>
          </p:cNvPr>
          <p:cNvSpPr>
            <a:spLocks/>
          </p:cNvSpPr>
          <p:nvPr/>
        </p:nvSpPr>
        <p:spPr bwMode="auto">
          <a:xfrm>
            <a:off x="5679019" y="5281084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0 h 28"/>
              <a:gd name="T6" fmla="*/ 22 w 26"/>
              <a:gd name="T7" fmla="*/ 24 h 28"/>
              <a:gd name="T8" fmla="*/ 16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3 w 26"/>
              <a:gd name="T15" fmla="*/ 24 h 28"/>
              <a:gd name="T16" fmla="*/ 0 w 26"/>
              <a:gd name="T17" fmla="*/ 20 h 28"/>
              <a:gd name="T18" fmla="*/ 0 w 26"/>
              <a:gd name="T19" fmla="*/ 15 h 28"/>
              <a:gd name="T20" fmla="*/ 0 w 26"/>
              <a:gd name="T21" fmla="*/ 15 h 28"/>
              <a:gd name="T22" fmla="*/ 0 w 26"/>
              <a:gd name="T23" fmla="*/ 7 h 28"/>
              <a:gd name="T24" fmla="*/ 3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6 w 26"/>
              <a:gd name="T31" fmla="*/ 2 h 28"/>
              <a:gd name="T32" fmla="*/ 22 w 26"/>
              <a:gd name="T33" fmla="*/ 4 h 28"/>
              <a:gd name="T34" fmla="*/ 24 w 26"/>
              <a:gd name="T35" fmla="*/ 7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0"/>
                </a:lnTo>
                <a:lnTo>
                  <a:pt x="22" y="24"/>
                </a:lnTo>
                <a:lnTo>
                  <a:pt x="16" y="26"/>
                </a:lnTo>
                <a:lnTo>
                  <a:pt x="13" y="28"/>
                </a:lnTo>
                <a:lnTo>
                  <a:pt x="7" y="26"/>
                </a:lnTo>
                <a:lnTo>
                  <a:pt x="3" y="24"/>
                </a:lnTo>
                <a:lnTo>
                  <a:pt x="0" y="20"/>
                </a:lnTo>
                <a:lnTo>
                  <a:pt x="0" y="15"/>
                </a:lnTo>
                <a:lnTo>
                  <a:pt x="0" y="15"/>
                </a:lnTo>
                <a:lnTo>
                  <a:pt x="0" y="7"/>
                </a:lnTo>
                <a:lnTo>
                  <a:pt x="3" y="4"/>
                </a:lnTo>
                <a:lnTo>
                  <a:pt x="7" y="2"/>
                </a:lnTo>
                <a:lnTo>
                  <a:pt x="13" y="0"/>
                </a:lnTo>
                <a:lnTo>
                  <a:pt x="16" y="2"/>
                </a:lnTo>
                <a:lnTo>
                  <a:pt x="22" y="4"/>
                </a:lnTo>
                <a:lnTo>
                  <a:pt x="24" y="7"/>
                </a:lnTo>
                <a:lnTo>
                  <a:pt x="26" y="15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7" name="Freeform 703">
            <a:extLst>
              <a:ext uri="{FF2B5EF4-FFF2-40B4-BE49-F238E27FC236}">
                <a16:creationId xmlns:a16="http://schemas.microsoft.com/office/drawing/2014/main" id="{9DCC204B-C6F9-4695-E70E-79A5D1F412E0}"/>
              </a:ext>
            </a:extLst>
          </p:cNvPr>
          <p:cNvSpPr>
            <a:spLocks/>
          </p:cNvSpPr>
          <p:nvPr/>
        </p:nvSpPr>
        <p:spPr bwMode="auto">
          <a:xfrm>
            <a:off x="5877986" y="53001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3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3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3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3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8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8" name="Freeform 704">
            <a:extLst>
              <a:ext uri="{FF2B5EF4-FFF2-40B4-BE49-F238E27FC236}">
                <a16:creationId xmlns:a16="http://schemas.microsoft.com/office/drawing/2014/main" id="{97A8E1BF-054C-3956-1278-1622FA822762}"/>
              </a:ext>
            </a:extLst>
          </p:cNvPr>
          <p:cNvSpPr>
            <a:spLocks/>
          </p:cNvSpPr>
          <p:nvPr/>
        </p:nvSpPr>
        <p:spPr bwMode="auto">
          <a:xfrm>
            <a:off x="5877986" y="530013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3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3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8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3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3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39" name="Freeform 705">
            <a:extLst>
              <a:ext uri="{FF2B5EF4-FFF2-40B4-BE49-F238E27FC236}">
                <a16:creationId xmlns:a16="http://schemas.microsoft.com/office/drawing/2014/main" id="{F5391F7E-BB54-FBC5-0A2B-01FF70684F87}"/>
              </a:ext>
            </a:extLst>
          </p:cNvPr>
          <p:cNvSpPr>
            <a:spLocks/>
          </p:cNvSpPr>
          <p:nvPr/>
        </p:nvSpPr>
        <p:spPr bwMode="auto">
          <a:xfrm>
            <a:off x="5977469" y="530436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2 w 26"/>
              <a:gd name="T7" fmla="*/ 24 h 26"/>
              <a:gd name="T8" fmla="*/ 18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5 w 26"/>
              <a:gd name="T15" fmla="*/ 24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5 w 26"/>
              <a:gd name="T25" fmla="*/ 4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4 h 26"/>
              <a:gd name="T34" fmla="*/ 26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2" y="24"/>
                </a:lnTo>
                <a:lnTo>
                  <a:pt x="18" y="26"/>
                </a:lnTo>
                <a:lnTo>
                  <a:pt x="13" y="26"/>
                </a:lnTo>
                <a:lnTo>
                  <a:pt x="9" y="26"/>
                </a:lnTo>
                <a:lnTo>
                  <a:pt x="5" y="24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5" y="4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4"/>
                </a:lnTo>
                <a:lnTo>
                  <a:pt x="26" y="8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0" name="Freeform 706">
            <a:extLst>
              <a:ext uri="{FF2B5EF4-FFF2-40B4-BE49-F238E27FC236}">
                <a16:creationId xmlns:a16="http://schemas.microsoft.com/office/drawing/2014/main" id="{AA452BF4-5F2B-AA51-7FBD-5008167BC635}"/>
              </a:ext>
            </a:extLst>
          </p:cNvPr>
          <p:cNvSpPr>
            <a:spLocks/>
          </p:cNvSpPr>
          <p:nvPr/>
        </p:nvSpPr>
        <p:spPr bwMode="auto">
          <a:xfrm>
            <a:off x="5977469" y="530436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2 w 26"/>
              <a:gd name="T7" fmla="*/ 24 h 26"/>
              <a:gd name="T8" fmla="*/ 18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5 w 26"/>
              <a:gd name="T15" fmla="*/ 24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5 w 26"/>
              <a:gd name="T25" fmla="*/ 4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4 h 26"/>
              <a:gd name="T34" fmla="*/ 26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2" y="24"/>
                </a:lnTo>
                <a:lnTo>
                  <a:pt x="18" y="26"/>
                </a:lnTo>
                <a:lnTo>
                  <a:pt x="13" y="26"/>
                </a:lnTo>
                <a:lnTo>
                  <a:pt x="9" y="26"/>
                </a:lnTo>
                <a:lnTo>
                  <a:pt x="5" y="24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5" y="4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4"/>
                </a:lnTo>
                <a:lnTo>
                  <a:pt x="26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1" name="Freeform 707">
            <a:extLst>
              <a:ext uri="{FF2B5EF4-FFF2-40B4-BE49-F238E27FC236}">
                <a16:creationId xmlns:a16="http://schemas.microsoft.com/office/drawing/2014/main" id="{62E7BBF7-A703-4483-0CB6-5C70058A1028}"/>
              </a:ext>
            </a:extLst>
          </p:cNvPr>
          <p:cNvSpPr>
            <a:spLocks/>
          </p:cNvSpPr>
          <p:nvPr/>
        </p:nvSpPr>
        <p:spPr bwMode="auto">
          <a:xfrm>
            <a:off x="6079069" y="525356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2" name="Freeform 708">
            <a:extLst>
              <a:ext uri="{FF2B5EF4-FFF2-40B4-BE49-F238E27FC236}">
                <a16:creationId xmlns:a16="http://schemas.microsoft.com/office/drawing/2014/main" id="{A89F1FEC-42EF-A9EA-AD13-A047832B18FA}"/>
              </a:ext>
            </a:extLst>
          </p:cNvPr>
          <p:cNvSpPr>
            <a:spLocks/>
          </p:cNvSpPr>
          <p:nvPr/>
        </p:nvSpPr>
        <p:spPr bwMode="auto">
          <a:xfrm>
            <a:off x="6079069" y="525356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3" name="Freeform 709">
            <a:extLst>
              <a:ext uri="{FF2B5EF4-FFF2-40B4-BE49-F238E27FC236}">
                <a16:creationId xmlns:a16="http://schemas.microsoft.com/office/drawing/2014/main" id="{6AFD7A39-3EB9-6E2D-E038-9E5342AD0E6B}"/>
              </a:ext>
            </a:extLst>
          </p:cNvPr>
          <p:cNvSpPr>
            <a:spLocks/>
          </p:cNvSpPr>
          <p:nvPr/>
        </p:nvSpPr>
        <p:spPr bwMode="auto">
          <a:xfrm>
            <a:off x="6290736" y="52451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3 w 26"/>
              <a:gd name="T7" fmla="*/ 23 h 26"/>
              <a:gd name="T8" fmla="*/ 19 w 26"/>
              <a:gd name="T9" fmla="*/ 26 h 26"/>
              <a:gd name="T10" fmla="*/ 13 w 26"/>
              <a:gd name="T11" fmla="*/ 26 h 26"/>
              <a:gd name="T12" fmla="*/ 10 w 26"/>
              <a:gd name="T13" fmla="*/ 26 h 26"/>
              <a:gd name="T14" fmla="*/ 6 w 26"/>
              <a:gd name="T15" fmla="*/ 23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6 w 26"/>
              <a:gd name="T25" fmla="*/ 4 h 26"/>
              <a:gd name="T26" fmla="*/ 10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4 h 26"/>
              <a:gd name="T34" fmla="*/ 26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3" y="23"/>
                </a:lnTo>
                <a:lnTo>
                  <a:pt x="19" y="26"/>
                </a:lnTo>
                <a:lnTo>
                  <a:pt x="13" y="26"/>
                </a:lnTo>
                <a:lnTo>
                  <a:pt x="10" y="26"/>
                </a:lnTo>
                <a:lnTo>
                  <a:pt x="6" y="23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6" y="4"/>
                </a:lnTo>
                <a:lnTo>
                  <a:pt x="10" y="0"/>
                </a:lnTo>
                <a:lnTo>
                  <a:pt x="13" y="0"/>
                </a:lnTo>
                <a:lnTo>
                  <a:pt x="19" y="0"/>
                </a:lnTo>
                <a:lnTo>
                  <a:pt x="23" y="4"/>
                </a:lnTo>
                <a:lnTo>
                  <a:pt x="26" y="8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4" name="Freeform 710">
            <a:extLst>
              <a:ext uri="{FF2B5EF4-FFF2-40B4-BE49-F238E27FC236}">
                <a16:creationId xmlns:a16="http://schemas.microsoft.com/office/drawing/2014/main" id="{C674DEA9-7B45-D39A-78CC-C79856D790A0}"/>
              </a:ext>
            </a:extLst>
          </p:cNvPr>
          <p:cNvSpPr>
            <a:spLocks/>
          </p:cNvSpPr>
          <p:nvPr/>
        </p:nvSpPr>
        <p:spPr bwMode="auto">
          <a:xfrm>
            <a:off x="6290736" y="5245101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3 w 26"/>
              <a:gd name="T7" fmla="*/ 23 h 26"/>
              <a:gd name="T8" fmla="*/ 19 w 26"/>
              <a:gd name="T9" fmla="*/ 26 h 26"/>
              <a:gd name="T10" fmla="*/ 13 w 26"/>
              <a:gd name="T11" fmla="*/ 26 h 26"/>
              <a:gd name="T12" fmla="*/ 10 w 26"/>
              <a:gd name="T13" fmla="*/ 26 h 26"/>
              <a:gd name="T14" fmla="*/ 6 w 26"/>
              <a:gd name="T15" fmla="*/ 23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6 w 26"/>
              <a:gd name="T25" fmla="*/ 4 h 26"/>
              <a:gd name="T26" fmla="*/ 10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4 h 26"/>
              <a:gd name="T34" fmla="*/ 26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3" y="23"/>
                </a:lnTo>
                <a:lnTo>
                  <a:pt x="19" y="26"/>
                </a:lnTo>
                <a:lnTo>
                  <a:pt x="13" y="26"/>
                </a:lnTo>
                <a:lnTo>
                  <a:pt x="10" y="26"/>
                </a:lnTo>
                <a:lnTo>
                  <a:pt x="6" y="23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6" y="4"/>
                </a:lnTo>
                <a:lnTo>
                  <a:pt x="10" y="0"/>
                </a:lnTo>
                <a:lnTo>
                  <a:pt x="13" y="0"/>
                </a:lnTo>
                <a:lnTo>
                  <a:pt x="19" y="0"/>
                </a:lnTo>
                <a:lnTo>
                  <a:pt x="23" y="4"/>
                </a:lnTo>
                <a:lnTo>
                  <a:pt x="26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5" name="Freeform 711">
            <a:extLst>
              <a:ext uri="{FF2B5EF4-FFF2-40B4-BE49-F238E27FC236}">
                <a16:creationId xmlns:a16="http://schemas.microsoft.com/office/drawing/2014/main" id="{F81DA8C8-3DF8-427E-D438-870FA8EE84CA}"/>
              </a:ext>
            </a:extLst>
          </p:cNvPr>
          <p:cNvSpPr>
            <a:spLocks/>
          </p:cNvSpPr>
          <p:nvPr/>
        </p:nvSpPr>
        <p:spPr bwMode="auto">
          <a:xfrm>
            <a:off x="6491819" y="52302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8 h 26"/>
              <a:gd name="T6" fmla="*/ 22 w 26"/>
              <a:gd name="T7" fmla="*/ 24 h 26"/>
              <a:gd name="T8" fmla="*/ 19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6 w 26"/>
              <a:gd name="T15" fmla="*/ 24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6 w 26"/>
              <a:gd name="T25" fmla="*/ 4 h 26"/>
              <a:gd name="T26" fmla="*/ 9 w 26"/>
              <a:gd name="T27" fmla="*/ 2 h 26"/>
              <a:gd name="T28" fmla="*/ 13 w 26"/>
              <a:gd name="T29" fmla="*/ 0 h 26"/>
              <a:gd name="T30" fmla="*/ 19 w 26"/>
              <a:gd name="T31" fmla="*/ 2 h 26"/>
              <a:gd name="T32" fmla="*/ 22 w 26"/>
              <a:gd name="T33" fmla="*/ 4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8"/>
                </a:lnTo>
                <a:lnTo>
                  <a:pt x="22" y="24"/>
                </a:lnTo>
                <a:lnTo>
                  <a:pt x="19" y="26"/>
                </a:lnTo>
                <a:lnTo>
                  <a:pt x="13" y="26"/>
                </a:lnTo>
                <a:lnTo>
                  <a:pt x="9" y="26"/>
                </a:lnTo>
                <a:lnTo>
                  <a:pt x="6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6" y="4"/>
                </a:lnTo>
                <a:lnTo>
                  <a:pt x="9" y="2"/>
                </a:lnTo>
                <a:lnTo>
                  <a:pt x="13" y="0"/>
                </a:lnTo>
                <a:lnTo>
                  <a:pt x="19" y="2"/>
                </a:lnTo>
                <a:lnTo>
                  <a:pt x="22" y="4"/>
                </a:lnTo>
                <a:lnTo>
                  <a:pt x="26" y="7"/>
                </a:lnTo>
                <a:lnTo>
                  <a:pt x="26" y="13"/>
                </a:lnTo>
                <a:close/>
              </a:path>
            </a:pathLst>
          </a:custGeom>
          <a:solidFill>
            <a:srgbClr val="6A5A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6" name="Freeform 712">
            <a:extLst>
              <a:ext uri="{FF2B5EF4-FFF2-40B4-BE49-F238E27FC236}">
                <a16:creationId xmlns:a16="http://schemas.microsoft.com/office/drawing/2014/main" id="{651CAFA3-D7FB-A509-EADC-468EBAE68EC0}"/>
              </a:ext>
            </a:extLst>
          </p:cNvPr>
          <p:cNvSpPr>
            <a:spLocks/>
          </p:cNvSpPr>
          <p:nvPr/>
        </p:nvSpPr>
        <p:spPr bwMode="auto">
          <a:xfrm>
            <a:off x="6491819" y="52302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8 h 26"/>
              <a:gd name="T6" fmla="*/ 22 w 26"/>
              <a:gd name="T7" fmla="*/ 24 h 26"/>
              <a:gd name="T8" fmla="*/ 19 w 26"/>
              <a:gd name="T9" fmla="*/ 26 h 26"/>
              <a:gd name="T10" fmla="*/ 13 w 26"/>
              <a:gd name="T11" fmla="*/ 26 h 26"/>
              <a:gd name="T12" fmla="*/ 9 w 26"/>
              <a:gd name="T13" fmla="*/ 26 h 26"/>
              <a:gd name="T14" fmla="*/ 6 w 26"/>
              <a:gd name="T15" fmla="*/ 24 h 26"/>
              <a:gd name="T16" fmla="*/ 2 w 26"/>
              <a:gd name="T17" fmla="*/ 18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6 w 26"/>
              <a:gd name="T25" fmla="*/ 4 h 26"/>
              <a:gd name="T26" fmla="*/ 9 w 26"/>
              <a:gd name="T27" fmla="*/ 2 h 26"/>
              <a:gd name="T28" fmla="*/ 13 w 26"/>
              <a:gd name="T29" fmla="*/ 0 h 26"/>
              <a:gd name="T30" fmla="*/ 19 w 26"/>
              <a:gd name="T31" fmla="*/ 2 h 26"/>
              <a:gd name="T32" fmla="*/ 22 w 26"/>
              <a:gd name="T33" fmla="*/ 4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8"/>
                </a:lnTo>
                <a:lnTo>
                  <a:pt x="22" y="24"/>
                </a:lnTo>
                <a:lnTo>
                  <a:pt x="19" y="26"/>
                </a:lnTo>
                <a:lnTo>
                  <a:pt x="13" y="26"/>
                </a:lnTo>
                <a:lnTo>
                  <a:pt x="9" y="26"/>
                </a:lnTo>
                <a:lnTo>
                  <a:pt x="6" y="24"/>
                </a:lnTo>
                <a:lnTo>
                  <a:pt x="2" y="18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6" y="4"/>
                </a:lnTo>
                <a:lnTo>
                  <a:pt x="9" y="2"/>
                </a:lnTo>
                <a:lnTo>
                  <a:pt x="13" y="0"/>
                </a:lnTo>
                <a:lnTo>
                  <a:pt x="19" y="2"/>
                </a:lnTo>
                <a:lnTo>
                  <a:pt x="22" y="4"/>
                </a:lnTo>
                <a:lnTo>
                  <a:pt x="26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6A5AC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7" name="Freeform 713">
            <a:extLst>
              <a:ext uri="{FF2B5EF4-FFF2-40B4-BE49-F238E27FC236}">
                <a16:creationId xmlns:a16="http://schemas.microsoft.com/office/drawing/2014/main" id="{72312435-9C42-61A4-AD41-CB80233EB95A}"/>
              </a:ext>
            </a:extLst>
          </p:cNvPr>
          <p:cNvSpPr>
            <a:spLocks/>
          </p:cNvSpPr>
          <p:nvPr/>
        </p:nvSpPr>
        <p:spPr bwMode="auto">
          <a:xfrm>
            <a:off x="17716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0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0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8" name="Freeform 714">
            <a:extLst>
              <a:ext uri="{FF2B5EF4-FFF2-40B4-BE49-F238E27FC236}">
                <a16:creationId xmlns:a16="http://schemas.microsoft.com/office/drawing/2014/main" id="{2FD1943F-9643-8AEA-8483-B3A72F3040D4}"/>
              </a:ext>
            </a:extLst>
          </p:cNvPr>
          <p:cNvSpPr>
            <a:spLocks/>
          </p:cNvSpPr>
          <p:nvPr/>
        </p:nvSpPr>
        <p:spPr bwMode="auto">
          <a:xfrm>
            <a:off x="17716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0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0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49" name="Freeform 715">
            <a:extLst>
              <a:ext uri="{FF2B5EF4-FFF2-40B4-BE49-F238E27FC236}">
                <a16:creationId xmlns:a16="http://schemas.microsoft.com/office/drawing/2014/main" id="{7F5B63EE-7469-BD9B-0B05-EA009A5CE860}"/>
              </a:ext>
            </a:extLst>
          </p:cNvPr>
          <p:cNvSpPr>
            <a:spLocks/>
          </p:cNvSpPr>
          <p:nvPr/>
        </p:nvSpPr>
        <p:spPr bwMode="auto">
          <a:xfrm>
            <a:off x="195580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0" name="Freeform 716">
            <a:extLst>
              <a:ext uri="{FF2B5EF4-FFF2-40B4-BE49-F238E27FC236}">
                <a16:creationId xmlns:a16="http://schemas.microsoft.com/office/drawing/2014/main" id="{25A835D5-A02D-697A-5C17-13943BDC47FD}"/>
              </a:ext>
            </a:extLst>
          </p:cNvPr>
          <p:cNvSpPr>
            <a:spLocks/>
          </p:cNvSpPr>
          <p:nvPr/>
        </p:nvSpPr>
        <p:spPr bwMode="auto">
          <a:xfrm>
            <a:off x="195580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1" name="Freeform 717">
            <a:extLst>
              <a:ext uri="{FF2B5EF4-FFF2-40B4-BE49-F238E27FC236}">
                <a16:creationId xmlns:a16="http://schemas.microsoft.com/office/drawing/2014/main" id="{4FFE40BB-4C9F-B144-54C3-4D1D4C5884E2}"/>
              </a:ext>
            </a:extLst>
          </p:cNvPr>
          <p:cNvSpPr>
            <a:spLocks/>
          </p:cNvSpPr>
          <p:nvPr/>
        </p:nvSpPr>
        <p:spPr bwMode="auto">
          <a:xfrm>
            <a:off x="2171702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2" name="Freeform 718">
            <a:extLst>
              <a:ext uri="{FF2B5EF4-FFF2-40B4-BE49-F238E27FC236}">
                <a16:creationId xmlns:a16="http://schemas.microsoft.com/office/drawing/2014/main" id="{6655F1F3-3DF0-3934-188C-805511133EC8}"/>
              </a:ext>
            </a:extLst>
          </p:cNvPr>
          <p:cNvSpPr>
            <a:spLocks/>
          </p:cNvSpPr>
          <p:nvPr/>
        </p:nvSpPr>
        <p:spPr bwMode="auto">
          <a:xfrm>
            <a:off x="2171702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7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7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3" name="Freeform 719">
            <a:extLst>
              <a:ext uri="{FF2B5EF4-FFF2-40B4-BE49-F238E27FC236}">
                <a16:creationId xmlns:a16="http://schemas.microsoft.com/office/drawing/2014/main" id="{91C41A1C-6CE8-B7F7-C70A-A50A5A2F4058}"/>
              </a:ext>
            </a:extLst>
          </p:cNvPr>
          <p:cNvSpPr>
            <a:spLocks/>
          </p:cNvSpPr>
          <p:nvPr/>
        </p:nvSpPr>
        <p:spPr bwMode="auto">
          <a:xfrm>
            <a:off x="237278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6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3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3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6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4" name="Freeform 720">
            <a:extLst>
              <a:ext uri="{FF2B5EF4-FFF2-40B4-BE49-F238E27FC236}">
                <a16:creationId xmlns:a16="http://schemas.microsoft.com/office/drawing/2014/main" id="{1884B13C-AAD7-A219-B379-21DCE04332F7}"/>
              </a:ext>
            </a:extLst>
          </p:cNvPr>
          <p:cNvSpPr>
            <a:spLocks/>
          </p:cNvSpPr>
          <p:nvPr/>
        </p:nvSpPr>
        <p:spPr bwMode="auto">
          <a:xfrm>
            <a:off x="237278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2 h 26"/>
              <a:gd name="T8" fmla="*/ 16 w 24"/>
              <a:gd name="T9" fmla="*/ 24 h 26"/>
              <a:gd name="T10" fmla="*/ 13 w 24"/>
              <a:gd name="T11" fmla="*/ 26 h 26"/>
              <a:gd name="T12" fmla="*/ 7 w 24"/>
              <a:gd name="T13" fmla="*/ 24 h 26"/>
              <a:gd name="T14" fmla="*/ 3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3 w 24"/>
              <a:gd name="T25" fmla="*/ 2 h 26"/>
              <a:gd name="T26" fmla="*/ 7 w 24"/>
              <a:gd name="T27" fmla="*/ 0 h 26"/>
              <a:gd name="T28" fmla="*/ 13 w 24"/>
              <a:gd name="T29" fmla="*/ 0 h 26"/>
              <a:gd name="T30" fmla="*/ 16 w 24"/>
              <a:gd name="T31" fmla="*/ 0 h 26"/>
              <a:gd name="T32" fmla="*/ 20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0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5" name="Freeform 721">
            <a:extLst>
              <a:ext uri="{FF2B5EF4-FFF2-40B4-BE49-F238E27FC236}">
                <a16:creationId xmlns:a16="http://schemas.microsoft.com/office/drawing/2014/main" id="{0EE1E09F-7372-AD3B-192F-754FCE72DAAB}"/>
              </a:ext>
            </a:extLst>
          </p:cNvPr>
          <p:cNvSpPr>
            <a:spLocks/>
          </p:cNvSpPr>
          <p:nvPr/>
        </p:nvSpPr>
        <p:spPr bwMode="auto">
          <a:xfrm>
            <a:off x="2571752" y="5666317"/>
            <a:ext cx="52917" cy="55033"/>
          </a:xfrm>
          <a:custGeom>
            <a:avLst/>
            <a:gdLst>
              <a:gd name="T0" fmla="*/ 25 w 25"/>
              <a:gd name="T1" fmla="*/ 13 h 26"/>
              <a:gd name="T2" fmla="*/ 25 w 25"/>
              <a:gd name="T3" fmla="*/ 13 h 26"/>
              <a:gd name="T4" fmla="*/ 25 w 25"/>
              <a:gd name="T5" fmla="*/ 19 h 26"/>
              <a:gd name="T6" fmla="*/ 21 w 25"/>
              <a:gd name="T7" fmla="*/ 22 h 26"/>
              <a:gd name="T8" fmla="*/ 17 w 25"/>
              <a:gd name="T9" fmla="*/ 24 h 26"/>
              <a:gd name="T10" fmla="*/ 13 w 25"/>
              <a:gd name="T11" fmla="*/ 26 h 26"/>
              <a:gd name="T12" fmla="*/ 8 w 25"/>
              <a:gd name="T13" fmla="*/ 24 h 26"/>
              <a:gd name="T14" fmla="*/ 4 w 25"/>
              <a:gd name="T15" fmla="*/ 22 h 26"/>
              <a:gd name="T16" fmla="*/ 0 w 25"/>
              <a:gd name="T17" fmla="*/ 19 h 26"/>
              <a:gd name="T18" fmla="*/ 0 w 25"/>
              <a:gd name="T19" fmla="*/ 13 h 26"/>
              <a:gd name="T20" fmla="*/ 0 w 25"/>
              <a:gd name="T21" fmla="*/ 13 h 26"/>
              <a:gd name="T22" fmla="*/ 0 w 25"/>
              <a:gd name="T23" fmla="*/ 7 h 26"/>
              <a:gd name="T24" fmla="*/ 4 w 25"/>
              <a:gd name="T25" fmla="*/ 2 h 26"/>
              <a:gd name="T26" fmla="*/ 8 w 25"/>
              <a:gd name="T27" fmla="*/ 0 h 26"/>
              <a:gd name="T28" fmla="*/ 13 w 25"/>
              <a:gd name="T29" fmla="*/ 0 h 26"/>
              <a:gd name="T30" fmla="*/ 17 w 25"/>
              <a:gd name="T31" fmla="*/ 0 h 26"/>
              <a:gd name="T32" fmla="*/ 21 w 25"/>
              <a:gd name="T33" fmla="*/ 2 h 26"/>
              <a:gd name="T34" fmla="*/ 25 w 25"/>
              <a:gd name="T35" fmla="*/ 7 h 26"/>
              <a:gd name="T36" fmla="*/ 25 w 25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26">
                <a:moveTo>
                  <a:pt x="25" y="13"/>
                </a:moveTo>
                <a:lnTo>
                  <a:pt x="25" y="13"/>
                </a:lnTo>
                <a:lnTo>
                  <a:pt x="25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5" y="7"/>
                </a:lnTo>
                <a:lnTo>
                  <a:pt x="25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6" name="Freeform 722">
            <a:extLst>
              <a:ext uri="{FF2B5EF4-FFF2-40B4-BE49-F238E27FC236}">
                <a16:creationId xmlns:a16="http://schemas.microsoft.com/office/drawing/2014/main" id="{7784E382-87D9-5195-11D8-B59047CE7B41}"/>
              </a:ext>
            </a:extLst>
          </p:cNvPr>
          <p:cNvSpPr>
            <a:spLocks/>
          </p:cNvSpPr>
          <p:nvPr/>
        </p:nvSpPr>
        <p:spPr bwMode="auto">
          <a:xfrm>
            <a:off x="2571752" y="5666317"/>
            <a:ext cx="52917" cy="55033"/>
          </a:xfrm>
          <a:custGeom>
            <a:avLst/>
            <a:gdLst>
              <a:gd name="T0" fmla="*/ 25 w 25"/>
              <a:gd name="T1" fmla="*/ 13 h 26"/>
              <a:gd name="T2" fmla="*/ 25 w 25"/>
              <a:gd name="T3" fmla="*/ 13 h 26"/>
              <a:gd name="T4" fmla="*/ 25 w 25"/>
              <a:gd name="T5" fmla="*/ 19 h 26"/>
              <a:gd name="T6" fmla="*/ 21 w 25"/>
              <a:gd name="T7" fmla="*/ 22 h 26"/>
              <a:gd name="T8" fmla="*/ 17 w 25"/>
              <a:gd name="T9" fmla="*/ 24 h 26"/>
              <a:gd name="T10" fmla="*/ 13 w 25"/>
              <a:gd name="T11" fmla="*/ 26 h 26"/>
              <a:gd name="T12" fmla="*/ 8 w 25"/>
              <a:gd name="T13" fmla="*/ 24 h 26"/>
              <a:gd name="T14" fmla="*/ 4 w 25"/>
              <a:gd name="T15" fmla="*/ 22 h 26"/>
              <a:gd name="T16" fmla="*/ 0 w 25"/>
              <a:gd name="T17" fmla="*/ 19 h 26"/>
              <a:gd name="T18" fmla="*/ 0 w 25"/>
              <a:gd name="T19" fmla="*/ 13 h 26"/>
              <a:gd name="T20" fmla="*/ 0 w 25"/>
              <a:gd name="T21" fmla="*/ 13 h 26"/>
              <a:gd name="T22" fmla="*/ 0 w 25"/>
              <a:gd name="T23" fmla="*/ 7 h 26"/>
              <a:gd name="T24" fmla="*/ 4 w 25"/>
              <a:gd name="T25" fmla="*/ 2 h 26"/>
              <a:gd name="T26" fmla="*/ 8 w 25"/>
              <a:gd name="T27" fmla="*/ 0 h 26"/>
              <a:gd name="T28" fmla="*/ 13 w 25"/>
              <a:gd name="T29" fmla="*/ 0 h 26"/>
              <a:gd name="T30" fmla="*/ 17 w 25"/>
              <a:gd name="T31" fmla="*/ 0 h 26"/>
              <a:gd name="T32" fmla="*/ 21 w 25"/>
              <a:gd name="T33" fmla="*/ 2 h 26"/>
              <a:gd name="T34" fmla="*/ 25 w 25"/>
              <a:gd name="T35" fmla="*/ 7 h 26"/>
              <a:gd name="T36" fmla="*/ 25 w 25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" h="26">
                <a:moveTo>
                  <a:pt x="25" y="13"/>
                </a:moveTo>
                <a:lnTo>
                  <a:pt x="25" y="13"/>
                </a:lnTo>
                <a:lnTo>
                  <a:pt x="25" y="19"/>
                </a:lnTo>
                <a:lnTo>
                  <a:pt x="21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1" y="2"/>
                </a:lnTo>
                <a:lnTo>
                  <a:pt x="25" y="7"/>
                </a:lnTo>
                <a:lnTo>
                  <a:pt x="25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7" name="Freeform 723">
            <a:extLst>
              <a:ext uri="{FF2B5EF4-FFF2-40B4-BE49-F238E27FC236}">
                <a16:creationId xmlns:a16="http://schemas.microsoft.com/office/drawing/2014/main" id="{00204050-49AE-C7F6-E177-E5623AAF0E6A}"/>
              </a:ext>
            </a:extLst>
          </p:cNvPr>
          <p:cNvSpPr>
            <a:spLocks/>
          </p:cNvSpPr>
          <p:nvPr/>
        </p:nvSpPr>
        <p:spPr bwMode="auto">
          <a:xfrm>
            <a:off x="277283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1 w 24"/>
              <a:gd name="T7" fmla="*/ 22 h 26"/>
              <a:gd name="T8" fmla="*/ 17 w 24"/>
              <a:gd name="T9" fmla="*/ 24 h 26"/>
              <a:gd name="T10" fmla="*/ 11 w 24"/>
              <a:gd name="T11" fmla="*/ 26 h 26"/>
              <a:gd name="T12" fmla="*/ 8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8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1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1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1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4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8" name="Freeform 724">
            <a:extLst>
              <a:ext uri="{FF2B5EF4-FFF2-40B4-BE49-F238E27FC236}">
                <a16:creationId xmlns:a16="http://schemas.microsoft.com/office/drawing/2014/main" id="{1341A653-F756-449B-9EB8-3379E074FBEB}"/>
              </a:ext>
            </a:extLst>
          </p:cNvPr>
          <p:cNvSpPr>
            <a:spLocks/>
          </p:cNvSpPr>
          <p:nvPr/>
        </p:nvSpPr>
        <p:spPr bwMode="auto">
          <a:xfrm>
            <a:off x="2772835" y="56663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1 w 24"/>
              <a:gd name="T7" fmla="*/ 22 h 26"/>
              <a:gd name="T8" fmla="*/ 17 w 24"/>
              <a:gd name="T9" fmla="*/ 24 h 26"/>
              <a:gd name="T10" fmla="*/ 11 w 24"/>
              <a:gd name="T11" fmla="*/ 26 h 26"/>
              <a:gd name="T12" fmla="*/ 8 w 24"/>
              <a:gd name="T13" fmla="*/ 24 h 26"/>
              <a:gd name="T14" fmla="*/ 4 w 24"/>
              <a:gd name="T15" fmla="*/ 22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7 h 26"/>
              <a:gd name="T24" fmla="*/ 4 w 24"/>
              <a:gd name="T25" fmla="*/ 2 h 26"/>
              <a:gd name="T26" fmla="*/ 8 w 24"/>
              <a:gd name="T27" fmla="*/ 0 h 26"/>
              <a:gd name="T28" fmla="*/ 11 w 24"/>
              <a:gd name="T29" fmla="*/ 0 h 26"/>
              <a:gd name="T30" fmla="*/ 17 w 24"/>
              <a:gd name="T31" fmla="*/ 0 h 26"/>
              <a:gd name="T32" fmla="*/ 21 w 24"/>
              <a:gd name="T33" fmla="*/ 2 h 26"/>
              <a:gd name="T34" fmla="*/ 24 w 24"/>
              <a:gd name="T35" fmla="*/ 7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1" y="22"/>
                </a:lnTo>
                <a:lnTo>
                  <a:pt x="17" y="24"/>
                </a:lnTo>
                <a:lnTo>
                  <a:pt x="11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1" y="0"/>
                </a:lnTo>
                <a:lnTo>
                  <a:pt x="17" y="0"/>
                </a:lnTo>
                <a:lnTo>
                  <a:pt x="21" y="2"/>
                </a:lnTo>
                <a:lnTo>
                  <a:pt x="24" y="7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59" name="Freeform 725">
            <a:extLst>
              <a:ext uri="{FF2B5EF4-FFF2-40B4-BE49-F238E27FC236}">
                <a16:creationId xmlns:a16="http://schemas.microsoft.com/office/drawing/2014/main" id="{963BFAAA-1904-403B-9C59-F9E071A4F772}"/>
              </a:ext>
            </a:extLst>
          </p:cNvPr>
          <p:cNvSpPr>
            <a:spLocks/>
          </p:cNvSpPr>
          <p:nvPr/>
        </p:nvSpPr>
        <p:spPr bwMode="auto">
          <a:xfrm>
            <a:off x="2973919" y="51075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4 h 26"/>
              <a:gd name="T8" fmla="*/ 17 w 24"/>
              <a:gd name="T9" fmla="*/ 26 h 26"/>
              <a:gd name="T10" fmla="*/ 11 w 24"/>
              <a:gd name="T11" fmla="*/ 26 h 26"/>
              <a:gd name="T12" fmla="*/ 7 w 24"/>
              <a:gd name="T13" fmla="*/ 26 h 26"/>
              <a:gd name="T14" fmla="*/ 4 w 24"/>
              <a:gd name="T15" fmla="*/ 24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8 h 26"/>
              <a:gd name="T24" fmla="*/ 4 w 24"/>
              <a:gd name="T25" fmla="*/ 4 h 26"/>
              <a:gd name="T26" fmla="*/ 7 w 24"/>
              <a:gd name="T27" fmla="*/ 2 h 26"/>
              <a:gd name="T28" fmla="*/ 11 w 24"/>
              <a:gd name="T29" fmla="*/ 0 h 26"/>
              <a:gd name="T30" fmla="*/ 17 w 24"/>
              <a:gd name="T31" fmla="*/ 2 h 26"/>
              <a:gd name="T32" fmla="*/ 20 w 24"/>
              <a:gd name="T33" fmla="*/ 4 h 26"/>
              <a:gd name="T34" fmla="*/ 24 w 24"/>
              <a:gd name="T35" fmla="*/ 8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4"/>
                </a:lnTo>
                <a:lnTo>
                  <a:pt x="17" y="26"/>
                </a:lnTo>
                <a:lnTo>
                  <a:pt x="11" y="26"/>
                </a:lnTo>
                <a:lnTo>
                  <a:pt x="7" y="26"/>
                </a:lnTo>
                <a:lnTo>
                  <a:pt x="4" y="24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2"/>
                </a:lnTo>
                <a:lnTo>
                  <a:pt x="11" y="0"/>
                </a:lnTo>
                <a:lnTo>
                  <a:pt x="17" y="2"/>
                </a:lnTo>
                <a:lnTo>
                  <a:pt x="20" y="4"/>
                </a:lnTo>
                <a:lnTo>
                  <a:pt x="24" y="8"/>
                </a:lnTo>
                <a:lnTo>
                  <a:pt x="24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0" name="Freeform 726">
            <a:extLst>
              <a:ext uri="{FF2B5EF4-FFF2-40B4-BE49-F238E27FC236}">
                <a16:creationId xmlns:a16="http://schemas.microsoft.com/office/drawing/2014/main" id="{BCAE5D1F-8705-EDFC-3E33-572A558692D1}"/>
              </a:ext>
            </a:extLst>
          </p:cNvPr>
          <p:cNvSpPr>
            <a:spLocks/>
          </p:cNvSpPr>
          <p:nvPr/>
        </p:nvSpPr>
        <p:spPr bwMode="auto">
          <a:xfrm>
            <a:off x="2973919" y="5107517"/>
            <a:ext cx="50800" cy="55033"/>
          </a:xfrm>
          <a:custGeom>
            <a:avLst/>
            <a:gdLst>
              <a:gd name="T0" fmla="*/ 24 w 24"/>
              <a:gd name="T1" fmla="*/ 13 h 26"/>
              <a:gd name="T2" fmla="*/ 24 w 24"/>
              <a:gd name="T3" fmla="*/ 13 h 26"/>
              <a:gd name="T4" fmla="*/ 24 w 24"/>
              <a:gd name="T5" fmla="*/ 19 h 26"/>
              <a:gd name="T6" fmla="*/ 20 w 24"/>
              <a:gd name="T7" fmla="*/ 24 h 26"/>
              <a:gd name="T8" fmla="*/ 17 w 24"/>
              <a:gd name="T9" fmla="*/ 26 h 26"/>
              <a:gd name="T10" fmla="*/ 11 w 24"/>
              <a:gd name="T11" fmla="*/ 26 h 26"/>
              <a:gd name="T12" fmla="*/ 7 w 24"/>
              <a:gd name="T13" fmla="*/ 26 h 26"/>
              <a:gd name="T14" fmla="*/ 4 w 24"/>
              <a:gd name="T15" fmla="*/ 24 h 26"/>
              <a:gd name="T16" fmla="*/ 0 w 24"/>
              <a:gd name="T17" fmla="*/ 19 h 26"/>
              <a:gd name="T18" fmla="*/ 0 w 24"/>
              <a:gd name="T19" fmla="*/ 13 h 26"/>
              <a:gd name="T20" fmla="*/ 0 w 24"/>
              <a:gd name="T21" fmla="*/ 13 h 26"/>
              <a:gd name="T22" fmla="*/ 0 w 24"/>
              <a:gd name="T23" fmla="*/ 8 h 26"/>
              <a:gd name="T24" fmla="*/ 4 w 24"/>
              <a:gd name="T25" fmla="*/ 4 h 26"/>
              <a:gd name="T26" fmla="*/ 7 w 24"/>
              <a:gd name="T27" fmla="*/ 2 h 26"/>
              <a:gd name="T28" fmla="*/ 11 w 24"/>
              <a:gd name="T29" fmla="*/ 0 h 26"/>
              <a:gd name="T30" fmla="*/ 17 w 24"/>
              <a:gd name="T31" fmla="*/ 2 h 26"/>
              <a:gd name="T32" fmla="*/ 20 w 24"/>
              <a:gd name="T33" fmla="*/ 4 h 26"/>
              <a:gd name="T34" fmla="*/ 24 w 24"/>
              <a:gd name="T35" fmla="*/ 8 h 26"/>
              <a:gd name="T36" fmla="*/ 24 w 24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" h="26">
                <a:moveTo>
                  <a:pt x="24" y="13"/>
                </a:moveTo>
                <a:lnTo>
                  <a:pt x="24" y="13"/>
                </a:lnTo>
                <a:lnTo>
                  <a:pt x="24" y="19"/>
                </a:lnTo>
                <a:lnTo>
                  <a:pt x="20" y="24"/>
                </a:lnTo>
                <a:lnTo>
                  <a:pt x="17" y="26"/>
                </a:lnTo>
                <a:lnTo>
                  <a:pt x="11" y="26"/>
                </a:lnTo>
                <a:lnTo>
                  <a:pt x="7" y="26"/>
                </a:lnTo>
                <a:lnTo>
                  <a:pt x="4" y="24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8"/>
                </a:lnTo>
                <a:lnTo>
                  <a:pt x="4" y="4"/>
                </a:lnTo>
                <a:lnTo>
                  <a:pt x="7" y="2"/>
                </a:lnTo>
                <a:lnTo>
                  <a:pt x="11" y="0"/>
                </a:lnTo>
                <a:lnTo>
                  <a:pt x="17" y="2"/>
                </a:lnTo>
                <a:lnTo>
                  <a:pt x="20" y="4"/>
                </a:lnTo>
                <a:lnTo>
                  <a:pt x="24" y="8"/>
                </a:lnTo>
                <a:lnTo>
                  <a:pt x="24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1" name="Freeform 727">
            <a:extLst>
              <a:ext uri="{FF2B5EF4-FFF2-40B4-BE49-F238E27FC236}">
                <a16:creationId xmlns:a16="http://schemas.microsoft.com/office/drawing/2014/main" id="{9D52CCB7-5F7A-709E-13EB-CF138C9F3ABE}"/>
              </a:ext>
            </a:extLst>
          </p:cNvPr>
          <p:cNvSpPr>
            <a:spLocks/>
          </p:cNvSpPr>
          <p:nvPr/>
        </p:nvSpPr>
        <p:spPr bwMode="auto">
          <a:xfrm>
            <a:off x="3071285" y="49424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4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4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9 w 26"/>
              <a:gd name="T31" fmla="*/ 2 h 26"/>
              <a:gd name="T32" fmla="*/ 23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4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4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9" y="2"/>
                </a:lnTo>
                <a:lnTo>
                  <a:pt x="23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2" name="Freeform 728">
            <a:extLst>
              <a:ext uri="{FF2B5EF4-FFF2-40B4-BE49-F238E27FC236}">
                <a16:creationId xmlns:a16="http://schemas.microsoft.com/office/drawing/2014/main" id="{E83CFC57-478E-D20B-1764-51CABB2DFC4B}"/>
              </a:ext>
            </a:extLst>
          </p:cNvPr>
          <p:cNvSpPr>
            <a:spLocks/>
          </p:cNvSpPr>
          <p:nvPr/>
        </p:nvSpPr>
        <p:spPr bwMode="auto">
          <a:xfrm>
            <a:off x="3071285" y="49424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4 h 26"/>
              <a:gd name="T8" fmla="*/ 19 w 26"/>
              <a:gd name="T9" fmla="*/ 26 h 26"/>
              <a:gd name="T10" fmla="*/ 13 w 26"/>
              <a:gd name="T11" fmla="*/ 26 h 26"/>
              <a:gd name="T12" fmla="*/ 8 w 26"/>
              <a:gd name="T13" fmla="*/ 26 h 26"/>
              <a:gd name="T14" fmla="*/ 4 w 26"/>
              <a:gd name="T15" fmla="*/ 24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4 w 26"/>
              <a:gd name="T25" fmla="*/ 4 h 26"/>
              <a:gd name="T26" fmla="*/ 8 w 26"/>
              <a:gd name="T27" fmla="*/ 2 h 26"/>
              <a:gd name="T28" fmla="*/ 13 w 26"/>
              <a:gd name="T29" fmla="*/ 0 h 26"/>
              <a:gd name="T30" fmla="*/ 19 w 26"/>
              <a:gd name="T31" fmla="*/ 2 h 26"/>
              <a:gd name="T32" fmla="*/ 23 w 26"/>
              <a:gd name="T33" fmla="*/ 4 h 26"/>
              <a:gd name="T34" fmla="*/ 24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4"/>
                </a:lnTo>
                <a:lnTo>
                  <a:pt x="19" y="26"/>
                </a:lnTo>
                <a:lnTo>
                  <a:pt x="13" y="26"/>
                </a:lnTo>
                <a:lnTo>
                  <a:pt x="8" y="26"/>
                </a:lnTo>
                <a:lnTo>
                  <a:pt x="4" y="24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8" y="2"/>
                </a:lnTo>
                <a:lnTo>
                  <a:pt x="13" y="0"/>
                </a:lnTo>
                <a:lnTo>
                  <a:pt x="19" y="2"/>
                </a:lnTo>
                <a:lnTo>
                  <a:pt x="23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3" name="Freeform 729">
            <a:extLst>
              <a:ext uri="{FF2B5EF4-FFF2-40B4-BE49-F238E27FC236}">
                <a16:creationId xmlns:a16="http://schemas.microsoft.com/office/drawing/2014/main" id="{38D0B776-655D-1EA8-750F-A8B4BAC92894}"/>
              </a:ext>
            </a:extLst>
          </p:cNvPr>
          <p:cNvSpPr>
            <a:spLocks/>
          </p:cNvSpPr>
          <p:nvPr/>
        </p:nvSpPr>
        <p:spPr bwMode="auto">
          <a:xfrm>
            <a:off x="3272369" y="5437717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1 h 28"/>
              <a:gd name="T6" fmla="*/ 22 w 26"/>
              <a:gd name="T7" fmla="*/ 24 h 28"/>
              <a:gd name="T8" fmla="*/ 19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4 w 26"/>
              <a:gd name="T15" fmla="*/ 24 h 28"/>
              <a:gd name="T16" fmla="*/ 2 w 26"/>
              <a:gd name="T17" fmla="*/ 21 h 28"/>
              <a:gd name="T18" fmla="*/ 0 w 26"/>
              <a:gd name="T19" fmla="*/ 15 h 28"/>
              <a:gd name="T20" fmla="*/ 0 w 26"/>
              <a:gd name="T21" fmla="*/ 15 h 28"/>
              <a:gd name="T22" fmla="*/ 2 w 26"/>
              <a:gd name="T23" fmla="*/ 8 h 28"/>
              <a:gd name="T24" fmla="*/ 4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9 w 26"/>
              <a:gd name="T31" fmla="*/ 2 h 28"/>
              <a:gd name="T32" fmla="*/ 22 w 26"/>
              <a:gd name="T33" fmla="*/ 4 h 28"/>
              <a:gd name="T34" fmla="*/ 24 w 26"/>
              <a:gd name="T35" fmla="*/ 8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1"/>
                </a:lnTo>
                <a:lnTo>
                  <a:pt x="22" y="24"/>
                </a:lnTo>
                <a:lnTo>
                  <a:pt x="19" y="26"/>
                </a:lnTo>
                <a:lnTo>
                  <a:pt x="13" y="28"/>
                </a:lnTo>
                <a:lnTo>
                  <a:pt x="7" y="26"/>
                </a:lnTo>
                <a:lnTo>
                  <a:pt x="4" y="24"/>
                </a:lnTo>
                <a:lnTo>
                  <a:pt x="2" y="21"/>
                </a:lnTo>
                <a:lnTo>
                  <a:pt x="0" y="15"/>
                </a:lnTo>
                <a:lnTo>
                  <a:pt x="0" y="15"/>
                </a:lnTo>
                <a:lnTo>
                  <a:pt x="2" y="8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9" y="2"/>
                </a:lnTo>
                <a:lnTo>
                  <a:pt x="22" y="4"/>
                </a:lnTo>
                <a:lnTo>
                  <a:pt x="24" y="8"/>
                </a:lnTo>
                <a:lnTo>
                  <a:pt x="26" y="15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4" name="Freeform 730">
            <a:extLst>
              <a:ext uri="{FF2B5EF4-FFF2-40B4-BE49-F238E27FC236}">
                <a16:creationId xmlns:a16="http://schemas.microsoft.com/office/drawing/2014/main" id="{14FB14E2-BCD4-7E48-0290-CB37CB078980}"/>
              </a:ext>
            </a:extLst>
          </p:cNvPr>
          <p:cNvSpPr>
            <a:spLocks/>
          </p:cNvSpPr>
          <p:nvPr/>
        </p:nvSpPr>
        <p:spPr bwMode="auto">
          <a:xfrm>
            <a:off x="3272369" y="5437717"/>
            <a:ext cx="55033" cy="59267"/>
          </a:xfrm>
          <a:custGeom>
            <a:avLst/>
            <a:gdLst>
              <a:gd name="T0" fmla="*/ 26 w 26"/>
              <a:gd name="T1" fmla="*/ 15 h 28"/>
              <a:gd name="T2" fmla="*/ 26 w 26"/>
              <a:gd name="T3" fmla="*/ 15 h 28"/>
              <a:gd name="T4" fmla="*/ 24 w 26"/>
              <a:gd name="T5" fmla="*/ 21 h 28"/>
              <a:gd name="T6" fmla="*/ 22 w 26"/>
              <a:gd name="T7" fmla="*/ 24 h 28"/>
              <a:gd name="T8" fmla="*/ 19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4 w 26"/>
              <a:gd name="T15" fmla="*/ 24 h 28"/>
              <a:gd name="T16" fmla="*/ 2 w 26"/>
              <a:gd name="T17" fmla="*/ 21 h 28"/>
              <a:gd name="T18" fmla="*/ 0 w 26"/>
              <a:gd name="T19" fmla="*/ 15 h 28"/>
              <a:gd name="T20" fmla="*/ 0 w 26"/>
              <a:gd name="T21" fmla="*/ 15 h 28"/>
              <a:gd name="T22" fmla="*/ 2 w 26"/>
              <a:gd name="T23" fmla="*/ 8 h 28"/>
              <a:gd name="T24" fmla="*/ 4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9 w 26"/>
              <a:gd name="T31" fmla="*/ 2 h 28"/>
              <a:gd name="T32" fmla="*/ 22 w 26"/>
              <a:gd name="T33" fmla="*/ 4 h 28"/>
              <a:gd name="T34" fmla="*/ 24 w 26"/>
              <a:gd name="T35" fmla="*/ 8 h 28"/>
              <a:gd name="T36" fmla="*/ 26 w 26"/>
              <a:gd name="T37" fmla="*/ 1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5"/>
                </a:moveTo>
                <a:lnTo>
                  <a:pt x="26" y="15"/>
                </a:lnTo>
                <a:lnTo>
                  <a:pt x="24" y="21"/>
                </a:lnTo>
                <a:lnTo>
                  <a:pt x="22" y="24"/>
                </a:lnTo>
                <a:lnTo>
                  <a:pt x="19" y="26"/>
                </a:lnTo>
                <a:lnTo>
                  <a:pt x="13" y="28"/>
                </a:lnTo>
                <a:lnTo>
                  <a:pt x="7" y="26"/>
                </a:lnTo>
                <a:lnTo>
                  <a:pt x="4" y="24"/>
                </a:lnTo>
                <a:lnTo>
                  <a:pt x="2" y="21"/>
                </a:lnTo>
                <a:lnTo>
                  <a:pt x="0" y="15"/>
                </a:lnTo>
                <a:lnTo>
                  <a:pt x="0" y="15"/>
                </a:lnTo>
                <a:lnTo>
                  <a:pt x="2" y="8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9" y="2"/>
                </a:lnTo>
                <a:lnTo>
                  <a:pt x="22" y="4"/>
                </a:lnTo>
                <a:lnTo>
                  <a:pt x="24" y="8"/>
                </a:lnTo>
                <a:lnTo>
                  <a:pt x="26" y="15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5" name="Freeform 731">
            <a:extLst>
              <a:ext uri="{FF2B5EF4-FFF2-40B4-BE49-F238E27FC236}">
                <a16:creationId xmlns:a16="http://schemas.microsoft.com/office/drawing/2014/main" id="{94E382B5-2BB2-2128-B8AB-51E19FDEBC35}"/>
              </a:ext>
            </a:extLst>
          </p:cNvPr>
          <p:cNvSpPr>
            <a:spLocks/>
          </p:cNvSpPr>
          <p:nvPr/>
        </p:nvSpPr>
        <p:spPr bwMode="auto">
          <a:xfrm>
            <a:off x="3456519" y="54969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3 w 26"/>
              <a:gd name="T7" fmla="*/ 22 h 26"/>
              <a:gd name="T8" fmla="*/ 19 w 26"/>
              <a:gd name="T9" fmla="*/ 26 h 26"/>
              <a:gd name="T10" fmla="*/ 13 w 26"/>
              <a:gd name="T11" fmla="*/ 26 h 26"/>
              <a:gd name="T12" fmla="*/ 10 w 26"/>
              <a:gd name="T13" fmla="*/ 26 h 26"/>
              <a:gd name="T14" fmla="*/ 6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6 w 26"/>
              <a:gd name="T25" fmla="*/ 4 h 26"/>
              <a:gd name="T26" fmla="*/ 10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4 h 26"/>
              <a:gd name="T34" fmla="*/ 26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3" y="22"/>
                </a:lnTo>
                <a:lnTo>
                  <a:pt x="19" y="26"/>
                </a:lnTo>
                <a:lnTo>
                  <a:pt x="13" y="26"/>
                </a:lnTo>
                <a:lnTo>
                  <a:pt x="10" y="26"/>
                </a:lnTo>
                <a:lnTo>
                  <a:pt x="6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6" y="4"/>
                </a:lnTo>
                <a:lnTo>
                  <a:pt x="10" y="0"/>
                </a:lnTo>
                <a:lnTo>
                  <a:pt x="13" y="0"/>
                </a:lnTo>
                <a:lnTo>
                  <a:pt x="19" y="0"/>
                </a:lnTo>
                <a:lnTo>
                  <a:pt x="23" y="4"/>
                </a:lnTo>
                <a:lnTo>
                  <a:pt x="26" y="8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6" name="Freeform 732">
            <a:extLst>
              <a:ext uri="{FF2B5EF4-FFF2-40B4-BE49-F238E27FC236}">
                <a16:creationId xmlns:a16="http://schemas.microsoft.com/office/drawing/2014/main" id="{3BEF915D-02E9-7839-EDC2-C51876E487C4}"/>
              </a:ext>
            </a:extLst>
          </p:cNvPr>
          <p:cNvSpPr>
            <a:spLocks/>
          </p:cNvSpPr>
          <p:nvPr/>
        </p:nvSpPr>
        <p:spPr bwMode="auto">
          <a:xfrm>
            <a:off x="3456519" y="5496984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3 w 26"/>
              <a:gd name="T7" fmla="*/ 22 h 26"/>
              <a:gd name="T8" fmla="*/ 19 w 26"/>
              <a:gd name="T9" fmla="*/ 26 h 26"/>
              <a:gd name="T10" fmla="*/ 13 w 26"/>
              <a:gd name="T11" fmla="*/ 26 h 26"/>
              <a:gd name="T12" fmla="*/ 10 w 26"/>
              <a:gd name="T13" fmla="*/ 26 h 26"/>
              <a:gd name="T14" fmla="*/ 6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8 h 26"/>
              <a:gd name="T24" fmla="*/ 6 w 26"/>
              <a:gd name="T25" fmla="*/ 4 h 26"/>
              <a:gd name="T26" fmla="*/ 10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4 h 26"/>
              <a:gd name="T34" fmla="*/ 26 w 26"/>
              <a:gd name="T35" fmla="*/ 8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3" y="22"/>
                </a:lnTo>
                <a:lnTo>
                  <a:pt x="19" y="26"/>
                </a:lnTo>
                <a:lnTo>
                  <a:pt x="13" y="26"/>
                </a:lnTo>
                <a:lnTo>
                  <a:pt x="10" y="26"/>
                </a:lnTo>
                <a:lnTo>
                  <a:pt x="6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6" y="4"/>
                </a:lnTo>
                <a:lnTo>
                  <a:pt x="10" y="0"/>
                </a:lnTo>
                <a:lnTo>
                  <a:pt x="13" y="0"/>
                </a:lnTo>
                <a:lnTo>
                  <a:pt x="19" y="0"/>
                </a:lnTo>
                <a:lnTo>
                  <a:pt x="23" y="4"/>
                </a:lnTo>
                <a:lnTo>
                  <a:pt x="26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7" name="Freeform 733">
            <a:extLst>
              <a:ext uri="{FF2B5EF4-FFF2-40B4-BE49-F238E27FC236}">
                <a16:creationId xmlns:a16="http://schemas.microsoft.com/office/drawing/2014/main" id="{2F9CE611-9FFB-AC8E-E0D1-52BC5C94C4D8}"/>
              </a:ext>
            </a:extLst>
          </p:cNvPr>
          <p:cNvSpPr>
            <a:spLocks/>
          </p:cNvSpPr>
          <p:nvPr/>
        </p:nvSpPr>
        <p:spPr bwMode="auto">
          <a:xfrm>
            <a:off x="367241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9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8" name="Freeform 734">
            <a:extLst>
              <a:ext uri="{FF2B5EF4-FFF2-40B4-BE49-F238E27FC236}">
                <a16:creationId xmlns:a16="http://schemas.microsoft.com/office/drawing/2014/main" id="{58594FE9-C8DE-CE93-B1B5-C50B71F7BC61}"/>
              </a:ext>
            </a:extLst>
          </p:cNvPr>
          <p:cNvSpPr>
            <a:spLocks/>
          </p:cNvSpPr>
          <p:nvPr/>
        </p:nvSpPr>
        <p:spPr bwMode="auto">
          <a:xfrm>
            <a:off x="367241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9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9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9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9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69" name="Freeform 735">
            <a:extLst>
              <a:ext uri="{FF2B5EF4-FFF2-40B4-BE49-F238E27FC236}">
                <a16:creationId xmlns:a16="http://schemas.microsoft.com/office/drawing/2014/main" id="{97E36173-38BF-D1EE-CC86-21B0F78723B2}"/>
              </a:ext>
            </a:extLst>
          </p:cNvPr>
          <p:cNvSpPr>
            <a:spLocks/>
          </p:cNvSpPr>
          <p:nvPr/>
        </p:nvSpPr>
        <p:spPr bwMode="auto">
          <a:xfrm>
            <a:off x="38586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2 w 26"/>
              <a:gd name="T7" fmla="*/ 22 h 26"/>
              <a:gd name="T8" fmla="*/ 18 w 26"/>
              <a:gd name="T9" fmla="*/ 24 h 26"/>
              <a:gd name="T10" fmla="*/ 13 w 26"/>
              <a:gd name="T11" fmla="*/ 26 h 26"/>
              <a:gd name="T12" fmla="*/ 9 w 26"/>
              <a:gd name="T13" fmla="*/ 24 h 26"/>
              <a:gd name="T14" fmla="*/ 5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5 w 26"/>
              <a:gd name="T25" fmla="*/ 2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2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2" y="22"/>
                </a:lnTo>
                <a:lnTo>
                  <a:pt x="18" y="24"/>
                </a:lnTo>
                <a:lnTo>
                  <a:pt x="13" y="26"/>
                </a:lnTo>
                <a:lnTo>
                  <a:pt x="9" y="24"/>
                </a:lnTo>
                <a:lnTo>
                  <a:pt x="5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5" y="2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2"/>
                </a:lnTo>
                <a:lnTo>
                  <a:pt x="26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0" name="Freeform 736">
            <a:extLst>
              <a:ext uri="{FF2B5EF4-FFF2-40B4-BE49-F238E27FC236}">
                <a16:creationId xmlns:a16="http://schemas.microsoft.com/office/drawing/2014/main" id="{CD569427-CE82-11A2-0E2D-59620BB9518D}"/>
              </a:ext>
            </a:extLst>
          </p:cNvPr>
          <p:cNvSpPr>
            <a:spLocks/>
          </p:cNvSpPr>
          <p:nvPr/>
        </p:nvSpPr>
        <p:spPr bwMode="auto">
          <a:xfrm>
            <a:off x="38586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2 w 26"/>
              <a:gd name="T7" fmla="*/ 22 h 26"/>
              <a:gd name="T8" fmla="*/ 18 w 26"/>
              <a:gd name="T9" fmla="*/ 24 h 26"/>
              <a:gd name="T10" fmla="*/ 13 w 26"/>
              <a:gd name="T11" fmla="*/ 26 h 26"/>
              <a:gd name="T12" fmla="*/ 9 w 26"/>
              <a:gd name="T13" fmla="*/ 24 h 26"/>
              <a:gd name="T14" fmla="*/ 5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5 w 26"/>
              <a:gd name="T25" fmla="*/ 2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2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2" y="22"/>
                </a:lnTo>
                <a:lnTo>
                  <a:pt x="18" y="24"/>
                </a:lnTo>
                <a:lnTo>
                  <a:pt x="13" y="26"/>
                </a:lnTo>
                <a:lnTo>
                  <a:pt x="9" y="24"/>
                </a:lnTo>
                <a:lnTo>
                  <a:pt x="5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5" y="2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2"/>
                </a:lnTo>
                <a:lnTo>
                  <a:pt x="26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1" name="Freeform 737">
            <a:extLst>
              <a:ext uri="{FF2B5EF4-FFF2-40B4-BE49-F238E27FC236}">
                <a16:creationId xmlns:a16="http://schemas.microsoft.com/office/drawing/2014/main" id="{C5AC8313-5B4F-93A3-5DDB-B9355267B26D}"/>
              </a:ext>
            </a:extLst>
          </p:cNvPr>
          <p:cNvSpPr>
            <a:spLocks/>
          </p:cNvSpPr>
          <p:nvPr/>
        </p:nvSpPr>
        <p:spPr bwMode="auto">
          <a:xfrm>
            <a:off x="4074585" y="5437717"/>
            <a:ext cx="55033" cy="59267"/>
          </a:xfrm>
          <a:custGeom>
            <a:avLst/>
            <a:gdLst>
              <a:gd name="T0" fmla="*/ 26 w 26"/>
              <a:gd name="T1" fmla="*/ 13 h 28"/>
              <a:gd name="T2" fmla="*/ 26 w 26"/>
              <a:gd name="T3" fmla="*/ 13 h 28"/>
              <a:gd name="T4" fmla="*/ 24 w 26"/>
              <a:gd name="T5" fmla="*/ 21 h 28"/>
              <a:gd name="T6" fmla="*/ 22 w 26"/>
              <a:gd name="T7" fmla="*/ 24 h 28"/>
              <a:gd name="T8" fmla="*/ 17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4 w 26"/>
              <a:gd name="T15" fmla="*/ 24 h 28"/>
              <a:gd name="T16" fmla="*/ 2 w 26"/>
              <a:gd name="T17" fmla="*/ 21 h 28"/>
              <a:gd name="T18" fmla="*/ 0 w 26"/>
              <a:gd name="T19" fmla="*/ 13 h 28"/>
              <a:gd name="T20" fmla="*/ 0 w 26"/>
              <a:gd name="T21" fmla="*/ 13 h 28"/>
              <a:gd name="T22" fmla="*/ 2 w 26"/>
              <a:gd name="T23" fmla="*/ 8 h 28"/>
              <a:gd name="T24" fmla="*/ 4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7 w 26"/>
              <a:gd name="T31" fmla="*/ 2 h 28"/>
              <a:gd name="T32" fmla="*/ 22 w 26"/>
              <a:gd name="T33" fmla="*/ 4 h 28"/>
              <a:gd name="T34" fmla="*/ 24 w 26"/>
              <a:gd name="T35" fmla="*/ 8 h 28"/>
              <a:gd name="T36" fmla="*/ 26 w 26"/>
              <a:gd name="T37" fmla="*/ 1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3"/>
                </a:moveTo>
                <a:lnTo>
                  <a:pt x="26" y="13"/>
                </a:lnTo>
                <a:lnTo>
                  <a:pt x="24" y="21"/>
                </a:lnTo>
                <a:lnTo>
                  <a:pt x="22" y="24"/>
                </a:lnTo>
                <a:lnTo>
                  <a:pt x="17" y="26"/>
                </a:lnTo>
                <a:lnTo>
                  <a:pt x="13" y="28"/>
                </a:lnTo>
                <a:lnTo>
                  <a:pt x="7" y="26"/>
                </a:lnTo>
                <a:lnTo>
                  <a:pt x="4" y="24"/>
                </a:lnTo>
                <a:lnTo>
                  <a:pt x="2" y="21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2" name="Freeform 738">
            <a:extLst>
              <a:ext uri="{FF2B5EF4-FFF2-40B4-BE49-F238E27FC236}">
                <a16:creationId xmlns:a16="http://schemas.microsoft.com/office/drawing/2014/main" id="{C031CA80-3BE6-2626-6214-371100201A0A}"/>
              </a:ext>
            </a:extLst>
          </p:cNvPr>
          <p:cNvSpPr>
            <a:spLocks/>
          </p:cNvSpPr>
          <p:nvPr/>
        </p:nvSpPr>
        <p:spPr bwMode="auto">
          <a:xfrm>
            <a:off x="4074585" y="5437717"/>
            <a:ext cx="55033" cy="59267"/>
          </a:xfrm>
          <a:custGeom>
            <a:avLst/>
            <a:gdLst>
              <a:gd name="T0" fmla="*/ 26 w 26"/>
              <a:gd name="T1" fmla="*/ 13 h 28"/>
              <a:gd name="T2" fmla="*/ 26 w 26"/>
              <a:gd name="T3" fmla="*/ 13 h 28"/>
              <a:gd name="T4" fmla="*/ 24 w 26"/>
              <a:gd name="T5" fmla="*/ 21 h 28"/>
              <a:gd name="T6" fmla="*/ 22 w 26"/>
              <a:gd name="T7" fmla="*/ 24 h 28"/>
              <a:gd name="T8" fmla="*/ 17 w 26"/>
              <a:gd name="T9" fmla="*/ 26 h 28"/>
              <a:gd name="T10" fmla="*/ 13 w 26"/>
              <a:gd name="T11" fmla="*/ 28 h 28"/>
              <a:gd name="T12" fmla="*/ 7 w 26"/>
              <a:gd name="T13" fmla="*/ 26 h 28"/>
              <a:gd name="T14" fmla="*/ 4 w 26"/>
              <a:gd name="T15" fmla="*/ 24 h 28"/>
              <a:gd name="T16" fmla="*/ 2 w 26"/>
              <a:gd name="T17" fmla="*/ 21 h 28"/>
              <a:gd name="T18" fmla="*/ 0 w 26"/>
              <a:gd name="T19" fmla="*/ 13 h 28"/>
              <a:gd name="T20" fmla="*/ 0 w 26"/>
              <a:gd name="T21" fmla="*/ 13 h 28"/>
              <a:gd name="T22" fmla="*/ 2 w 26"/>
              <a:gd name="T23" fmla="*/ 8 h 28"/>
              <a:gd name="T24" fmla="*/ 4 w 26"/>
              <a:gd name="T25" fmla="*/ 4 h 28"/>
              <a:gd name="T26" fmla="*/ 7 w 26"/>
              <a:gd name="T27" fmla="*/ 2 h 28"/>
              <a:gd name="T28" fmla="*/ 13 w 26"/>
              <a:gd name="T29" fmla="*/ 0 h 28"/>
              <a:gd name="T30" fmla="*/ 17 w 26"/>
              <a:gd name="T31" fmla="*/ 2 h 28"/>
              <a:gd name="T32" fmla="*/ 22 w 26"/>
              <a:gd name="T33" fmla="*/ 4 h 28"/>
              <a:gd name="T34" fmla="*/ 24 w 26"/>
              <a:gd name="T35" fmla="*/ 8 h 28"/>
              <a:gd name="T36" fmla="*/ 26 w 26"/>
              <a:gd name="T37" fmla="*/ 1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8">
                <a:moveTo>
                  <a:pt x="26" y="13"/>
                </a:moveTo>
                <a:lnTo>
                  <a:pt x="26" y="13"/>
                </a:lnTo>
                <a:lnTo>
                  <a:pt x="24" y="21"/>
                </a:lnTo>
                <a:lnTo>
                  <a:pt x="22" y="24"/>
                </a:lnTo>
                <a:lnTo>
                  <a:pt x="17" y="26"/>
                </a:lnTo>
                <a:lnTo>
                  <a:pt x="13" y="28"/>
                </a:lnTo>
                <a:lnTo>
                  <a:pt x="7" y="26"/>
                </a:lnTo>
                <a:lnTo>
                  <a:pt x="4" y="24"/>
                </a:lnTo>
                <a:lnTo>
                  <a:pt x="2" y="21"/>
                </a:lnTo>
                <a:lnTo>
                  <a:pt x="0" y="13"/>
                </a:lnTo>
                <a:lnTo>
                  <a:pt x="0" y="13"/>
                </a:lnTo>
                <a:lnTo>
                  <a:pt x="2" y="8"/>
                </a:lnTo>
                <a:lnTo>
                  <a:pt x="4" y="4"/>
                </a:lnTo>
                <a:lnTo>
                  <a:pt x="7" y="2"/>
                </a:lnTo>
                <a:lnTo>
                  <a:pt x="13" y="0"/>
                </a:lnTo>
                <a:lnTo>
                  <a:pt x="17" y="2"/>
                </a:lnTo>
                <a:lnTo>
                  <a:pt x="22" y="4"/>
                </a:lnTo>
                <a:lnTo>
                  <a:pt x="24" y="8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3" name="Freeform 739">
            <a:extLst>
              <a:ext uri="{FF2B5EF4-FFF2-40B4-BE49-F238E27FC236}">
                <a16:creationId xmlns:a16="http://schemas.microsoft.com/office/drawing/2014/main" id="{9C348C70-4633-26E3-31F8-87DC50147DFD}"/>
              </a:ext>
            </a:extLst>
          </p:cNvPr>
          <p:cNvSpPr>
            <a:spLocks/>
          </p:cNvSpPr>
          <p:nvPr/>
        </p:nvSpPr>
        <p:spPr bwMode="auto">
          <a:xfrm>
            <a:off x="42756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4" name="Freeform 740">
            <a:extLst>
              <a:ext uri="{FF2B5EF4-FFF2-40B4-BE49-F238E27FC236}">
                <a16:creationId xmlns:a16="http://schemas.microsoft.com/office/drawing/2014/main" id="{0F93AF63-2611-7BE3-FBDA-D34DE897D999}"/>
              </a:ext>
            </a:extLst>
          </p:cNvPr>
          <p:cNvSpPr>
            <a:spLocks/>
          </p:cNvSpPr>
          <p:nvPr/>
        </p:nvSpPr>
        <p:spPr bwMode="auto">
          <a:xfrm>
            <a:off x="42756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5" name="Freeform 741">
            <a:extLst>
              <a:ext uri="{FF2B5EF4-FFF2-40B4-BE49-F238E27FC236}">
                <a16:creationId xmlns:a16="http://schemas.microsoft.com/office/drawing/2014/main" id="{86E89AE1-5744-51AF-BD97-097D4486BC94}"/>
              </a:ext>
            </a:extLst>
          </p:cNvPr>
          <p:cNvSpPr>
            <a:spLocks/>
          </p:cNvSpPr>
          <p:nvPr/>
        </p:nvSpPr>
        <p:spPr bwMode="auto">
          <a:xfrm>
            <a:off x="44746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6" name="Freeform 742">
            <a:extLst>
              <a:ext uri="{FF2B5EF4-FFF2-40B4-BE49-F238E27FC236}">
                <a16:creationId xmlns:a16="http://schemas.microsoft.com/office/drawing/2014/main" id="{9B69B8C4-B876-73ED-178D-3FD0A63619D3}"/>
              </a:ext>
            </a:extLst>
          </p:cNvPr>
          <p:cNvSpPr>
            <a:spLocks/>
          </p:cNvSpPr>
          <p:nvPr/>
        </p:nvSpPr>
        <p:spPr bwMode="auto">
          <a:xfrm>
            <a:off x="44746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7" name="Freeform 743">
            <a:extLst>
              <a:ext uri="{FF2B5EF4-FFF2-40B4-BE49-F238E27FC236}">
                <a16:creationId xmlns:a16="http://schemas.microsoft.com/office/drawing/2014/main" id="{A87E360A-DF32-7178-1DF4-EDDF7BBA4E7A}"/>
              </a:ext>
            </a:extLst>
          </p:cNvPr>
          <p:cNvSpPr>
            <a:spLocks/>
          </p:cNvSpPr>
          <p:nvPr/>
        </p:nvSpPr>
        <p:spPr bwMode="auto">
          <a:xfrm>
            <a:off x="467571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8" name="Freeform 744">
            <a:extLst>
              <a:ext uri="{FF2B5EF4-FFF2-40B4-BE49-F238E27FC236}">
                <a16:creationId xmlns:a16="http://schemas.microsoft.com/office/drawing/2014/main" id="{CD5F758D-E195-23B6-91E0-213BAB7E74F4}"/>
              </a:ext>
            </a:extLst>
          </p:cNvPr>
          <p:cNvSpPr>
            <a:spLocks/>
          </p:cNvSpPr>
          <p:nvPr/>
        </p:nvSpPr>
        <p:spPr bwMode="auto">
          <a:xfrm>
            <a:off x="467571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79" name="Freeform 745">
            <a:extLst>
              <a:ext uri="{FF2B5EF4-FFF2-40B4-BE49-F238E27FC236}">
                <a16:creationId xmlns:a16="http://schemas.microsoft.com/office/drawing/2014/main" id="{06B1BA48-6FDD-44DA-9432-2B1E1142E838}"/>
              </a:ext>
            </a:extLst>
          </p:cNvPr>
          <p:cNvSpPr>
            <a:spLocks/>
          </p:cNvSpPr>
          <p:nvPr/>
        </p:nvSpPr>
        <p:spPr bwMode="auto">
          <a:xfrm>
            <a:off x="487680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0" name="Freeform 746">
            <a:extLst>
              <a:ext uri="{FF2B5EF4-FFF2-40B4-BE49-F238E27FC236}">
                <a16:creationId xmlns:a16="http://schemas.microsoft.com/office/drawing/2014/main" id="{AF50BAC9-0195-8E5B-51DD-8D6CC191850E}"/>
              </a:ext>
            </a:extLst>
          </p:cNvPr>
          <p:cNvSpPr>
            <a:spLocks/>
          </p:cNvSpPr>
          <p:nvPr/>
        </p:nvSpPr>
        <p:spPr bwMode="auto">
          <a:xfrm>
            <a:off x="487680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1" name="Freeform 747">
            <a:extLst>
              <a:ext uri="{FF2B5EF4-FFF2-40B4-BE49-F238E27FC236}">
                <a16:creationId xmlns:a16="http://schemas.microsoft.com/office/drawing/2014/main" id="{78AB6614-4E81-765A-22BA-69B76ED76D2E}"/>
              </a:ext>
            </a:extLst>
          </p:cNvPr>
          <p:cNvSpPr>
            <a:spLocks/>
          </p:cNvSpPr>
          <p:nvPr/>
        </p:nvSpPr>
        <p:spPr bwMode="auto">
          <a:xfrm>
            <a:off x="50778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1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1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1" y="19"/>
                </a:lnTo>
                <a:lnTo>
                  <a:pt x="0" y="13"/>
                </a:lnTo>
                <a:lnTo>
                  <a:pt x="0" y="13"/>
                </a:lnTo>
                <a:lnTo>
                  <a:pt x="1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2" name="Freeform 748">
            <a:extLst>
              <a:ext uri="{FF2B5EF4-FFF2-40B4-BE49-F238E27FC236}">
                <a16:creationId xmlns:a16="http://schemas.microsoft.com/office/drawing/2014/main" id="{777CFF50-50C4-82C7-DB29-55A1446D48A0}"/>
              </a:ext>
            </a:extLst>
          </p:cNvPr>
          <p:cNvSpPr>
            <a:spLocks/>
          </p:cNvSpPr>
          <p:nvPr/>
        </p:nvSpPr>
        <p:spPr bwMode="auto">
          <a:xfrm>
            <a:off x="507788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1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1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1" y="19"/>
                </a:lnTo>
                <a:lnTo>
                  <a:pt x="0" y="13"/>
                </a:lnTo>
                <a:lnTo>
                  <a:pt x="0" y="13"/>
                </a:lnTo>
                <a:lnTo>
                  <a:pt x="1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3" name="Freeform 749">
            <a:extLst>
              <a:ext uri="{FF2B5EF4-FFF2-40B4-BE49-F238E27FC236}">
                <a16:creationId xmlns:a16="http://schemas.microsoft.com/office/drawing/2014/main" id="{DF623B7D-7EEB-6952-F465-B8B393996830}"/>
              </a:ext>
            </a:extLst>
          </p:cNvPr>
          <p:cNvSpPr>
            <a:spLocks/>
          </p:cNvSpPr>
          <p:nvPr/>
        </p:nvSpPr>
        <p:spPr bwMode="auto">
          <a:xfrm>
            <a:off x="52768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4" name="Freeform 750">
            <a:extLst>
              <a:ext uri="{FF2B5EF4-FFF2-40B4-BE49-F238E27FC236}">
                <a16:creationId xmlns:a16="http://schemas.microsoft.com/office/drawing/2014/main" id="{8C989FCB-55F0-DB4A-BB1A-5AF7A45F1F5F}"/>
              </a:ext>
            </a:extLst>
          </p:cNvPr>
          <p:cNvSpPr>
            <a:spLocks/>
          </p:cNvSpPr>
          <p:nvPr/>
        </p:nvSpPr>
        <p:spPr bwMode="auto">
          <a:xfrm>
            <a:off x="5276852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5" name="Freeform 751">
            <a:extLst>
              <a:ext uri="{FF2B5EF4-FFF2-40B4-BE49-F238E27FC236}">
                <a16:creationId xmlns:a16="http://schemas.microsoft.com/office/drawing/2014/main" id="{2D1675C8-A2DC-6541-BBF3-0393E29DC035}"/>
              </a:ext>
            </a:extLst>
          </p:cNvPr>
          <p:cNvSpPr>
            <a:spLocks/>
          </p:cNvSpPr>
          <p:nvPr/>
        </p:nvSpPr>
        <p:spPr bwMode="auto">
          <a:xfrm>
            <a:off x="54779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6" name="Freeform 752">
            <a:extLst>
              <a:ext uri="{FF2B5EF4-FFF2-40B4-BE49-F238E27FC236}">
                <a16:creationId xmlns:a16="http://schemas.microsoft.com/office/drawing/2014/main" id="{96613AF5-FE5F-EEF2-B26D-3C72DCC50D77}"/>
              </a:ext>
            </a:extLst>
          </p:cNvPr>
          <p:cNvSpPr>
            <a:spLocks/>
          </p:cNvSpPr>
          <p:nvPr/>
        </p:nvSpPr>
        <p:spPr bwMode="auto">
          <a:xfrm>
            <a:off x="5477935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7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7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7" name="Freeform 753">
            <a:extLst>
              <a:ext uri="{FF2B5EF4-FFF2-40B4-BE49-F238E27FC236}">
                <a16:creationId xmlns:a16="http://schemas.microsoft.com/office/drawing/2014/main" id="{054A0B7F-BE52-F8D0-1DD7-4E61ACE31AEC}"/>
              </a:ext>
            </a:extLst>
          </p:cNvPr>
          <p:cNvSpPr>
            <a:spLocks/>
          </p:cNvSpPr>
          <p:nvPr/>
        </p:nvSpPr>
        <p:spPr bwMode="auto">
          <a:xfrm>
            <a:off x="567901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8" name="Freeform 754">
            <a:extLst>
              <a:ext uri="{FF2B5EF4-FFF2-40B4-BE49-F238E27FC236}">
                <a16:creationId xmlns:a16="http://schemas.microsoft.com/office/drawing/2014/main" id="{3C4C94A2-F9A8-B489-D9C4-AD2E2721BB93}"/>
              </a:ext>
            </a:extLst>
          </p:cNvPr>
          <p:cNvSpPr>
            <a:spLocks/>
          </p:cNvSpPr>
          <p:nvPr/>
        </p:nvSpPr>
        <p:spPr bwMode="auto">
          <a:xfrm>
            <a:off x="567901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6 w 26"/>
              <a:gd name="T9" fmla="*/ 24 h 26"/>
              <a:gd name="T10" fmla="*/ 13 w 26"/>
              <a:gd name="T11" fmla="*/ 26 h 26"/>
              <a:gd name="T12" fmla="*/ 7 w 26"/>
              <a:gd name="T13" fmla="*/ 24 h 26"/>
              <a:gd name="T14" fmla="*/ 3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3 w 26"/>
              <a:gd name="T25" fmla="*/ 2 h 26"/>
              <a:gd name="T26" fmla="*/ 7 w 26"/>
              <a:gd name="T27" fmla="*/ 0 h 26"/>
              <a:gd name="T28" fmla="*/ 13 w 26"/>
              <a:gd name="T29" fmla="*/ 0 h 26"/>
              <a:gd name="T30" fmla="*/ 16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6" y="24"/>
                </a:lnTo>
                <a:lnTo>
                  <a:pt x="13" y="26"/>
                </a:lnTo>
                <a:lnTo>
                  <a:pt x="7" y="24"/>
                </a:lnTo>
                <a:lnTo>
                  <a:pt x="3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13" y="0"/>
                </a:lnTo>
                <a:lnTo>
                  <a:pt x="16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89" name="Freeform 755">
            <a:extLst>
              <a:ext uri="{FF2B5EF4-FFF2-40B4-BE49-F238E27FC236}">
                <a16:creationId xmlns:a16="http://schemas.microsoft.com/office/drawing/2014/main" id="{B19107D2-CAFF-34BB-4F96-CF24C9A0C07B}"/>
              </a:ext>
            </a:extLst>
          </p:cNvPr>
          <p:cNvSpPr>
            <a:spLocks/>
          </p:cNvSpPr>
          <p:nvPr/>
        </p:nvSpPr>
        <p:spPr bwMode="auto">
          <a:xfrm>
            <a:off x="5877986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0" name="Freeform 756">
            <a:extLst>
              <a:ext uri="{FF2B5EF4-FFF2-40B4-BE49-F238E27FC236}">
                <a16:creationId xmlns:a16="http://schemas.microsoft.com/office/drawing/2014/main" id="{B18DD39E-76B5-5F17-BD07-B9E0B7C5887F}"/>
              </a:ext>
            </a:extLst>
          </p:cNvPr>
          <p:cNvSpPr>
            <a:spLocks/>
          </p:cNvSpPr>
          <p:nvPr/>
        </p:nvSpPr>
        <p:spPr bwMode="auto">
          <a:xfrm>
            <a:off x="5877986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5 w 26"/>
              <a:gd name="T5" fmla="*/ 19 h 26"/>
              <a:gd name="T6" fmla="*/ 23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3 w 26"/>
              <a:gd name="T33" fmla="*/ 2 h 26"/>
              <a:gd name="T34" fmla="*/ 25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5" y="19"/>
                </a:lnTo>
                <a:lnTo>
                  <a:pt x="23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3" y="2"/>
                </a:lnTo>
                <a:lnTo>
                  <a:pt x="25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1" name="Freeform 757">
            <a:extLst>
              <a:ext uri="{FF2B5EF4-FFF2-40B4-BE49-F238E27FC236}">
                <a16:creationId xmlns:a16="http://schemas.microsoft.com/office/drawing/2014/main" id="{F1E4D363-264C-6B04-C7C0-3F4BA8BFDEBB}"/>
              </a:ext>
            </a:extLst>
          </p:cNvPr>
          <p:cNvSpPr>
            <a:spLocks/>
          </p:cNvSpPr>
          <p:nvPr/>
        </p:nvSpPr>
        <p:spPr bwMode="auto">
          <a:xfrm>
            <a:off x="59774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2 w 26"/>
              <a:gd name="T7" fmla="*/ 22 h 26"/>
              <a:gd name="T8" fmla="*/ 18 w 26"/>
              <a:gd name="T9" fmla="*/ 24 h 26"/>
              <a:gd name="T10" fmla="*/ 13 w 26"/>
              <a:gd name="T11" fmla="*/ 26 h 26"/>
              <a:gd name="T12" fmla="*/ 9 w 26"/>
              <a:gd name="T13" fmla="*/ 24 h 26"/>
              <a:gd name="T14" fmla="*/ 5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5 w 26"/>
              <a:gd name="T25" fmla="*/ 2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2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2" y="22"/>
                </a:lnTo>
                <a:lnTo>
                  <a:pt x="18" y="24"/>
                </a:lnTo>
                <a:lnTo>
                  <a:pt x="13" y="26"/>
                </a:lnTo>
                <a:lnTo>
                  <a:pt x="9" y="24"/>
                </a:lnTo>
                <a:lnTo>
                  <a:pt x="5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5" y="2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2"/>
                </a:lnTo>
                <a:lnTo>
                  <a:pt x="26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2" name="Freeform 758">
            <a:extLst>
              <a:ext uri="{FF2B5EF4-FFF2-40B4-BE49-F238E27FC236}">
                <a16:creationId xmlns:a16="http://schemas.microsoft.com/office/drawing/2014/main" id="{DCA419E3-F486-9B96-1DD6-6DFE21537910}"/>
              </a:ext>
            </a:extLst>
          </p:cNvPr>
          <p:cNvSpPr>
            <a:spLocks/>
          </p:cNvSpPr>
          <p:nvPr/>
        </p:nvSpPr>
        <p:spPr bwMode="auto">
          <a:xfrm>
            <a:off x="59774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6 w 26"/>
              <a:gd name="T5" fmla="*/ 19 h 26"/>
              <a:gd name="T6" fmla="*/ 22 w 26"/>
              <a:gd name="T7" fmla="*/ 22 h 26"/>
              <a:gd name="T8" fmla="*/ 18 w 26"/>
              <a:gd name="T9" fmla="*/ 24 h 26"/>
              <a:gd name="T10" fmla="*/ 13 w 26"/>
              <a:gd name="T11" fmla="*/ 26 h 26"/>
              <a:gd name="T12" fmla="*/ 9 w 26"/>
              <a:gd name="T13" fmla="*/ 24 h 26"/>
              <a:gd name="T14" fmla="*/ 5 w 26"/>
              <a:gd name="T15" fmla="*/ 22 h 26"/>
              <a:gd name="T16" fmla="*/ 2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2 w 26"/>
              <a:gd name="T23" fmla="*/ 7 h 26"/>
              <a:gd name="T24" fmla="*/ 5 w 26"/>
              <a:gd name="T25" fmla="*/ 2 h 26"/>
              <a:gd name="T26" fmla="*/ 9 w 26"/>
              <a:gd name="T27" fmla="*/ 0 h 26"/>
              <a:gd name="T28" fmla="*/ 13 w 26"/>
              <a:gd name="T29" fmla="*/ 0 h 26"/>
              <a:gd name="T30" fmla="*/ 18 w 26"/>
              <a:gd name="T31" fmla="*/ 0 h 26"/>
              <a:gd name="T32" fmla="*/ 22 w 26"/>
              <a:gd name="T33" fmla="*/ 2 h 26"/>
              <a:gd name="T34" fmla="*/ 26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6" y="19"/>
                </a:lnTo>
                <a:lnTo>
                  <a:pt x="22" y="22"/>
                </a:lnTo>
                <a:lnTo>
                  <a:pt x="18" y="24"/>
                </a:lnTo>
                <a:lnTo>
                  <a:pt x="13" y="26"/>
                </a:lnTo>
                <a:lnTo>
                  <a:pt x="9" y="24"/>
                </a:lnTo>
                <a:lnTo>
                  <a:pt x="5" y="22"/>
                </a:lnTo>
                <a:lnTo>
                  <a:pt x="2" y="19"/>
                </a:lnTo>
                <a:lnTo>
                  <a:pt x="0" y="13"/>
                </a:lnTo>
                <a:lnTo>
                  <a:pt x="0" y="13"/>
                </a:lnTo>
                <a:lnTo>
                  <a:pt x="2" y="7"/>
                </a:lnTo>
                <a:lnTo>
                  <a:pt x="5" y="2"/>
                </a:lnTo>
                <a:lnTo>
                  <a:pt x="9" y="0"/>
                </a:lnTo>
                <a:lnTo>
                  <a:pt x="13" y="0"/>
                </a:lnTo>
                <a:lnTo>
                  <a:pt x="18" y="0"/>
                </a:lnTo>
                <a:lnTo>
                  <a:pt x="22" y="2"/>
                </a:lnTo>
                <a:lnTo>
                  <a:pt x="26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3" name="Freeform 759">
            <a:extLst>
              <a:ext uri="{FF2B5EF4-FFF2-40B4-BE49-F238E27FC236}">
                <a16:creationId xmlns:a16="http://schemas.microsoft.com/office/drawing/2014/main" id="{76416221-9BEB-D8C1-E9DD-4030FFA9255A}"/>
              </a:ext>
            </a:extLst>
          </p:cNvPr>
          <p:cNvSpPr>
            <a:spLocks/>
          </p:cNvSpPr>
          <p:nvPr/>
        </p:nvSpPr>
        <p:spPr bwMode="auto">
          <a:xfrm>
            <a:off x="60790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  <a:close/>
              </a:path>
            </a:pathLst>
          </a:custGeom>
          <a:solidFill>
            <a:srgbClr val="00CED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4" name="Freeform 760">
            <a:extLst>
              <a:ext uri="{FF2B5EF4-FFF2-40B4-BE49-F238E27FC236}">
                <a16:creationId xmlns:a16="http://schemas.microsoft.com/office/drawing/2014/main" id="{6E50A21B-8D7F-90A1-0089-13E1AE84BB2D}"/>
              </a:ext>
            </a:extLst>
          </p:cNvPr>
          <p:cNvSpPr>
            <a:spLocks/>
          </p:cNvSpPr>
          <p:nvPr/>
        </p:nvSpPr>
        <p:spPr bwMode="auto">
          <a:xfrm>
            <a:off x="6079069" y="5666317"/>
            <a:ext cx="55033" cy="55033"/>
          </a:xfrm>
          <a:custGeom>
            <a:avLst/>
            <a:gdLst>
              <a:gd name="T0" fmla="*/ 26 w 26"/>
              <a:gd name="T1" fmla="*/ 13 h 26"/>
              <a:gd name="T2" fmla="*/ 26 w 26"/>
              <a:gd name="T3" fmla="*/ 13 h 26"/>
              <a:gd name="T4" fmla="*/ 24 w 26"/>
              <a:gd name="T5" fmla="*/ 19 h 26"/>
              <a:gd name="T6" fmla="*/ 22 w 26"/>
              <a:gd name="T7" fmla="*/ 22 h 26"/>
              <a:gd name="T8" fmla="*/ 17 w 26"/>
              <a:gd name="T9" fmla="*/ 24 h 26"/>
              <a:gd name="T10" fmla="*/ 13 w 26"/>
              <a:gd name="T11" fmla="*/ 26 h 26"/>
              <a:gd name="T12" fmla="*/ 8 w 26"/>
              <a:gd name="T13" fmla="*/ 24 h 26"/>
              <a:gd name="T14" fmla="*/ 4 w 26"/>
              <a:gd name="T15" fmla="*/ 22 h 26"/>
              <a:gd name="T16" fmla="*/ 0 w 26"/>
              <a:gd name="T17" fmla="*/ 19 h 26"/>
              <a:gd name="T18" fmla="*/ 0 w 26"/>
              <a:gd name="T19" fmla="*/ 13 h 26"/>
              <a:gd name="T20" fmla="*/ 0 w 26"/>
              <a:gd name="T21" fmla="*/ 13 h 26"/>
              <a:gd name="T22" fmla="*/ 0 w 26"/>
              <a:gd name="T23" fmla="*/ 7 h 26"/>
              <a:gd name="T24" fmla="*/ 4 w 26"/>
              <a:gd name="T25" fmla="*/ 2 h 26"/>
              <a:gd name="T26" fmla="*/ 8 w 26"/>
              <a:gd name="T27" fmla="*/ 0 h 26"/>
              <a:gd name="T28" fmla="*/ 13 w 26"/>
              <a:gd name="T29" fmla="*/ 0 h 26"/>
              <a:gd name="T30" fmla="*/ 17 w 26"/>
              <a:gd name="T31" fmla="*/ 0 h 26"/>
              <a:gd name="T32" fmla="*/ 22 w 26"/>
              <a:gd name="T33" fmla="*/ 2 h 26"/>
              <a:gd name="T34" fmla="*/ 24 w 26"/>
              <a:gd name="T35" fmla="*/ 7 h 26"/>
              <a:gd name="T36" fmla="*/ 26 w 26"/>
              <a:gd name="T37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26">
                <a:moveTo>
                  <a:pt x="26" y="13"/>
                </a:moveTo>
                <a:lnTo>
                  <a:pt x="26" y="13"/>
                </a:lnTo>
                <a:lnTo>
                  <a:pt x="24" y="19"/>
                </a:lnTo>
                <a:lnTo>
                  <a:pt x="22" y="22"/>
                </a:lnTo>
                <a:lnTo>
                  <a:pt x="17" y="24"/>
                </a:lnTo>
                <a:lnTo>
                  <a:pt x="13" y="26"/>
                </a:lnTo>
                <a:lnTo>
                  <a:pt x="8" y="24"/>
                </a:lnTo>
                <a:lnTo>
                  <a:pt x="4" y="22"/>
                </a:lnTo>
                <a:lnTo>
                  <a:pt x="0" y="19"/>
                </a:lnTo>
                <a:lnTo>
                  <a:pt x="0" y="13"/>
                </a:lnTo>
                <a:lnTo>
                  <a:pt x="0" y="13"/>
                </a:lnTo>
                <a:lnTo>
                  <a:pt x="0" y="7"/>
                </a:lnTo>
                <a:lnTo>
                  <a:pt x="4" y="2"/>
                </a:lnTo>
                <a:lnTo>
                  <a:pt x="8" y="0"/>
                </a:lnTo>
                <a:lnTo>
                  <a:pt x="13" y="0"/>
                </a:lnTo>
                <a:lnTo>
                  <a:pt x="17" y="0"/>
                </a:lnTo>
                <a:lnTo>
                  <a:pt x="22" y="2"/>
                </a:lnTo>
                <a:lnTo>
                  <a:pt x="24" y="7"/>
                </a:lnTo>
                <a:lnTo>
                  <a:pt x="26" y="13"/>
                </a:lnTo>
              </a:path>
            </a:pathLst>
          </a:custGeom>
          <a:noFill/>
          <a:ln w="9525">
            <a:solidFill>
              <a:srgbClr val="00CED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5" name="Line 761">
            <a:extLst>
              <a:ext uri="{FF2B5EF4-FFF2-40B4-BE49-F238E27FC236}">
                <a16:creationId xmlns:a16="http://schemas.microsoft.com/office/drawing/2014/main" id="{89CF20CE-21F9-236E-9DE7-DD2A413A218C}"/>
              </a:ext>
            </a:extLst>
          </p:cNvPr>
          <p:cNvSpPr>
            <a:spLocks noChangeShapeType="1"/>
          </p:cNvSpPr>
          <p:nvPr/>
        </p:nvSpPr>
        <p:spPr bwMode="auto">
          <a:xfrm>
            <a:off x="3314702" y="1003301"/>
            <a:ext cx="0" cy="4828117"/>
          </a:xfrm>
          <a:prstGeom prst="line">
            <a:avLst/>
          </a:prstGeom>
          <a:noFill/>
          <a:ln w="12700">
            <a:solidFill>
              <a:schemeClr val="accent1">
                <a:lumMod val="75000"/>
              </a:schemeClr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6" name="Line 762">
            <a:extLst>
              <a:ext uri="{FF2B5EF4-FFF2-40B4-BE49-F238E27FC236}">
                <a16:creationId xmlns:a16="http://schemas.microsoft.com/office/drawing/2014/main" id="{BB2B574F-C4AF-B432-43CC-3742A1298DAC}"/>
              </a:ext>
            </a:extLst>
          </p:cNvPr>
          <p:cNvSpPr>
            <a:spLocks noChangeShapeType="1"/>
          </p:cNvSpPr>
          <p:nvPr/>
        </p:nvSpPr>
        <p:spPr bwMode="auto">
          <a:xfrm>
            <a:off x="6112325" y="1311353"/>
            <a:ext cx="0" cy="4520065"/>
          </a:xfrm>
          <a:prstGeom prst="line">
            <a:avLst/>
          </a:prstGeom>
          <a:noFill/>
          <a:ln w="12700">
            <a:solidFill>
              <a:schemeClr val="accent1">
                <a:lumMod val="75000"/>
              </a:schemeClr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7" name="Line 763">
            <a:extLst>
              <a:ext uri="{FF2B5EF4-FFF2-40B4-BE49-F238E27FC236}">
                <a16:creationId xmlns:a16="http://schemas.microsoft.com/office/drawing/2014/main" id="{99971B11-FF21-4B34-145C-23DE852CC2E9}"/>
              </a:ext>
            </a:extLst>
          </p:cNvPr>
          <p:cNvSpPr>
            <a:spLocks noChangeShapeType="1"/>
          </p:cNvSpPr>
          <p:nvPr/>
        </p:nvSpPr>
        <p:spPr bwMode="auto">
          <a:xfrm>
            <a:off x="7321552" y="1003301"/>
            <a:ext cx="0" cy="4828117"/>
          </a:xfrm>
          <a:prstGeom prst="line">
            <a:avLst/>
          </a:prstGeom>
          <a:noFill/>
          <a:ln w="12700">
            <a:solidFill>
              <a:schemeClr val="accent1">
                <a:lumMod val="75000"/>
              </a:schemeClr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en-US">
              <a:solidFill>
                <a:srgbClr val="1E1E1E"/>
              </a:solidFill>
              <a:latin typeface="Arial" panose="020B0604020202020204"/>
            </a:endParaRPr>
          </a:p>
        </p:txBody>
      </p:sp>
      <p:sp>
        <p:nvSpPr>
          <p:cNvPr id="198" name="Rectangle 764">
            <a:extLst>
              <a:ext uri="{FF2B5EF4-FFF2-40B4-BE49-F238E27FC236}">
                <a16:creationId xmlns:a16="http://schemas.microsoft.com/office/drawing/2014/main" id="{E69F3F11-0A0D-34A4-F94F-E69B13ED2B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9685" y="1001184"/>
            <a:ext cx="1623483" cy="484715"/>
          </a:xfrm>
          <a:prstGeom prst="rect">
            <a:avLst/>
          </a:prstGeom>
          <a:solidFill>
            <a:srgbClr val="55A2A8"/>
          </a:solidFill>
          <a:ln>
            <a:noFill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067" b="1" dirty="0">
                <a:latin typeface="Arial" panose="020B0604020202020204"/>
              </a:rPr>
              <a:t>Period 2</a:t>
            </a:r>
            <a:r>
              <a:rPr lang="en-US" altLang="en-US" sz="1067" b="1" baseline="30000" dirty="0">
                <a:latin typeface="Arial" panose="020B0604020202020204"/>
              </a:rPr>
              <a:t>a</a:t>
            </a:r>
            <a:endParaRPr lang="en-US" altLang="en-US" sz="1067" b="1" dirty="0">
              <a:latin typeface="Arial" panose="020B0604020202020204"/>
            </a:endParaRPr>
          </a:p>
          <a:p>
            <a:pPr algn="ctr" defTabSz="1219170"/>
            <a:r>
              <a:rPr lang="en-US" altLang="en-US" sz="1067" b="1" dirty="0">
                <a:latin typeface="Arial" panose="020B0604020202020204"/>
              </a:rPr>
              <a:t>VES + ATI</a:t>
            </a:r>
          </a:p>
        </p:txBody>
      </p:sp>
      <p:sp>
        <p:nvSpPr>
          <p:cNvPr id="217" name="Rectangle 783">
            <a:extLst>
              <a:ext uri="{FF2B5EF4-FFF2-40B4-BE49-F238E27FC236}">
                <a16:creationId xmlns:a16="http://schemas.microsoft.com/office/drawing/2014/main" id="{495B7100-CC26-6513-EED8-5BE040A8A4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8104" y="2172229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 dirty="0">
                <a:solidFill>
                  <a:srgbClr val="000000"/>
                </a:solidFill>
              </a:rPr>
              <a:t>100,000</a:t>
            </a:r>
            <a:endParaRPr lang="en-US" altLang="en-US" sz="1200" dirty="0">
              <a:solidFill>
                <a:srgbClr val="1E1E1E"/>
              </a:solidFill>
            </a:endParaRPr>
          </a:p>
        </p:txBody>
      </p:sp>
      <p:sp>
        <p:nvSpPr>
          <p:cNvPr id="218" name="Rectangle 784">
            <a:extLst>
              <a:ext uri="{FF2B5EF4-FFF2-40B4-BE49-F238E27FC236}">
                <a16:creationId xmlns:a16="http://schemas.microsoft.com/office/drawing/2014/main" id="{FE4E159A-BE8C-171D-C503-9B84D3C9C8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1304" y="2525715"/>
            <a:ext cx="3398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 dirty="0">
                <a:solidFill>
                  <a:srgbClr val="000000"/>
                </a:solidFill>
              </a:rPr>
              <a:t>1000</a:t>
            </a:r>
            <a:endParaRPr lang="en-US" altLang="en-US" sz="1200" dirty="0">
              <a:solidFill>
                <a:srgbClr val="1E1E1E"/>
              </a:solidFill>
            </a:endParaRPr>
          </a:p>
        </p:txBody>
      </p:sp>
      <p:sp>
        <p:nvSpPr>
          <p:cNvPr id="225" name="Rectangle 791">
            <a:extLst>
              <a:ext uri="{FF2B5EF4-FFF2-40B4-BE49-F238E27FC236}">
                <a16:creationId xmlns:a16="http://schemas.microsoft.com/office/drawing/2014/main" id="{DBF9AB53-6FCE-FD8D-AE1B-78CF19F02B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7285" y="5954184"/>
            <a:ext cx="857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/>
            <a:r>
              <a:rPr lang="en-US" altLang="en-US" sz="1067" b="1">
                <a:solidFill>
                  <a:srgbClr val="000000"/>
                </a:solidFill>
              </a:rPr>
              <a:t>Weeks of ATI</a:t>
            </a:r>
            <a:endParaRPr lang="en-US" altLang="en-US" sz="2400" b="1">
              <a:solidFill>
                <a:srgbClr val="1E1E1E"/>
              </a:solidFill>
            </a:endParaRPr>
          </a:p>
        </p:txBody>
      </p:sp>
      <p:sp>
        <p:nvSpPr>
          <p:cNvPr id="229" name="Rectangle 795">
            <a:extLst>
              <a:ext uri="{FF2B5EF4-FFF2-40B4-BE49-F238E27FC236}">
                <a16:creationId xmlns:a16="http://schemas.microsoft.com/office/drawing/2014/main" id="{8E93B124-562E-66E7-F1AC-1A2EC3C1F5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26860" y="5844117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 dirty="0">
                <a:solidFill>
                  <a:srgbClr val="000000"/>
                </a:solidFill>
              </a:rPr>
              <a:t>16</a:t>
            </a:r>
            <a:endParaRPr lang="en-US" altLang="en-US" sz="1200" dirty="0">
              <a:solidFill>
                <a:srgbClr val="1E1E1E"/>
              </a:solidFill>
            </a:endParaRPr>
          </a:p>
        </p:txBody>
      </p:sp>
      <p:sp>
        <p:nvSpPr>
          <p:cNvPr id="230" name="Rectangle 796">
            <a:extLst>
              <a:ext uri="{FF2B5EF4-FFF2-40B4-BE49-F238E27FC236}">
                <a16:creationId xmlns:a16="http://schemas.microsoft.com/office/drawing/2014/main" id="{900EED5A-5806-E516-4381-73D96213A1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4036" y="5844117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 dirty="0">
                <a:solidFill>
                  <a:srgbClr val="000000"/>
                </a:solidFill>
              </a:rPr>
              <a:t>44</a:t>
            </a:r>
            <a:endParaRPr lang="en-US" altLang="en-US" sz="1200" dirty="0">
              <a:solidFill>
                <a:srgbClr val="1E1E1E"/>
              </a:solidFill>
            </a:endParaRPr>
          </a:p>
        </p:txBody>
      </p:sp>
      <p:sp>
        <p:nvSpPr>
          <p:cNvPr id="231" name="Rectangle 797">
            <a:extLst>
              <a:ext uri="{FF2B5EF4-FFF2-40B4-BE49-F238E27FC236}">
                <a16:creationId xmlns:a16="http://schemas.microsoft.com/office/drawing/2014/main" id="{087C861E-2F27-B160-A21A-7D014B125D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39002" y="5844117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 dirty="0">
                <a:solidFill>
                  <a:srgbClr val="000000"/>
                </a:solidFill>
              </a:rPr>
              <a:t>56</a:t>
            </a:r>
            <a:endParaRPr lang="en-US" altLang="en-US" sz="1200" dirty="0">
              <a:solidFill>
                <a:srgbClr val="1E1E1E"/>
              </a:solidFill>
            </a:endParaRPr>
          </a:p>
        </p:txBody>
      </p:sp>
      <p:sp>
        <p:nvSpPr>
          <p:cNvPr id="233" name="Rectangle 799">
            <a:extLst>
              <a:ext uri="{FF2B5EF4-FFF2-40B4-BE49-F238E27FC236}">
                <a16:creationId xmlns:a16="http://schemas.microsoft.com/office/drawing/2014/main" id="{B5F23796-78B8-D23D-BB08-6B554C9FD468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204635" y="3573734"/>
            <a:ext cx="158402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200" b="1" dirty="0">
                <a:solidFill>
                  <a:srgbClr val="000000"/>
                </a:solidFill>
              </a:rPr>
              <a:t>HIV-1 RNA Copies/mL</a:t>
            </a:r>
            <a:endParaRPr lang="en-US" altLang="en-US" sz="1200" b="1" dirty="0">
              <a:solidFill>
                <a:srgbClr val="1E1E1E"/>
              </a:solidFill>
            </a:endParaRPr>
          </a:p>
        </p:txBody>
      </p:sp>
      <p:sp>
        <p:nvSpPr>
          <p:cNvPr id="840" name="Rectangle 764">
            <a:extLst>
              <a:ext uri="{FF2B5EF4-FFF2-40B4-BE49-F238E27FC236}">
                <a16:creationId xmlns:a16="http://schemas.microsoft.com/office/drawing/2014/main" id="{9080E01F-2BBE-D31B-15C7-C6341B946C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3169" y="1001184"/>
            <a:ext cx="2798234" cy="493183"/>
          </a:xfrm>
          <a:prstGeom prst="rect">
            <a:avLst/>
          </a:prstGeom>
          <a:solidFill>
            <a:srgbClr val="55A2A8"/>
          </a:solidFill>
          <a:ln>
            <a:noFill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067" b="1">
                <a:latin typeface="Arial" panose="020B0604020202020204"/>
              </a:rPr>
              <a:t>Period 3</a:t>
            </a:r>
          </a:p>
          <a:p>
            <a:pPr algn="ctr" defTabSz="1219170"/>
            <a:r>
              <a:rPr lang="en-US" altLang="en-US" sz="1067" b="1">
                <a:latin typeface="Arial" panose="020B0604020202020204"/>
              </a:rPr>
              <a:t>ATI</a:t>
            </a:r>
            <a:endParaRPr lang="en-US" altLang="en-US" sz="2400">
              <a:latin typeface="Arial" panose="020B0604020202020204"/>
            </a:endParaRPr>
          </a:p>
        </p:txBody>
      </p:sp>
      <p:sp>
        <p:nvSpPr>
          <p:cNvPr id="841" name="Rectangle 764">
            <a:extLst>
              <a:ext uri="{FF2B5EF4-FFF2-40B4-BE49-F238E27FC236}">
                <a16:creationId xmlns:a16="http://schemas.microsoft.com/office/drawing/2014/main" id="{3BC5671B-BF10-7080-070A-22DE8E9958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9286" y="1001184"/>
            <a:ext cx="1212850" cy="493183"/>
          </a:xfrm>
          <a:prstGeom prst="rect">
            <a:avLst/>
          </a:prstGeom>
          <a:solidFill>
            <a:srgbClr val="396C70"/>
          </a:solidFill>
          <a:ln>
            <a:noFill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70"/>
            <a:r>
              <a:rPr lang="en-US" altLang="en-US" sz="1067" b="1">
                <a:solidFill>
                  <a:schemeClr val="bg1"/>
                </a:solidFill>
                <a:latin typeface="Arial" panose="020B0604020202020204"/>
              </a:rPr>
              <a:t>Period 4</a:t>
            </a:r>
          </a:p>
          <a:p>
            <a:pPr algn="ctr" defTabSz="1219170"/>
            <a:r>
              <a:rPr lang="en-US" altLang="en-US" sz="1067" b="1">
                <a:solidFill>
                  <a:schemeClr val="bg1"/>
                </a:solidFill>
                <a:latin typeface="Arial" panose="020B0604020202020204"/>
              </a:rPr>
              <a:t>Optional </a:t>
            </a:r>
          </a:p>
          <a:p>
            <a:pPr algn="ctr" defTabSz="1219170"/>
            <a:r>
              <a:rPr lang="en-US" altLang="en-US" sz="1067" b="1">
                <a:solidFill>
                  <a:schemeClr val="bg1"/>
                </a:solidFill>
                <a:latin typeface="Arial" panose="020B0604020202020204"/>
              </a:rPr>
              <a:t>ATI Extension</a:t>
            </a:r>
            <a:endParaRPr lang="en-US" altLang="en-US" sz="240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4BCE93-7E5B-6B75-083A-848401BEAE70}"/>
              </a:ext>
            </a:extLst>
          </p:cNvPr>
          <p:cNvSpPr txBox="1"/>
          <p:nvPr/>
        </p:nvSpPr>
        <p:spPr>
          <a:xfrm>
            <a:off x="7539569" y="3383633"/>
            <a:ext cx="4652431" cy="2862322"/>
          </a:xfrm>
          <a:prstGeom prst="rect">
            <a:avLst/>
          </a:prstGeom>
          <a:solidFill>
            <a:schemeClr val="bg1"/>
          </a:solidFill>
        </p:spPr>
        <p:txBody>
          <a:bodyPr wrap="square" rIns="0" rtlCol="0">
            <a:spAutoFit/>
          </a:bodyPr>
          <a:lstStyle/>
          <a:p>
            <a:pPr defTabSz="914377"/>
            <a:r>
              <a:rPr lang="en-US" b="1" dirty="0">
                <a:solidFill>
                  <a:schemeClr val="accent2"/>
                </a:solidFill>
                <a:latin typeface="Arial" panose="020B0604020202020204"/>
              </a:rPr>
              <a:t>Group 3: Late ART Restart and Post-treatment Controllers</a:t>
            </a:r>
          </a:p>
          <a:p>
            <a:pPr marL="380990" indent="-380990" defTabSz="914377">
              <a:buFont typeface="Arial" panose="020B0604020202020204" pitchFamily="34" charset="0"/>
              <a:buChar char="•"/>
            </a:pPr>
            <a:r>
              <a:rPr lang="en-US" spc="-20" dirty="0">
                <a:solidFill>
                  <a:schemeClr val="accent2"/>
                </a:solidFill>
                <a:latin typeface="Arial" panose="020B0604020202020204"/>
              </a:rPr>
              <a:t>6/20 (30%) remained off ART through week 48 (44 weeks of ATI)</a:t>
            </a:r>
          </a:p>
          <a:p>
            <a:pPr marL="380990" indent="-380990" defTabSz="914377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2"/>
                </a:solidFill>
                <a:latin typeface="Arial" panose="020B0604020202020204"/>
              </a:rPr>
              <a:t>4/20 (20%) remained off ART through the end of study (55 weeks of ATI)</a:t>
            </a:r>
          </a:p>
          <a:p>
            <a:pPr marL="380990" indent="-380990" defTabSz="914377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2"/>
                </a:solidFill>
                <a:latin typeface="Arial" panose="020B0604020202020204"/>
              </a:rPr>
              <a:t>Post-trial, the 4 controllers opted to remain off ART and in close follow-up</a:t>
            </a:r>
          </a:p>
          <a:p>
            <a:pPr marL="838179" lvl="1" indent="-38099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2"/>
                </a:solidFill>
                <a:latin typeface="Arial" panose="020B0604020202020204"/>
              </a:rPr>
              <a:t>They are now off ART for a median of 1.5 years (range 1.2-2.4)</a:t>
            </a:r>
          </a:p>
        </p:txBody>
      </p:sp>
      <p:sp>
        <p:nvSpPr>
          <p:cNvPr id="10" name="Rectangle 783">
            <a:extLst>
              <a:ext uri="{FF2B5EF4-FFF2-40B4-BE49-F238E27FC236}">
                <a16:creationId xmlns:a16="http://schemas.microsoft.com/office/drawing/2014/main" id="{CA123216-A2A6-3131-8A80-591A2D0253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8104" y="3570724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 dirty="0">
                <a:solidFill>
                  <a:srgbClr val="000000"/>
                </a:solidFill>
              </a:rPr>
              <a:t>100,000</a:t>
            </a:r>
            <a:endParaRPr lang="en-US" altLang="en-US" sz="1200" dirty="0">
              <a:solidFill>
                <a:srgbClr val="1E1E1E"/>
              </a:solidFill>
            </a:endParaRPr>
          </a:p>
        </p:txBody>
      </p:sp>
      <p:sp>
        <p:nvSpPr>
          <p:cNvPr id="65" name="Rectangle 784">
            <a:extLst>
              <a:ext uri="{FF2B5EF4-FFF2-40B4-BE49-F238E27FC236}">
                <a16:creationId xmlns:a16="http://schemas.microsoft.com/office/drawing/2014/main" id="{08F314B4-32CD-C5CB-F0DA-A5A877CF68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1304" y="3926591"/>
            <a:ext cx="3398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 dirty="0">
                <a:solidFill>
                  <a:srgbClr val="000000"/>
                </a:solidFill>
              </a:rPr>
              <a:t>1000</a:t>
            </a:r>
            <a:endParaRPr lang="en-US" altLang="en-US" sz="1200" dirty="0">
              <a:solidFill>
                <a:srgbClr val="1E1E1E"/>
              </a:solidFill>
            </a:endParaRPr>
          </a:p>
        </p:txBody>
      </p:sp>
      <p:sp>
        <p:nvSpPr>
          <p:cNvPr id="66" name="Rectangle 783">
            <a:extLst>
              <a:ext uri="{FF2B5EF4-FFF2-40B4-BE49-F238E27FC236}">
                <a16:creationId xmlns:a16="http://schemas.microsoft.com/office/drawing/2014/main" id="{14FFA625-157D-2883-A751-D1EA300A8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8104" y="4968980"/>
            <a:ext cx="5530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 dirty="0">
                <a:solidFill>
                  <a:srgbClr val="000000"/>
                </a:solidFill>
              </a:rPr>
              <a:t>100,000</a:t>
            </a:r>
            <a:endParaRPr lang="en-US" altLang="en-US" sz="1200" dirty="0">
              <a:solidFill>
                <a:srgbClr val="1E1E1E"/>
              </a:solidFill>
            </a:endParaRPr>
          </a:p>
        </p:txBody>
      </p:sp>
      <p:sp>
        <p:nvSpPr>
          <p:cNvPr id="67" name="Rectangle 784">
            <a:extLst>
              <a:ext uri="{FF2B5EF4-FFF2-40B4-BE49-F238E27FC236}">
                <a16:creationId xmlns:a16="http://schemas.microsoft.com/office/drawing/2014/main" id="{89346B1B-C00E-7039-AA51-9DF5F633D4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1304" y="5329609"/>
            <a:ext cx="3398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19170"/>
            <a:r>
              <a:rPr lang="en-US" altLang="en-US" sz="1200" dirty="0">
                <a:solidFill>
                  <a:srgbClr val="000000"/>
                </a:solidFill>
              </a:rPr>
              <a:t>1000</a:t>
            </a:r>
            <a:endParaRPr lang="en-US" altLang="en-US" sz="1200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0896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8E429A-71F3-24E0-2628-4F42DC861B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E0A348-F6F0-DCF6-77E0-B47DC91F200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noFill/>
        </p:spPr>
        <p:txBody>
          <a:bodyPr vert="horz" lIns="0" tIns="0" rIns="0" bIns="0" rtlCol="0" anchor="ctr"/>
          <a:lstStyle/>
          <a:p>
            <a:fld id="{4BEAA09E-D67E-864E-8466-C38E88600C4F}" type="slidenum">
              <a:rPr lang="en-US"/>
              <a:pPr/>
              <a:t>16</a:t>
            </a:fld>
            <a:endParaRPr lang="en-US" dirty="0"/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B6FAA5EF-9270-1336-D816-84E8618E37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3200" dirty="0">
                <a:latin typeface="Arial" panose="020B0604020202020204" pitchFamily="34" charset="0"/>
              </a:rPr>
              <a:t>40% Had Oscillating Viral Rebound Dynamic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7FC7047-E069-FEDC-ABEC-E0BA0BE2B948}"/>
              </a:ext>
            </a:extLst>
          </p:cNvPr>
          <p:cNvSpPr txBox="1"/>
          <p:nvPr/>
        </p:nvSpPr>
        <p:spPr>
          <a:xfrm>
            <a:off x="7192876" y="1775867"/>
            <a:ext cx="4725186" cy="3570208"/>
          </a:xfrm>
          <a:prstGeom prst="rect">
            <a:avLst/>
          </a:prstGeom>
          <a:solidFill>
            <a:srgbClr val="E8F3F3"/>
          </a:solidFill>
        </p:spPr>
        <p:txBody>
          <a:bodyPr wrap="square" lIns="91440" tIns="91440" rIns="91440" bIns="91440" rtlCol="0" anchor="ctr">
            <a:spAutoFit/>
          </a:bodyPr>
          <a:lstStyle/>
          <a:p>
            <a:pPr marL="233040" indent="-23304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chemeClr val="accent2"/>
                </a:solidFill>
                <a:latin typeface="Arial" panose="020B0604020202020204"/>
              </a:rPr>
              <a:t>The median time to viral rebound</a:t>
            </a:r>
            <a:br>
              <a:rPr lang="en-US" sz="2000" dirty="0">
                <a:solidFill>
                  <a:schemeClr val="accent2"/>
                </a:solidFill>
                <a:latin typeface="Arial" panose="020B0604020202020204"/>
              </a:rPr>
            </a:br>
            <a:r>
              <a:rPr lang="en-US" sz="2000" dirty="0">
                <a:solidFill>
                  <a:schemeClr val="accent2"/>
                </a:solidFill>
                <a:latin typeface="Arial" panose="020B0604020202020204"/>
              </a:rPr>
              <a:t>(≥ 50 copies/mL) after ATI was</a:t>
            </a:r>
            <a:br>
              <a:rPr lang="en-US" sz="2000" dirty="0">
                <a:solidFill>
                  <a:schemeClr val="accent2"/>
                </a:solidFill>
                <a:latin typeface="Arial" panose="020B0604020202020204"/>
              </a:rPr>
            </a:br>
            <a:r>
              <a:rPr lang="en-US" sz="2000" dirty="0">
                <a:solidFill>
                  <a:schemeClr val="accent2"/>
                </a:solidFill>
                <a:latin typeface="Arial" panose="020B0604020202020204"/>
              </a:rPr>
              <a:t>11 weeks (95% CI, 7-18)</a:t>
            </a:r>
          </a:p>
          <a:p>
            <a:pPr marL="233040" indent="-23304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chemeClr val="accent2"/>
                </a:solidFill>
                <a:latin typeface="Arial" panose="020B0604020202020204"/>
              </a:rPr>
              <a:t>12 (60%) participants exhibited typical viral rebound dynamics once rebound occurred</a:t>
            </a:r>
          </a:p>
          <a:p>
            <a:pPr marL="233040" indent="-23304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chemeClr val="accent2"/>
                </a:solidFill>
                <a:latin typeface="Arial" panose="020B0604020202020204"/>
              </a:rPr>
              <a:t>8 (40%) participants exhibited atypical dynamics, including oscillation (re-suppression after initial rebound) and nonexponential growth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2622C563-029B-0C52-EA91-317E377CECE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3401" y="969433"/>
            <a:ext cx="6347884" cy="5192188"/>
            <a:chOff x="252" y="458"/>
            <a:chExt cx="2999" cy="2453"/>
          </a:xfrm>
        </p:grpSpPr>
        <p:sp>
          <p:nvSpPr>
            <p:cNvPr id="10" name="AutoShape 3">
              <a:extLst>
                <a:ext uri="{FF2B5EF4-FFF2-40B4-BE49-F238E27FC236}">
                  <a16:creationId xmlns:a16="http://schemas.microsoft.com/office/drawing/2014/main" id="{AEB0B9AD-E1BB-6646-D461-8BF8F853A69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5" y="464"/>
              <a:ext cx="2996" cy="2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grpSp>
          <p:nvGrpSpPr>
            <p:cNvPr id="20" name="Group 205">
              <a:extLst>
                <a:ext uri="{FF2B5EF4-FFF2-40B4-BE49-F238E27FC236}">
                  <a16:creationId xmlns:a16="http://schemas.microsoft.com/office/drawing/2014/main" id="{E026C872-E357-8BC1-459C-A79BC50387F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88" y="564"/>
              <a:ext cx="2563" cy="2135"/>
              <a:chOff x="688" y="564"/>
              <a:chExt cx="2563" cy="2135"/>
            </a:xfrm>
          </p:grpSpPr>
          <p:sp>
            <p:nvSpPr>
              <p:cNvPr id="399" name="Line 5">
                <a:extLst>
                  <a:ext uri="{FF2B5EF4-FFF2-40B4-BE49-F238E27FC236}">
                    <a16:creationId xmlns:a16="http://schemas.microsoft.com/office/drawing/2014/main" id="{221A7AD8-901A-B43B-9554-E348D0E85F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8" y="643"/>
                <a:ext cx="2563" cy="0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00" name="Line 6">
                <a:extLst>
                  <a:ext uri="{FF2B5EF4-FFF2-40B4-BE49-F238E27FC236}">
                    <a16:creationId xmlns:a16="http://schemas.microsoft.com/office/drawing/2014/main" id="{7E6587DF-9F9E-DFF1-EE58-C077C1E55B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37" y="582"/>
                <a:ext cx="0" cy="969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01" name="Line 7">
                <a:extLst>
                  <a:ext uri="{FF2B5EF4-FFF2-40B4-BE49-F238E27FC236}">
                    <a16:creationId xmlns:a16="http://schemas.microsoft.com/office/drawing/2014/main" id="{9AC140E1-F35D-947C-3CD6-9B473DFD3D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8" y="795"/>
                <a:ext cx="2563" cy="0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02" name="Line 8">
                <a:extLst>
                  <a:ext uri="{FF2B5EF4-FFF2-40B4-BE49-F238E27FC236}">
                    <a16:creationId xmlns:a16="http://schemas.microsoft.com/office/drawing/2014/main" id="{F14D1D56-4FBB-2CD8-342B-154732A737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8" y="947"/>
                <a:ext cx="2563" cy="0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03" name="Line 9">
                <a:extLst>
                  <a:ext uri="{FF2B5EF4-FFF2-40B4-BE49-F238E27FC236}">
                    <a16:creationId xmlns:a16="http://schemas.microsoft.com/office/drawing/2014/main" id="{A1880C9A-234D-A589-E6F6-2449433EBF5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8" y="1099"/>
                <a:ext cx="2563" cy="0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04" name="Line 10">
                <a:extLst>
                  <a:ext uri="{FF2B5EF4-FFF2-40B4-BE49-F238E27FC236}">
                    <a16:creationId xmlns:a16="http://schemas.microsoft.com/office/drawing/2014/main" id="{6F2E7EBC-C324-3B43-CD64-378B07A3309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8" y="1252"/>
                <a:ext cx="2563" cy="0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05" name="Line 11">
                <a:extLst>
                  <a:ext uri="{FF2B5EF4-FFF2-40B4-BE49-F238E27FC236}">
                    <a16:creationId xmlns:a16="http://schemas.microsoft.com/office/drawing/2014/main" id="{0A1CF4EF-3953-683F-6855-6C7523DF55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8" y="1404"/>
                <a:ext cx="2563" cy="0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06" name="Line 12">
                <a:extLst>
                  <a:ext uri="{FF2B5EF4-FFF2-40B4-BE49-F238E27FC236}">
                    <a16:creationId xmlns:a16="http://schemas.microsoft.com/office/drawing/2014/main" id="{9AD98EAE-BE79-E42C-1123-0B492666975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8" y="1554"/>
                <a:ext cx="2563" cy="0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07" name="Line 13">
                <a:extLst>
                  <a:ext uri="{FF2B5EF4-FFF2-40B4-BE49-F238E27FC236}">
                    <a16:creationId xmlns:a16="http://schemas.microsoft.com/office/drawing/2014/main" id="{B24BDDEC-36E6-CE5B-4D99-1EA2E43C16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8" y="1789"/>
                <a:ext cx="2563" cy="0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08" name="Line 14">
                <a:extLst>
                  <a:ext uri="{FF2B5EF4-FFF2-40B4-BE49-F238E27FC236}">
                    <a16:creationId xmlns:a16="http://schemas.microsoft.com/office/drawing/2014/main" id="{C1395855-02B9-A399-3F5B-6D49876F72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37" y="1723"/>
                <a:ext cx="0" cy="974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09" name="Line 15">
                <a:extLst>
                  <a:ext uri="{FF2B5EF4-FFF2-40B4-BE49-F238E27FC236}">
                    <a16:creationId xmlns:a16="http://schemas.microsoft.com/office/drawing/2014/main" id="{6B06A46F-A170-64F6-341A-6347DB5929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85" y="582"/>
                <a:ext cx="0" cy="969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10" name="Line 16">
                <a:extLst>
                  <a:ext uri="{FF2B5EF4-FFF2-40B4-BE49-F238E27FC236}">
                    <a16:creationId xmlns:a16="http://schemas.microsoft.com/office/drawing/2014/main" id="{EA6EADE0-4B25-61E1-FE37-B2770C72C0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85" y="1723"/>
                <a:ext cx="0" cy="974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11" name="Line 17">
                <a:extLst>
                  <a:ext uri="{FF2B5EF4-FFF2-40B4-BE49-F238E27FC236}">
                    <a16:creationId xmlns:a16="http://schemas.microsoft.com/office/drawing/2014/main" id="{3AB06B5B-CF7C-FFC3-9766-589D866F34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33" y="582"/>
                <a:ext cx="0" cy="969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12" name="Line 18">
                <a:extLst>
                  <a:ext uri="{FF2B5EF4-FFF2-40B4-BE49-F238E27FC236}">
                    <a16:creationId xmlns:a16="http://schemas.microsoft.com/office/drawing/2014/main" id="{109587C9-7B30-6B0D-03B6-7C1D5DDFAF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33" y="1723"/>
                <a:ext cx="0" cy="974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13" name="Line 19">
                <a:extLst>
                  <a:ext uri="{FF2B5EF4-FFF2-40B4-BE49-F238E27FC236}">
                    <a16:creationId xmlns:a16="http://schemas.microsoft.com/office/drawing/2014/main" id="{6A1E6920-517B-AD7A-3A95-B8C4D33A4F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79" y="641"/>
                <a:ext cx="0" cy="910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14" name="Line 20">
                <a:extLst>
                  <a:ext uri="{FF2B5EF4-FFF2-40B4-BE49-F238E27FC236}">
                    <a16:creationId xmlns:a16="http://schemas.microsoft.com/office/drawing/2014/main" id="{4009E22C-A064-0122-7FD1-A1EFE1DC4E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79" y="1789"/>
                <a:ext cx="0" cy="908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15" name="Line 21">
                <a:extLst>
                  <a:ext uri="{FF2B5EF4-FFF2-40B4-BE49-F238E27FC236}">
                    <a16:creationId xmlns:a16="http://schemas.microsoft.com/office/drawing/2014/main" id="{D7E82AF6-C1FD-3A9E-AB83-62B11BA847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25" y="582"/>
                <a:ext cx="0" cy="969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16" name="Line 22">
                <a:extLst>
                  <a:ext uri="{FF2B5EF4-FFF2-40B4-BE49-F238E27FC236}">
                    <a16:creationId xmlns:a16="http://schemas.microsoft.com/office/drawing/2014/main" id="{73583C68-9D8C-40D3-68B5-A0A6C45F85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25" y="1723"/>
                <a:ext cx="0" cy="974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17" name="Line 23">
                <a:extLst>
                  <a:ext uri="{FF2B5EF4-FFF2-40B4-BE49-F238E27FC236}">
                    <a16:creationId xmlns:a16="http://schemas.microsoft.com/office/drawing/2014/main" id="{CA84D280-6F37-10DF-04AE-C9A7C05C03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77" y="582"/>
                <a:ext cx="0" cy="969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18" name="Line 24">
                <a:extLst>
                  <a:ext uri="{FF2B5EF4-FFF2-40B4-BE49-F238E27FC236}">
                    <a16:creationId xmlns:a16="http://schemas.microsoft.com/office/drawing/2014/main" id="{9D49690A-6882-CE42-C745-624882A01D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77" y="1723"/>
                <a:ext cx="0" cy="974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19" name="Line 25">
                <a:extLst>
                  <a:ext uri="{FF2B5EF4-FFF2-40B4-BE49-F238E27FC236}">
                    <a16:creationId xmlns:a16="http://schemas.microsoft.com/office/drawing/2014/main" id="{62F0F926-B33D-F807-BC7B-668CC71F73F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29" y="582"/>
                <a:ext cx="0" cy="969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20" name="Line 26">
                <a:extLst>
                  <a:ext uri="{FF2B5EF4-FFF2-40B4-BE49-F238E27FC236}">
                    <a16:creationId xmlns:a16="http://schemas.microsoft.com/office/drawing/2014/main" id="{A3422013-A69A-B701-77F2-EFE5895572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29" y="1723"/>
                <a:ext cx="0" cy="974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21" name="Line 27">
                <a:extLst>
                  <a:ext uri="{FF2B5EF4-FFF2-40B4-BE49-F238E27FC236}">
                    <a16:creationId xmlns:a16="http://schemas.microsoft.com/office/drawing/2014/main" id="{53E38142-5B4A-DA56-DDEA-AC9539A22FB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31" y="641"/>
                <a:ext cx="0" cy="910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22" name="Line 28">
                <a:extLst>
                  <a:ext uri="{FF2B5EF4-FFF2-40B4-BE49-F238E27FC236}">
                    <a16:creationId xmlns:a16="http://schemas.microsoft.com/office/drawing/2014/main" id="{4898EDEC-ECD7-0AAC-CAD5-60B41DAC46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31" y="1789"/>
                <a:ext cx="0" cy="908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23" name="Line 29">
                <a:extLst>
                  <a:ext uri="{FF2B5EF4-FFF2-40B4-BE49-F238E27FC236}">
                    <a16:creationId xmlns:a16="http://schemas.microsoft.com/office/drawing/2014/main" id="{1D8B74C2-D09B-68E5-7BE2-5517F0FFBD9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83" y="641"/>
                <a:ext cx="0" cy="910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24" name="Line 30">
                <a:extLst>
                  <a:ext uri="{FF2B5EF4-FFF2-40B4-BE49-F238E27FC236}">
                    <a16:creationId xmlns:a16="http://schemas.microsoft.com/office/drawing/2014/main" id="{80F3843F-F28A-18F5-045C-EA0B4561A1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83" y="1789"/>
                <a:ext cx="0" cy="908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25" name="Line 31">
                <a:extLst>
                  <a:ext uri="{FF2B5EF4-FFF2-40B4-BE49-F238E27FC236}">
                    <a16:creationId xmlns:a16="http://schemas.microsoft.com/office/drawing/2014/main" id="{C39F6F3A-42DF-1378-C3CC-E912D00E25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8" y="1942"/>
                <a:ext cx="2563" cy="0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26" name="Line 32">
                <a:extLst>
                  <a:ext uri="{FF2B5EF4-FFF2-40B4-BE49-F238E27FC236}">
                    <a16:creationId xmlns:a16="http://schemas.microsoft.com/office/drawing/2014/main" id="{9BEA2687-A69F-4D17-BC55-BA388A5FC3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8" y="2092"/>
                <a:ext cx="2563" cy="0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27" name="Line 33">
                <a:extLst>
                  <a:ext uri="{FF2B5EF4-FFF2-40B4-BE49-F238E27FC236}">
                    <a16:creationId xmlns:a16="http://schemas.microsoft.com/office/drawing/2014/main" id="{37814751-2D6B-6F91-1335-C2CFB6ED47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8" y="2244"/>
                <a:ext cx="2563" cy="0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28" name="Line 34">
                <a:extLst>
                  <a:ext uri="{FF2B5EF4-FFF2-40B4-BE49-F238E27FC236}">
                    <a16:creationId xmlns:a16="http://schemas.microsoft.com/office/drawing/2014/main" id="{4077F5AE-7858-CF33-0945-EDCFE35F19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8" y="2396"/>
                <a:ext cx="2563" cy="0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29" name="Line 35">
                <a:extLst>
                  <a:ext uri="{FF2B5EF4-FFF2-40B4-BE49-F238E27FC236}">
                    <a16:creationId xmlns:a16="http://schemas.microsoft.com/office/drawing/2014/main" id="{409C2F44-750D-C9D8-A25D-55F34F9A68E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8" y="2547"/>
                <a:ext cx="2563" cy="0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30" name="Line 36">
                <a:extLst>
                  <a:ext uri="{FF2B5EF4-FFF2-40B4-BE49-F238E27FC236}">
                    <a16:creationId xmlns:a16="http://schemas.microsoft.com/office/drawing/2014/main" id="{17F78CE1-3D46-5B02-BA27-854D31EA88C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8" y="2699"/>
                <a:ext cx="2563" cy="0"/>
              </a:xfrm>
              <a:prstGeom prst="line">
                <a:avLst/>
              </a:prstGeom>
              <a:noFill/>
              <a:ln w="12700">
                <a:solidFill>
                  <a:srgbClr val="E1E1E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31" name="Freeform 37">
                <a:extLst>
                  <a:ext uri="{FF2B5EF4-FFF2-40B4-BE49-F238E27FC236}">
                    <a16:creationId xmlns:a16="http://schemas.microsoft.com/office/drawing/2014/main" id="{8157453C-60B1-3A77-F1F8-F12D7C9BE3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" y="864"/>
                <a:ext cx="152" cy="540"/>
              </a:xfrm>
              <a:custGeom>
                <a:avLst/>
                <a:gdLst>
                  <a:gd name="T0" fmla="*/ 0 w 152"/>
                  <a:gd name="T1" fmla="*/ 540 h 540"/>
                  <a:gd name="T2" fmla="*/ 51 w 152"/>
                  <a:gd name="T3" fmla="*/ 164 h 540"/>
                  <a:gd name="T4" fmla="*/ 102 w 152"/>
                  <a:gd name="T5" fmla="*/ 25 h 540"/>
                  <a:gd name="T6" fmla="*/ 152 w 152"/>
                  <a:gd name="T7" fmla="*/ 0 h 540"/>
                  <a:gd name="T8" fmla="*/ 152 w 152"/>
                  <a:gd name="T9" fmla="*/ 6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540">
                    <a:moveTo>
                      <a:pt x="0" y="540"/>
                    </a:moveTo>
                    <a:lnTo>
                      <a:pt x="51" y="164"/>
                    </a:lnTo>
                    <a:lnTo>
                      <a:pt x="102" y="25"/>
                    </a:lnTo>
                    <a:lnTo>
                      <a:pt x="152" y="0"/>
                    </a:lnTo>
                    <a:lnTo>
                      <a:pt x="152" y="6"/>
                    </a:lnTo>
                  </a:path>
                </a:pathLst>
              </a:custGeom>
              <a:noFill/>
              <a:ln w="12700">
                <a:solidFill>
                  <a:srgbClr val="E31A1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32" name="Line 38">
                <a:extLst>
                  <a:ext uri="{FF2B5EF4-FFF2-40B4-BE49-F238E27FC236}">
                    <a16:creationId xmlns:a16="http://schemas.microsoft.com/office/drawing/2014/main" id="{E3426566-91C9-E343-B936-D6B15B287A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32" y="1216"/>
                <a:ext cx="87" cy="297"/>
              </a:xfrm>
              <a:prstGeom prst="line">
                <a:avLst/>
              </a:prstGeom>
              <a:noFill/>
              <a:ln w="12700">
                <a:solidFill>
                  <a:srgbClr val="008B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33" name="Freeform 39">
                <a:extLst>
                  <a:ext uri="{FF2B5EF4-FFF2-40B4-BE49-F238E27FC236}">
                    <a16:creationId xmlns:a16="http://schemas.microsoft.com/office/drawing/2014/main" id="{F9B0AE01-5184-96B8-B440-13EFD894A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" y="695"/>
                <a:ext cx="153" cy="792"/>
              </a:xfrm>
              <a:custGeom>
                <a:avLst/>
                <a:gdLst>
                  <a:gd name="T0" fmla="*/ 0 w 153"/>
                  <a:gd name="T1" fmla="*/ 792 h 792"/>
                  <a:gd name="T2" fmla="*/ 102 w 153"/>
                  <a:gd name="T3" fmla="*/ 0 h 792"/>
                  <a:gd name="T4" fmla="*/ 138 w 153"/>
                  <a:gd name="T5" fmla="*/ 126 h 792"/>
                  <a:gd name="T6" fmla="*/ 153 w 153"/>
                  <a:gd name="T7" fmla="*/ 143 h 7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3" h="792">
                    <a:moveTo>
                      <a:pt x="0" y="792"/>
                    </a:moveTo>
                    <a:lnTo>
                      <a:pt x="102" y="0"/>
                    </a:lnTo>
                    <a:lnTo>
                      <a:pt x="138" y="126"/>
                    </a:lnTo>
                    <a:lnTo>
                      <a:pt x="153" y="143"/>
                    </a:lnTo>
                  </a:path>
                </a:pathLst>
              </a:custGeom>
              <a:noFill/>
              <a:ln w="12700">
                <a:solidFill>
                  <a:srgbClr val="FFD7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34" name="Freeform 40">
                <a:extLst>
                  <a:ext uri="{FF2B5EF4-FFF2-40B4-BE49-F238E27FC236}">
                    <a16:creationId xmlns:a16="http://schemas.microsoft.com/office/drawing/2014/main" id="{66F00680-685F-3894-FADB-5249234FE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" y="864"/>
                <a:ext cx="455" cy="623"/>
              </a:xfrm>
              <a:custGeom>
                <a:avLst/>
                <a:gdLst>
                  <a:gd name="T0" fmla="*/ 0 w 455"/>
                  <a:gd name="T1" fmla="*/ 623 h 623"/>
                  <a:gd name="T2" fmla="*/ 51 w 455"/>
                  <a:gd name="T3" fmla="*/ 623 h 623"/>
                  <a:gd name="T4" fmla="*/ 102 w 455"/>
                  <a:gd name="T5" fmla="*/ 386 h 623"/>
                  <a:gd name="T6" fmla="*/ 153 w 455"/>
                  <a:gd name="T7" fmla="*/ 224 h 623"/>
                  <a:gd name="T8" fmla="*/ 203 w 455"/>
                  <a:gd name="T9" fmla="*/ 282 h 623"/>
                  <a:gd name="T10" fmla="*/ 254 w 455"/>
                  <a:gd name="T11" fmla="*/ 222 h 623"/>
                  <a:gd name="T12" fmla="*/ 303 w 455"/>
                  <a:gd name="T13" fmla="*/ 241 h 623"/>
                  <a:gd name="T14" fmla="*/ 354 w 455"/>
                  <a:gd name="T15" fmla="*/ 117 h 623"/>
                  <a:gd name="T16" fmla="*/ 405 w 455"/>
                  <a:gd name="T17" fmla="*/ 0 h 623"/>
                  <a:gd name="T18" fmla="*/ 440 w 455"/>
                  <a:gd name="T19" fmla="*/ 17 h 623"/>
                  <a:gd name="T20" fmla="*/ 455 w 455"/>
                  <a:gd name="T21" fmla="*/ 124 h 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5" h="623">
                    <a:moveTo>
                      <a:pt x="0" y="623"/>
                    </a:moveTo>
                    <a:lnTo>
                      <a:pt x="51" y="623"/>
                    </a:lnTo>
                    <a:lnTo>
                      <a:pt x="102" y="386"/>
                    </a:lnTo>
                    <a:lnTo>
                      <a:pt x="153" y="224"/>
                    </a:lnTo>
                    <a:lnTo>
                      <a:pt x="203" y="282"/>
                    </a:lnTo>
                    <a:lnTo>
                      <a:pt x="254" y="222"/>
                    </a:lnTo>
                    <a:lnTo>
                      <a:pt x="303" y="241"/>
                    </a:lnTo>
                    <a:lnTo>
                      <a:pt x="354" y="117"/>
                    </a:lnTo>
                    <a:lnTo>
                      <a:pt x="405" y="0"/>
                    </a:lnTo>
                    <a:lnTo>
                      <a:pt x="440" y="17"/>
                    </a:lnTo>
                    <a:lnTo>
                      <a:pt x="455" y="124"/>
                    </a:lnTo>
                  </a:path>
                </a:pathLst>
              </a:custGeom>
              <a:noFill/>
              <a:ln w="12700">
                <a:solidFill>
                  <a:srgbClr val="7EC0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35" name="Freeform 41">
                <a:extLst>
                  <a:ext uri="{FF2B5EF4-FFF2-40B4-BE49-F238E27FC236}">
                    <a16:creationId xmlns:a16="http://schemas.microsoft.com/office/drawing/2014/main" id="{D4D4AB30-AE8B-43E4-ACE2-A0C66E59B7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" y="577"/>
                <a:ext cx="153" cy="910"/>
              </a:xfrm>
              <a:custGeom>
                <a:avLst/>
                <a:gdLst>
                  <a:gd name="T0" fmla="*/ 0 w 153"/>
                  <a:gd name="T1" fmla="*/ 910 h 910"/>
                  <a:gd name="T2" fmla="*/ 102 w 153"/>
                  <a:gd name="T3" fmla="*/ 317 h 910"/>
                  <a:gd name="T4" fmla="*/ 138 w 153"/>
                  <a:gd name="T5" fmla="*/ 49 h 910"/>
                  <a:gd name="T6" fmla="*/ 153 w 153"/>
                  <a:gd name="T7" fmla="*/ 0 h 9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3" h="910">
                    <a:moveTo>
                      <a:pt x="0" y="910"/>
                    </a:moveTo>
                    <a:lnTo>
                      <a:pt x="102" y="317"/>
                    </a:lnTo>
                    <a:lnTo>
                      <a:pt x="138" y="49"/>
                    </a:lnTo>
                    <a:lnTo>
                      <a:pt x="153" y="0"/>
                    </a:lnTo>
                  </a:path>
                </a:pathLst>
              </a:custGeom>
              <a:noFill/>
              <a:ln w="12700">
                <a:solidFill>
                  <a:srgbClr val="FB9A99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36" name="Freeform 42">
                <a:extLst>
                  <a:ext uri="{FF2B5EF4-FFF2-40B4-BE49-F238E27FC236}">
                    <a16:creationId xmlns:a16="http://schemas.microsoft.com/office/drawing/2014/main" id="{5C45C01F-D2E3-6EE9-6D9D-71378B09C6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" y="857"/>
                <a:ext cx="165" cy="630"/>
              </a:xfrm>
              <a:custGeom>
                <a:avLst/>
                <a:gdLst>
                  <a:gd name="T0" fmla="*/ 0 w 165"/>
                  <a:gd name="T1" fmla="*/ 630 h 630"/>
                  <a:gd name="T2" fmla="*/ 94 w 165"/>
                  <a:gd name="T3" fmla="*/ 9 h 630"/>
                  <a:gd name="T4" fmla="*/ 165 w 165"/>
                  <a:gd name="T5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5" h="630">
                    <a:moveTo>
                      <a:pt x="0" y="630"/>
                    </a:moveTo>
                    <a:lnTo>
                      <a:pt x="94" y="9"/>
                    </a:lnTo>
                    <a:lnTo>
                      <a:pt x="165" y="0"/>
                    </a:lnTo>
                  </a:path>
                </a:pathLst>
              </a:custGeom>
              <a:noFill/>
              <a:ln w="12700">
                <a:solidFill>
                  <a:srgbClr val="CAB2D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37" name="Freeform 43">
                <a:extLst>
                  <a:ext uri="{FF2B5EF4-FFF2-40B4-BE49-F238E27FC236}">
                    <a16:creationId xmlns:a16="http://schemas.microsoft.com/office/drawing/2014/main" id="{260D254A-4716-7AC8-B03B-73E1667993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" y="682"/>
                <a:ext cx="117" cy="805"/>
              </a:xfrm>
              <a:custGeom>
                <a:avLst/>
                <a:gdLst>
                  <a:gd name="T0" fmla="*/ 0 w 117"/>
                  <a:gd name="T1" fmla="*/ 805 h 805"/>
                  <a:gd name="T2" fmla="*/ 102 w 117"/>
                  <a:gd name="T3" fmla="*/ 105 h 805"/>
                  <a:gd name="T4" fmla="*/ 109 w 117"/>
                  <a:gd name="T5" fmla="*/ 38 h 805"/>
                  <a:gd name="T6" fmla="*/ 117 w 117"/>
                  <a:gd name="T7" fmla="*/ 0 h 8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7" h="805">
                    <a:moveTo>
                      <a:pt x="0" y="805"/>
                    </a:moveTo>
                    <a:lnTo>
                      <a:pt x="102" y="105"/>
                    </a:lnTo>
                    <a:lnTo>
                      <a:pt x="109" y="38"/>
                    </a:lnTo>
                    <a:lnTo>
                      <a:pt x="117" y="0"/>
                    </a:lnTo>
                  </a:path>
                </a:pathLst>
              </a:custGeom>
              <a:noFill/>
              <a:ln w="12700">
                <a:solidFill>
                  <a:srgbClr val="B3B3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38" name="Freeform 44">
                <a:extLst>
                  <a:ext uri="{FF2B5EF4-FFF2-40B4-BE49-F238E27FC236}">
                    <a16:creationId xmlns:a16="http://schemas.microsoft.com/office/drawing/2014/main" id="{F45C22B4-D3FC-DD60-FCE8-09780F2EC1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" y="951"/>
                <a:ext cx="463" cy="536"/>
              </a:xfrm>
              <a:custGeom>
                <a:avLst/>
                <a:gdLst>
                  <a:gd name="T0" fmla="*/ 0 w 463"/>
                  <a:gd name="T1" fmla="*/ 536 h 536"/>
                  <a:gd name="T2" fmla="*/ 102 w 463"/>
                  <a:gd name="T3" fmla="*/ 15 h 536"/>
                  <a:gd name="T4" fmla="*/ 153 w 463"/>
                  <a:gd name="T5" fmla="*/ 2 h 536"/>
                  <a:gd name="T6" fmla="*/ 203 w 463"/>
                  <a:gd name="T7" fmla="*/ 43 h 536"/>
                  <a:gd name="T8" fmla="*/ 254 w 463"/>
                  <a:gd name="T9" fmla="*/ 0 h 536"/>
                  <a:gd name="T10" fmla="*/ 303 w 463"/>
                  <a:gd name="T11" fmla="*/ 9 h 536"/>
                  <a:gd name="T12" fmla="*/ 354 w 463"/>
                  <a:gd name="T13" fmla="*/ 30 h 536"/>
                  <a:gd name="T14" fmla="*/ 405 w 463"/>
                  <a:gd name="T15" fmla="*/ 26 h 536"/>
                  <a:gd name="T16" fmla="*/ 463 w 463"/>
                  <a:gd name="T17" fmla="*/ 41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3" h="536">
                    <a:moveTo>
                      <a:pt x="0" y="536"/>
                    </a:moveTo>
                    <a:lnTo>
                      <a:pt x="102" y="15"/>
                    </a:lnTo>
                    <a:lnTo>
                      <a:pt x="153" y="2"/>
                    </a:lnTo>
                    <a:lnTo>
                      <a:pt x="203" y="43"/>
                    </a:lnTo>
                    <a:lnTo>
                      <a:pt x="254" y="0"/>
                    </a:lnTo>
                    <a:lnTo>
                      <a:pt x="303" y="9"/>
                    </a:lnTo>
                    <a:lnTo>
                      <a:pt x="354" y="30"/>
                    </a:lnTo>
                    <a:lnTo>
                      <a:pt x="405" y="26"/>
                    </a:lnTo>
                    <a:lnTo>
                      <a:pt x="463" y="41"/>
                    </a:lnTo>
                  </a:path>
                </a:pathLst>
              </a:custGeom>
              <a:noFill/>
              <a:ln w="12700">
                <a:solidFill>
                  <a:srgbClr val="B0306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39" name="Freeform 45">
                <a:extLst>
                  <a:ext uri="{FF2B5EF4-FFF2-40B4-BE49-F238E27FC236}">
                    <a16:creationId xmlns:a16="http://schemas.microsoft.com/office/drawing/2014/main" id="{4F659ADC-CC0E-571E-7B59-3B7CB33128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" y="1034"/>
                <a:ext cx="514" cy="453"/>
              </a:xfrm>
              <a:custGeom>
                <a:avLst/>
                <a:gdLst>
                  <a:gd name="T0" fmla="*/ 0 w 514"/>
                  <a:gd name="T1" fmla="*/ 453 h 453"/>
                  <a:gd name="T2" fmla="*/ 102 w 514"/>
                  <a:gd name="T3" fmla="*/ 310 h 453"/>
                  <a:gd name="T4" fmla="*/ 153 w 514"/>
                  <a:gd name="T5" fmla="*/ 79 h 453"/>
                  <a:gd name="T6" fmla="*/ 203 w 514"/>
                  <a:gd name="T7" fmla="*/ 0 h 453"/>
                  <a:gd name="T8" fmla="*/ 254 w 514"/>
                  <a:gd name="T9" fmla="*/ 58 h 453"/>
                  <a:gd name="T10" fmla="*/ 303 w 514"/>
                  <a:gd name="T11" fmla="*/ 58 h 453"/>
                  <a:gd name="T12" fmla="*/ 354 w 514"/>
                  <a:gd name="T13" fmla="*/ 47 h 453"/>
                  <a:gd name="T14" fmla="*/ 405 w 514"/>
                  <a:gd name="T15" fmla="*/ 92 h 453"/>
                  <a:gd name="T16" fmla="*/ 455 w 514"/>
                  <a:gd name="T17" fmla="*/ 99 h 453"/>
                  <a:gd name="T18" fmla="*/ 506 w 514"/>
                  <a:gd name="T19" fmla="*/ 169 h 453"/>
                  <a:gd name="T20" fmla="*/ 514 w 514"/>
                  <a:gd name="T21" fmla="*/ 184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4" h="453">
                    <a:moveTo>
                      <a:pt x="0" y="453"/>
                    </a:moveTo>
                    <a:lnTo>
                      <a:pt x="102" y="310"/>
                    </a:lnTo>
                    <a:lnTo>
                      <a:pt x="153" y="79"/>
                    </a:lnTo>
                    <a:lnTo>
                      <a:pt x="203" y="0"/>
                    </a:lnTo>
                    <a:lnTo>
                      <a:pt x="254" y="58"/>
                    </a:lnTo>
                    <a:lnTo>
                      <a:pt x="303" y="58"/>
                    </a:lnTo>
                    <a:lnTo>
                      <a:pt x="354" y="47"/>
                    </a:lnTo>
                    <a:lnTo>
                      <a:pt x="405" y="92"/>
                    </a:lnTo>
                    <a:lnTo>
                      <a:pt x="455" y="99"/>
                    </a:lnTo>
                    <a:lnTo>
                      <a:pt x="506" y="169"/>
                    </a:lnTo>
                    <a:lnTo>
                      <a:pt x="514" y="184"/>
                    </a:lnTo>
                  </a:path>
                </a:pathLst>
              </a:custGeom>
              <a:noFill/>
              <a:ln w="12700">
                <a:solidFill>
                  <a:srgbClr val="FF83F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40" name="Freeform 46">
                <a:extLst>
                  <a:ext uri="{FF2B5EF4-FFF2-40B4-BE49-F238E27FC236}">
                    <a16:creationId xmlns:a16="http://schemas.microsoft.com/office/drawing/2014/main" id="{90E4F242-54CA-ADDB-E75A-18304E4E6D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" y="958"/>
                <a:ext cx="1119" cy="529"/>
              </a:xfrm>
              <a:custGeom>
                <a:avLst/>
                <a:gdLst>
                  <a:gd name="T0" fmla="*/ 0 w 1119"/>
                  <a:gd name="T1" fmla="*/ 529 h 529"/>
                  <a:gd name="T2" fmla="*/ 102 w 1119"/>
                  <a:gd name="T3" fmla="*/ 363 h 529"/>
                  <a:gd name="T4" fmla="*/ 153 w 1119"/>
                  <a:gd name="T5" fmla="*/ 279 h 529"/>
                  <a:gd name="T6" fmla="*/ 203 w 1119"/>
                  <a:gd name="T7" fmla="*/ 166 h 529"/>
                  <a:gd name="T8" fmla="*/ 254 w 1119"/>
                  <a:gd name="T9" fmla="*/ 185 h 529"/>
                  <a:gd name="T10" fmla="*/ 303 w 1119"/>
                  <a:gd name="T11" fmla="*/ 0 h 529"/>
                  <a:gd name="T12" fmla="*/ 354 w 1119"/>
                  <a:gd name="T13" fmla="*/ 76 h 529"/>
                  <a:gd name="T14" fmla="*/ 405 w 1119"/>
                  <a:gd name="T15" fmla="*/ 74 h 529"/>
                  <a:gd name="T16" fmla="*/ 455 w 1119"/>
                  <a:gd name="T17" fmla="*/ 10 h 529"/>
                  <a:gd name="T18" fmla="*/ 557 w 1119"/>
                  <a:gd name="T19" fmla="*/ 55 h 529"/>
                  <a:gd name="T20" fmla="*/ 657 w 1119"/>
                  <a:gd name="T21" fmla="*/ 49 h 529"/>
                  <a:gd name="T22" fmla="*/ 766 w 1119"/>
                  <a:gd name="T23" fmla="*/ 96 h 529"/>
                  <a:gd name="T24" fmla="*/ 860 w 1119"/>
                  <a:gd name="T25" fmla="*/ 76 h 529"/>
                  <a:gd name="T26" fmla="*/ 954 w 1119"/>
                  <a:gd name="T27" fmla="*/ 30 h 529"/>
                  <a:gd name="T28" fmla="*/ 1061 w 1119"/>
                  <a:gd name="T29" fmla="*/ 19 h 529"/>
                  <a:gd name="T30" fmla="*/ 1119 w 1119"/>
                  <a:gd name="T31" fmla="*/ 14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19" h="529">
                    <a:moveTo>
                      <a:pt x="0" y="529"/>
                    </a:moveTo>
                    <a:lnTo>
                      <a:pt x="102" y="363"/>
                    </a:lnTo>
                    <a:lnTo>
                      <a:pt x="153" y="279"/>
                    </a:lnTo>
                    <a:lnTo>
                      <a:pt x="203" y="166"/>
                    </a:lnTo>
                    <a:lnTo>
                      <a:pt x="254" y="185"/>
                    </a:lnTo>
                    <a:lnTo>
                      <a:pt x="303" y="0"/>
                    </a:lnTo>
                    <a:lnTo>
                      <a:pt x="354" y="76"/>
                    </a:lnTo>
                    <a:lnTo>
                      <a:pt x="405" y="74"/>
                    </a:lnTo>
                    <a:lnTo>
                      <a:pt x="455" y="10"/>
                    </a:lnTo>
                    <a:lnTo>
                      <a:pt x="557" y="55"/>
                    </a:lnTo>
                    <a:lnTo>
                      <a:pt x="657" y="49"/>
                    </a:lnTo>
                    <a:lnTo>
                      <a:pt x="766" y="96"/>
                    </a:lnTo>
                    <a:lnTo>
                      <a:pt x="860" y="76"/>
                    </a:lnTo>
                    <a:lnTo>
                      <a:pt x="954" y="30"/>
                    </a:lnTo>
                    <a:lnTo>
                      <a:pt x="1061" y="19"/>
                    </a:lnTo>
                    <a:lnTo>
                      <a:pt x="1119" y="14"/>
                    </a:lnTo>
                  </a:path>
                </a:pathLst>
              </a:custGeom>
              <a:noFill/>
              <a:ln w="12700">
                <a:solidFill>
                  <a:srgbClr val="FF14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41" name="Freeform 47">
                <a:extLst>
                  <a:ext uri="{FF2B5EF4-FFF2-40B4-BE49-F238E27FC236}">
                    <a16:creationId xmlns:a16="http://schemas.microsoft.com/office/drawing/2014/main" id="{8D79EF11-8C3A-DAAB-87C8-2E58903AD8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" y="806"/>
                <a:ext cx="160" cy="681"/>
              </a:xfrm>
              <a:custGeom>
                <a:avLst/>
                <a:gdLst>
                  <a:gd name="T0" fmla="*/ 0 w 160"/>
                  <a:gd name="T1" fmla="*/ 681 h 681"/>
                  <a:gd name="T2" fmla="*/ 102 w 160"/>
                  <a:gd name="T3" fmla="*/ 0 h 681"/>
                  <a:gd name="T4" fmla="*/ 160 w 160"/>
                  <a:gd name="T5" fmla="*/ 68 h 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0" h="681">
                    <a:moveTo>
                      <a:pt x="0" y="681"/>
                    </a:moveTo>
                    <a:lnTo>
                      <a:pt x="102" y="0"/>
                    </a:lnTo>
                    <a:lnTo>
                      <a:pt x="160" y="68"/>
                    </a:lnTo>
                  </a:path>
                </a:pathLst>
              </a:custGeom>
              <a:noFill/>
              <a:ln w="12700">
                <a:solidFill>
                  <a:srgbClr val="0000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42" name="Freeform 48">
                <a:extLst>
                  <a:ext uri="{FF2B5EF4-FFF2-40B4-BE49-F238E27FC236}">
                    <a16:creationId xmlns:a16="http://schemas.microsoft.com/office/drawing/2014/main" id="{81D0FB9D-B2D9-1547-6A5D-89BF3DB633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" y="930"/>
                <a:ext cx="606" cy="557"/>
              </a:xfrm>
              <a:custGeom>
                <a:avLst/>
                <a:gdLst>
                  <a:gd name="T0" fmla="*/ 0 w 606"/>
                  <a:gd name="T1" fmla="*/ 557 h 557"/>
                  <a:gd name="T2" fmla="*/ 102 w 606"/>
                  <a:gd name="T3" fmla="*/ 166 h 557"/>
                  <a:gd name="T4" fmla="*/ 153 w 606"/>
                  <a:gd name="T5" fmla="*/ 0 h 557"/>
                  <a:gd name="T6" fmla="*/ 203 w 606"/>
                  <a:gd name="T7" fmla="*/ 254 h 557"/>
                  <a:gd name="T8" fmla="*/ 254 w 606"/>
                  <a:gd name="T9" fmla="*/ 241 h 557"/>
                  <a:gd name="T10" fmla="*/ 303 w 606"/>
                  <a:gd name="T11" fmla="*/ 241 h 557"/>
                  <a:gd name="T12" fmla="*/ 354 w 606"/>
                  <a:gd name="T13" fmla="*/ 215 h 557"/>
                  <a:gd name="T14" fmla="*/ 455 w 606"/>
                  <a:gd name="T15" fmla="*/ 199 h 557"/>
                  <a:gd name="T16" fmla="*/ 550 w 606"/>
                  <a:gd name="T17" fmla="*/ 168 h 557"/>
                  <a:gd name="T18" fmla="*/ 606 w 606"/>
                  <a:gd name="T19" fmla="*/ 147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6" h="557">
                    <a:moveTo>
                      <a:pt x="0" y="557"/>
                    </a:moveTo>
                    <a:lnTo>
                      <a:pt x="102" y="166"/>
                    </a:lnTo>
                    <a:lnTo>
                      <a:pt x="153" y="0"/>
                    </a:lnTo>
                    <a:lnTo>
                      <a:pt x="203" y="254"/>
                    </a:lnTo>
                    <a:lnTo>
                      <a:pt x="254" y="241"/>
                    </a:lnTo>
                    <a:lnTo>
                      <a:pt x="303" y="241"/>
                    </a:lnTo>
                    <a:lnTo>
                      <a:pt x="354" y="215"/>
                    </a:lnTo>
                    <a:lnTo>
                      <a:pt x="455" y="199"/>
                    </a:lnTo>
                    <a:lnTo>
                      <a:pt x="550" y="168"/>
                    </a:lnTo>
                    <a:lnTo>
                      <a:pt x="606" y="147"/>
                    </a:lnTo>
                  </a:path>
                </a:pathLst>
              </a:custGeom>
              <a:noFill/>
              <a:ln w="12700">
                <a:solidFill>
                  <a:srgbClr val="36648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43" name="Freeform 49">
                <a:extLst>
                  <a:ext uri="{FF2B5EF4-FFF2-40B4-BE49-F238E27FC236}">
                    <a16:creationId xmlns:a16="http://schemas.microsoft.com/office/drawing/2014/main" id="{02568D4A-285C-7633-CEBB-1D0C1BB577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" y="1393"/>
                <a:ext cx="22" cy="24"/>
              </a:xfrm>
              <a:custGeom>
                <a:avLst/>
                <a:gdLst>
                  <a:gd name="T0" fmla="*/ 22 w 22"/>
                  <a:gd name="T1" fmla="*/ 11 h 24"/>
                  <a:gd name="T2" fmla="*/ 22 w 22"/>
                  <a:gd name="T3" fmla="*/ 11 h 24"/>
                  <a:gd name="T4" fmla="*/ 22 w 22"/>
                  <a:gd name="T5" fmla="*/ 17 h 24"/>
                  <a:gd name="T6" fmla="*/ 21 w 22"/>
                  <a:gd name="T7" fmla="*/ 20 h 24"/>
                  <a:gd name="T8" fmla="*/ 17 w 22"/>
                  <a:gd name="T9" fmla="*/ 22 h 24"/>
                  <a:gd name="T10" fmla="*/ 11 w 22"/>
                  <a:gd name="T11" fmla="*/ 24 h 24"/>
                  <a:gd name="T12" fmla="*/ 7 w 22"/>
                  <a:gd name="T13" fmla="*/ 22 h 24"/>
                  <a:gd name="T14" fmla="*/ 4 w 22"/>
                  <a:gd name="T15" fmla="*/ 20 h 24"/>
                  <a:gd name="T16" fmla="*/ 2 w 22"/>
                  <a:gd name="T17" fmla="*/ 17 h 24"/>
                  <a:gd name="T18" fmla="*/ 0 w 22"/>
                  <a:gd name="T19" fmla="*/ 11 h 24"/>
                  <a:gd name="T20" fmla="*/ 0 w 22"/>
                  <a:gd name="T21" fmla="*/ 11 h 24"/>
                  <a:gd name="T22" fmla="*/ 2 w 22"/>
                  <a:gd name="T23" fmla="*/ 7 h 24"/>
                  <a:gd name="T24" fmla="*/ 4 w 22"/>
                  <a:gd name="T25" fmla="*/ 3 h 24"/>
                  <a:gd name="T26" fmla="*/ 7 w 22"/>
                  <a:gd name="T27" fmla="*/ 0 h 24"/>
                  <a:gd name="T28" fmla="*/ 11 w 22"/>
                  <a:gd name="T29" fmla="*/ 0 h 24"/>
                  <a:gd name="T30" fmla="*/ 17 w 22"/>
                  <a:gd name="T31" fmla="*/ 0 h 24"/>
                  <a:gd name="T32" fmla="*/ 21 w 22"/>
                  <a:gd name="T33" fmla="*/ 3 h 24"/>
                  <a:gd name="T34" fmla="*/ 22 w 22"/>
                  <a:gd name="T35" fmla="*/ 7 h 24"/>
                  <a:gd name="T36" fmla="*/ 22 w 22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4" y="20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4" y="3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3"/>
                    </a:lnTo>
                    <a:lnTo>
                      <a:pt x="22" y="7"/>
                    </a:lnTo>
                    <a:lnTo>
                      <a:pt x="22" y="11"/>
                    </a:lnTo>
                    <a:close/>
                  </a:path>
                </a:pathLst>
              </a:custGeom>
              <a:solidFill>
                <a:srgbClr val="E31A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44" name="Freeform 50">
                <a:extLst>
                  <a:ext uri="{FF2B5EF4-FFF2-40B4-BE49-F238E27FC236}">
                    <a16:creationId xmlns:a16="http://schemas.microsoft.com/office/drawing/2014/main" id="{0F8EF98A-678E-EBF1-440E-35E62807D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" y="1393"/>
                <a:ext cx="22" cy="24"/>
              </a:xfrm>
              <a:custGeom>
                <a:avLst/>
                <a:gdLst>
                  <a:gd name="T0" fmla="*/ 22 w 22"/>
                  <a:gd name="T1" fmla="*/ 11 h 24"/>
                  <a:gd name="T2" fmla="*/ 22 w 22"/>
                  <a:gd name="T3" fmla="*/ 11 h 24"/>
                  <a:gd name="T4" fmla="*/ 22 w 22"/>
                  <a:gd name="T5" fmla="*/ 17 h 24"/>
                  <a:gd name="T6" fmla="*/ 21 w 22"/>
                  <a:gd name="T7" fmla="*/ 20 h 24"/>
                  <a:gd name="T8" fmla="*/ 17 w 22"/>
                  <a:gd name="T9" fmla="*/ 22 h 24"/>
                  <a:gd name="T10" fmla="*/ 11 w 22"/>
                  <a:gd name="T11" fmla="*/ 24 h 24"/>
                  <a:gd name="T12" fmla="*/ 7 w 22"/>
                  <a:gd name="T13" fmla="*/ 22 h 24"/>
                  <a:gd name="T14" fmla="*/ 4 w 22"/>
                  <a:gd name="T15" fmla="*/ 20 h 24"/>
                  <a:gd name="T16" fmla="*/ 2 w 22"/>
                  <a:gd name="T17" fmla="*/ 17 h 24"/>
                  <a:gd name="T18" fmla="*/ 0 w 22"/>
                  <a:gd name="T19" fmla="*/ 11 h 24"/>
                  <a:gd name="T20" fmla="*/ 0 w 22"/>
                  <a:gd name="T21" fmla="*/ 11 h 24"/>
                  <a:gd name="T22" fmla="*/ 2 w 22"/>
                  <a:gd name="T23" fmla="*/ 7 h 24"/>
                  <a:gd name="T24" fmla="*/ 4 w 22"/>
                  <a:gd name="T25" fmla="*/ 3 h 24"/>
                  <a:gd name="T26" fmla="*/ 7 w 22"/>
                  <a:gd name="T27" fmla="*/ 0 h 24"/>
                  <a:gd name="T28" fmla="*/ 11 w 22"/>
                  <a:gd name="T29" fmla="*/ 0 h 24"/>
                  <a:gd name="T30" fmla="*/ 17 w 22"/>
                  <a:gd name="T31" fmla="*/ 0 h 24"/>
                  <a:gd name="T32" fmla="*/ 21 w 22"/>
                  <a:gd name="T33" fmla="*/ 3 h 24"/>
                  <a:gd name="T34" fmla="*/ 22 w 22"/>
                  <a:gd name="T35" fmla="*/ 7 h 24"/>
                  <a:gd name="T36" fmla="*/ 22 w 22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4" y="20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4" y="3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3"/>
                    </a:lnTo>
                    <a:lnTo>
                      <a:pt x="22" y="7"/>
                    </a:lnTo>
                    <a:lnTo>
                      <a:pt x="22" y="11"/>
                    </a:lnTo>
                  </a:path>
                </a:pathLst>
              </a:custGeom>
              <a:noFill/>
              <a:ln w="9525">
                <a:solidFill>
                  <a:srgbClr val="E31A1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45" name="Freeform 51">
                <a:extLst>
                  <a:ext uri="{FF2B5EF4-FFF2-40B4-BE49-F238E27FC236}">
                    <a16:creationId xmlns:a16="http://schemas.microsoft.com/office/drawing/2014/main" id="{DC17D219-83C5-EA78-BE7D-2379FD6DF8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1017"/>
                <a:ext cx="22" cy="24"/>
              </a:xfrm>
              <a:custGeom>
                <a:avLst/>
                <a:gdLst>
                  <a:gd name="T0" fmla="*/ 22 w 22"/>
                  <a:gd name="T1" fmla="*/ 11 h 24"/>
                  <a:gd name="T2" fmla="*/ 22 w 22"/>
                  <a:gd name="T3" fmla="*/ 11 h 24"/>
                  <a:gd name="T4" fmla="*/ 22 w 22"/>
                  <a:gd name="T5" fmla="*/ 17 h 24"/>
                  <a:gd name="T6" fmla="*/ 18 w 22"/>
                  <a:gd name="T7" fmla="*/ 20 h 24"/>
                  <a:gd name="T8" fmla="*/ 15 w 22"/>
                  <a:gd name="T9" fmla="*/ 22 h 24"/>
                  <a:gd name="T10" fmla="*/ 11 w 22"/>
                  <a:gd name="T11" fmla="*/ 24 h 24"/>
                  <a:gd name="T12" fmla="*/ 7 w 22"/>
                  <a:gd name="T13" fmla="*/ 22 h 24"/>
                  <a:gd name="T14" fmla="*/ 3 w 22"/>
                  <a:gd name="T15" fmla="*/ 20 h 24"/>
                  <a:gd name="T16" fmla="*/ 0 w 22"/>
                  <a:gd name="T17" fmla="*/ 17 h 24"/>
                  <a:gd name="T18" fmla="*/ 0 w 22"/>
                  <a:gd name="T19" fmla="*/ 11 h 24"/>
                  <a:gd name="T20" fmla="*/ 0 w 22"/>
                  <a:gd name="T21" fmla="*/ 11 h 24"/>
                  <a:gd name="T22" fmla="*/ 0 w 22"/>
                  <a:gd name="T23" fmla="*/ 7 h 24"/>
                  <a:gd name="T24" fmla="*/ 3 w 22"/>
                  <a:gd name="T25" fmla="*/ 3 h 24"/>
                  <a:gd name="T26" fmla="*/ 7 w 22"/>
                  <a:gd name="T27" fmla="*/ 2 h 24"/>
                  <a:gd name="T28" fmla="*/ 11 w 22"/>
                  <a:gd name="T29" fmla="*/ 0 h 24"/>
                  <a:gd name="T30" fmla="*/ 15 w 22"/>
                  <a:gd name="T31" fmla="*/ 2 h 24"/>
                  <a:gd name="T32" fmla="*/ 18 w 22"/>
                  <a:gd name="T33" fmla="*/ 3 h 24"/>
                  <a:gd name="T34" fmla="*/ 22 w 22"/>
                  <a:gd name="T35" fmla="*/ 7 h 24"/>
                  <a:gd name="T36" fmla="*/ 22 w 22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8" y="3"/>
                    </a:lnTo>
                    <a:lnTo>
                      <a:pt x="22" y="7"/>
                    </a:lnTo>
                    <a:lnTo>
                      <a:pt x="22" y="11"/>
                    </a:lnTo>
                    <a:close/>
                  </a:path>
                </a:pathLst>
              </a:custGeom>
              <a:solidFill>
                <a:srgbClr val="E31A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46" name="Freeform 52">
                <a:extLst>
                  <a:ext uri="{FF2B5EF4-FFF2-40B4-BE49-F238E27FC236}">
                    <a16:creationId xmlns:a16="http://schemas.microsoft.com/office/drawing/2014/main" id="{C47B8871-270D-0DCE-A0FE-7118C0A6E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1017"/>
                <a:ext cx="22" cy="24"/>
              </a:xfrm>
              <a:custGeom>
                <a:avLst/>
                <a:gdLst>
                  <a:gd name="T0" fmla="*/ 22 w 22"/>
                  <a:gd name="T1" fmla="*/ 11 h 24"/>
                  <a:gd name="T2" fmla="*/ 22 w 22"/>
                  <a:gd name="T3" fmla="*/ 11 h 24"/>
                  <a:gd name="T4" fmla="*/ 22 w 22"/>
                  <a:gd name="T5" fmla="*/ 17 h 24"/>
                  <a:gd name="T6" fmla="*/ 18 w 22"/>
                  <a:gd name="T7" fmla="*/ 20 h 24"/>
                  <a:gd name="T8" fmla="*/ 15 w 22"/>
                  <a:gd name="T9" fmla="*/ 22 h 24"/>
                  <a:gd name="T10" fmla="*/ 11 w 22"/>
                  <a:gd name="T11" fmla="*/ 24 h 24"/>
                  <a:gd name="T12" fmla="*/ 7 w 22"/>
                  <a:gd name="T13" fmla="*/ 22 h 24"/>
                  <a:gd name="T14" fmla="*/ 3 w 22"/>
                  <a:gd name="T15" fmla="*/ 20 h 24"/>
                  <a:gd name="T16" fmla="*/ 0 w 22"/>
                  <a:gd name="T17" fmla="*/ 17 h 24"/>
                  <a:gd name="T18" fmla="*/ 0 w 22"/>
                  <a:gd name="T19" fmla="*/ 11 h 24"/>
                  <a:gd name="T20" fmla="*/ 0 w 22"/>
                  <a:gd name="T21" fmla="*/ 11 h 24"/>
                  <a:gd name="T22" fmla="*/ 0 w 22"/>
                  <a:gd name="T23" fmla="*/ 7 h 24"/>
                  <a:gd name="T24" fmla="*/ 3 w 22"/>
                  <a:gd name="T25" fmla="*/ 3 h 24"/>
                  <a:gd name="T26" fmla="*/ 7 w 22"/>
                  <a:gd name="T27" fmla="*/ 2 h 24"/>
                  <a:gd name="T28" fmla="*/ 11 w 22"/>
                  <a:gd name="T29" fmla="*/ 0 h 24"/>
                  <a:gd name="T30" fmla="*/ 15 w 22"/>
                  <a:gd name="T31" fmla="*/ 2 h 24"/>
                  <a:gd name="T32" fmla="*/ 18 w 22"/>
                  <a:gd name="T33" fmla="*/ 3 h 24"/>
                  <a:gd name="T34" fmla="*/ 22 w 22"/>
                  <a:gd name="T35" fmla="*/ 7 h 24"/>
                  <a:gd name="T36" fmla="*/ 22 w 22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8" y="3"/>
                    </a:lnTo>
                    <a:lnTo>
                      <a:pt x="22" y="7"/>
                    </a:lnTo>
                    <a:lnTo>
                      <a:pt x="22" y="11"/>
                    </a:lnTo>
                  </a:path>
                </a:pathLst>
              </a:custGeom>
              <a:noFill/>
              <a:ln w="9525">
                <a:solidFill>
                  <a:srgbClr val="E31A1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47" name="Freeform 53">
                <a:extLst>
                  <a:ext uri="{FF2B5EF4-FFF2-40B4-BE49-F238E27FC236}">
                    <a16:creationId xmlns:a16="http://schemas.microsoft.com/office/drawing/2014/main" id="{E4DF9F30-002F-8EEC-A413-CA9AAB4AD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878"/>
                <a:ext cx="23" cy="22"/>
              </a:xfrm>
              <a:custGeom>
                <a:avLst/>
                <a:gdLst>
                  <a:gd name="T0" fmla="*/ 23 w 23"/>
                  <a:gd name="T1" fmla="*/ 11 h 22"/>
                  <a:gd name="T2" fmla="*/ 23 w 23"/>
                  <a:gd name="T3" fmla="*/ 11 h 22"/>
                  <a:gd name="T4" fmla="*/ 23 w 23"/>
                  <a:gd name="T5" fmla="*/ 16 h 22"/>
                  <a:gd name="T6" fmla="*/ 19 w 23"/>
                  <a:gd name="T7" fmla="*/ 20 h 22"/>
                  <a:gd name="T8" fmla="*/ 15 w 23"/>
                  <a:gd name="T9" fmla="*/ 22 h 22"/>
                  <a:gd name="T10" fmla="*/ 12 w 23"/>
                  <a:gd name="T11" fmla="*/ 22 h 22"/>
                  <a:gd name="T12" fmla="*/ 8 w 23"/>
                  <a:gd name="T13" fmla="*/ 22 h 22"/>
                  <a:gd name="T14" fmla="*/ 4 w 23"/>
                  <a:gd name="T15" fmla="*/ 20 h 22"/>
                  <a:gd name="T16" fmla="*/ 0 w 23"/>
                  <a:gd name="T17" fmla="*/ 16 h 22"/>
                  <a:gd name="T18" fmla="*/ 0 w 23"/>
                  <a:gd name="T19" fmla="*/ 11 h 22"/>
                  <a:gd name="T20" fmla="*/ 0 w 23"/>
                  <a:gd name="T21" fmla="*/ 11 h 22"/>
                  <a:gd name="T22" fmla="*/ 0 w 23"/>
                  <a:gd name="T23" fmla="*/ 5 h 22"/>
                  <a:gd name="T24" fmla="*/ 4 w 23"/>
                  <a:gd name="T25" fmla="*/ 1 h 22"/>
                  <a:gd name="T26" fmla="*/ 8 w 23"/>
                  <a:gd name="T27" fmla="*/ 0 h 22"/>
                  <a:gd name="T28" fmla="*/ 12 w 23"/>
                  <a:gd name="T29" fmla="*/ 0 h 22"/>
                  <a:gd name="T30" fmla="*/ 15 w 23"/>
                  <a:gd name="T31" fmla="*/ 0 h 22"/>
                  <a:gd name="T32" fmla="*/ 19 w 23"/>
                  <a:gd name="T33" fmla="*/ 1 h 22"/>
                  <a:gd name="T34" fmla="*/ 23 w 23"/>
                  <a:gd name="T35" fmla="*/ 5 h 22"/>
                  <a:gd name="T36" fmla="*/ 23 w 23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2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6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4" y="1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1"/>
                    </a:lnTo>
                    <a:lnTo>
                      <a:pt x="23" y="5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E31A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48" name="Freeform 54">
                <a:extLst>
                  <a:ext uri="{FF2B5EF4-FFF2-40B4-BE49-F238E27FC236}">
                    <a16:creationId xmlns:a16="http://schemas.microsoft.com/office/drawing/2014/main" id="{6A99821A-D769-B5DB-F7E9-5334B71710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878"/>
                <a:ext cx="23" cy="22"/>
              </a:xfrm>
              <a:custGeom>
                <a:avLst/>
                <a:gdLst>
                  <a:gd name="T0" fmla="*/ 23 w 23"/>
                  <a:gd name="T1" fmla="*/ 11 h 22"/>
                  <a:gd name="T2" fmla="*/ 23 w 23"/>
                  <a:gd name="T3" fmla="*/ 11 h 22"/>
                  <a:gd name="T4" fmla="*/ 23 w 23"/>
                  <a:gd name="T5" fmla="*/ 16 h 22"/>
                  <a:gd name="T6" fmla="*/ 19 w 23"/>
                  <a:gd name="T7" fmla="*/ 20 h 22"/>
                  <a:gd name="T8" fmla="*/ 15 w 23"/>
                  <a:gd name="T9" fmla="*/ 22 h 22"/>
                  <a:gd name="T10" fmla="*/ 12 w 23"/>
                  <a:gd name="T11" fmla="*/ 22 h 22"/>
                  <a:gd name="T12" fmla="*/ 8 w 23"/>
                  <a:gd name="T13" fmla="*/ 22 h 22"/>
                  <a:gd name="T14" fmla="*/ 4 w 23"/>
                  <a:gd name="T15" fmla="*/ 20 h 22"/>
                  <a:gd name="T16" fmla="*/ 0 w 23"/>
                  <a:gd name="T17" fmla="*/ 16 h 22"/>
                  <a:gd name="T18" fmla="*/ 0 w 23"/>
                  <a:gd name="T19" fmla="*/ 11 h 22"/>
                  <a:gd name="T20" fmla="*/ 0 w 23"/>
                  <a:gd name="T21" fmla="*/ 11 h 22"/>
                  <a:gd name="T22" fmla="*/ 0 w 23"/>
                  <a:gd name="T23" fmla="*/ 5 h 22"/>
                  <a:gd name="T24" fmla="*/ 4 w 23"/>
                  <a:gd name="T25" fmla="*/ 1 h 22"/>
                  <a:gd name="T26" fmla="*/ 8 w 23"/>
                  <a:gd name="T27" fmla="*/ 0 h 22"/>
                  <a:gd name="T28" fmla="*/ 12 w 23"/>
                  <a:gd name="T29" fmla="*/ 0 h 22"/>
                  <a:gd name="T30" fmla="*/ 15 w 23"/>
                  <a:gd name="T31" fmla="*/ 0 h 22"/>
                  <a:gd name="T32" fmla="*/ 19 w 23"/>
                  <a:gd name="T33" fmla="*/ 1 h 22"/>
                  <a:gd name="T34" fmla="*/ 23 w 23"/>
                  <a:gd name="T35" fmla="*/ 5 h 22"/>
                  <a:gd name="T36" fmla="*/ 23 w 23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2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6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4" y="1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1"/>
                    </a:lnTo>
                    <a:lnTo>
                      <a:pt x="23" y="5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E31A1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49" name="Freeform 55">
                <a:extLst>
                  <a:ext uri="{FF2B5EF4-FFF2-40B4-BE49-F238E27FC236}">
                    <a16:creationId xmlns:a16="http://schemas.microsoft.com/office/drawing/2014/main" id="{9175EF2E-5A10-0DB9-EC29-8D24D9AB17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853"/>
                <a:ext cx="23" cy="23"/>
              </a:xfrm>
              <a:custGeom>
                <a:avLst/>
                <a:gdLst>
                  <a:gd name="T0" fmla="*/ 23 w 23"/>
                  <a:gd name="T1" fmla="*/ 11 h 23"/>
                  <a:gd name="T2" fmla="*/ 23 w 23"/>
                  <a:gd name="T3" fmla="*/ 11 h 23"/>
                  <a:gd name="T4" fmla="*/ 21 w 23"/>
                  <a:gd name="T5" fmla="*/ 17 h 23"/>
                  <a:gd name="T6" fmla="*/ 19 w 23"/>
                  <a:gd name="T7" fmla="*/ 19 h 23"/>
                  <a:gd name="T8" fmla="*/ 15 w 23"/>
                  <a:gd name="T9" fmla="*/ 23 h 23"/>
                  <a:gd name="T10" fmla="*/ 11 w 23"/>
                  <a:gd name="T11" fmla="*/ 23 h 23"/>
                  <a:gd name="T12" fmla="*/ 6 w 23"/>
                  <a:gd name="T13" fmla="*/ 23 h 23"/>
                  <a:gd name="T14" fmla="*/ 2 w 23"/>
                  <a:gd name="T15" fmla="*/ 19 h 23"/>
                  <a:gd name="T16" fmla="*/ 0 w 23"/>
                  <a:gd name="T17" fmla="*/ 17 h 23"/>
                  <a:gd name="T18" fmla="*/ 0 w 23"/>
                  <a:gd name="T19" fmla="*/ 11 h 23"/>
                  <a:gd name="T20" fmla="*/ 0 w 23"/>
                  <a:gd name="T21" fmla="*/ 11 h 23"/>
                  <a:gd name="T22" fmla="*/ 0 w 23"/>
                  <a:gd name="T23" fmla="*/ 6 h 23"/>
                  <a:gd name="T24" fmla="*/ 2 w 23"/>
                  <a:gd name="T25" fmla="*/ 2 h 23"/>
                  <a:gd name="T26" fmla="*/ 6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1 w 23"/>
                  <a:gd name="T35" fmla="*/ 6 h 23"/>
                  <a:gd name="T36" fmla="*/ 23 w 23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1"/>
                    </a:moveTo>
                    <a:lnTo>
                      <a:pt x="23" y="11"/>
                    </a:lnTo>
                    <a:lnTo>
                      <a:pt x="21" y="17"/>
                    </a:lnTo>
                    <a:lnTo>
                      <a:pt x="19" y="19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6" y="23"/>
                    </a:lnTo>
                    <a:lnTo>
                      <a:pt x="2" y="19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1" y="6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E31A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50" name="Freeform 56">
                <a:extLst>
                  <a:ext uri="{FF2B5EF4-FFF2-40B4-BE49-F238E27FC236}">
                    <a16:creationId xmlns:a16="http://schemas.microsoft.com/office/drawing/2014/main" id="{91DF613A-F675-93AF-5469-BCCDBB87CE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853"/>
                <a:ext cx="23" cy="23"/>
              </a:xfrm>
              <a:custGeom>
                <a:avLst/>
                <a:gdLst>
                  <a:gd name="T0" fmla="*/ 23 w 23"/>
                  <a:gd name="T1" fmla="*/ 11 h 23"/>
                  <a:gd name="T2" fmla="*/ 23 w 23"/>
                  <a:gd name="T3" fmla="*/ 11 h 23"/>
                  <a:gd name="T4" fmla="*/ 21 w 23"/>
                  <a:gd name="T5" fmla="*/ 17 h 23"/>
                  <a:gd name="T6" fmla="*/ 19 w 23"/>
                  <a:gd name="T7" fmla="*/ 19 h 23"/>
                  <a:gd name="T8" fmla="*/ 15 w 23"/>
                  <a:gd name="T9" fmla="*/ 23 h 23"/>
                  <a:gd name="T10" fmla="*/ 11 w 23"/>
                  <a:gd name="T11" fmla="*/ 23 h 23"/>
                  <a:gd name="T12" fmla="*/ 6 w 23"/>
                  <a:gd name="T13" fmla="*/ 23 h 23"/>
                  <a:gd name="T14" fmla="*/ 2 w 23"/>
                  <a:gd name="T15" fmla="*/ 19 h 23"/>
                  <a:gd name="T16" fmla="*/ 0 w 23"/>
                  <a:gd name="T17" fmla="*/ 17 h 23"/>
                  <a:gd name="T18" fmla="*/ 0 w 23"/>
                  <a:gd name="T19" fmla="*/ 11 h 23"/>
                  <a:gd name="T20" fmla="*/ 0 w 23"/>
                  <a:gd name="T21" fmla="*/ 11 h 23"/>
                  <a:gd name="T22" fmla="*/ 0 w 23"/>
                  <a:gd name="T23" fmla="*/ 6 h 23"/>
                  <a:gd name="T24" fmla="*/ 2 w 23"/>
                  <a:gd name="T25" fmla="*/ 2 h 23"/>
                  <a:gd name="T26" fmla="*/ 6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1 w 23"/>
                  <a:gd name="T35" fmla="*/ 6 h 23"/>
                  <a:gd name="T36" fmla="*/ 23 w 23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1"/>
                    </a:moveTo>
                    <a:lnTo>
                      <a:pt x="23" y="11"/>
                    </a:lnTo>
                    <a:lnTo>
                      <a:pt x="21" y="17"/>
                    </a:lnTo>
                    <a:lnTo>
                      <a:pt x="19" y="19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6" y="23"/>
                    </a:lnTo>
                    <a:lnTo>
                      <a:pt x="2" y="19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1" y="6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E31A1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51" name="Freeform 57">
                <a:extLst>
                  <a:ext uri="{FF2B5EF4-FFF2-40B4-BE49-F238E27FC236}">
                    <a16:creationId xmlns:a16="http://schemas.microsoft.com/office/drawing/2014/main" id="{8DD67561-A991-4FEB-328F-B62D990A3D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857"/>
                <a:ext cx="23" cy="24"/>
              </a:xfrm>
              <a:custGeom>
                <a:avLst/>
                <a:gdLst>
                  <a:gd name="T0" fmla="*/ 23 w 23"/>
                  <a:gd name="T1" fmla="*/ 13 h 24"/>
                  <a:gd name="T2" fmla="*/ 23 w 23"/>
                  <a:gd name="T3" fmla="*/ 13 h 24"/>
                  <a:gd name="T4" fmla="*/ 21 w 23"/>
                  <a:gd name="T5" fmla="*/ 17 h 24"/>
                  <a:gd name="T6" fmla="*/ 19 w 23"/>
                  <a:gd name="T7" fmla="*/ 21 h 24"/>
                  <a:gd name="T8" fmla="*/ 15 w 23"/>
                  <a:gd name="T9" fmla="*/ 22 h 24"/>
                  <a:gd name="T10" fmla="*/ 11 w 23"/>
                  <a:gd name="T11" fmla="*/ 24 h 24"/>
                  <a:gd name="T12" fmla="*/ 6 w 23"/>
                  <a:gd name="T13" fmla="*/ 22 h 24"/>
                  <a:gd name="T14" fmla="*/ 2 w 23"/>
                  <a:gd name="T15" fmla="*/ 21 h 24"/>
                  <a:gd name="T16" fmla="*/ 0 w 23"/>
                  <a:gd name="T17" fmla="*/ 17 h 24"/>
                  <a:gd name="T18" fmla="*/ 0 w 23"/>
                  <a:gd name="T19" fmla="*/ 13 h 24"/>
                  <a:gd name="T20" fmla="*/ 0 w 23"/>
                  <a:gd name="T21" fmla="*/ 13 h 24"/>
                  <a:gd name="T22" fmla="*/ 0 w 23"/>
                  <a:gd name="T23" fmla="*/ 7 h 24"/>
                  <a:gd name="T24" fmla="*/ 2 w 23"/>
                  <a:gd name="T25" fmla="*/ 4 h 24"/>
                  <a:gd name="T26" fmla="*/ 6 w 23"/>
                  <a:gd name="T27" fmla="*/ 2 h 24"/>
                  <a:gd name="T28" fmla="*/ 11 w 23"/>
                  <a:gd name="T29" fmla="*/ 0 h 24"/>
                  <a:gd name="T30" fmla="*/ 15 w 23"/>
                  <a:gd name="T31" fmla="*/ 2 h 24"/>
                  <a:gd name="T32" fmla="*/ 19 w 23"/>
                  <a:gd name="T33" fmla="*/ 4 h 24"/>
                  <a:gd name="T34" fmla="*/ 21 w 23"/>
                  <a:gd name="T35" fmla="*/ 7 h 24"/>
                  <a:gd name="T36" fmla="*/ 23 w 23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3"/>
                    </a:moveTo>
                    <a:lnTo>
                      <a:pt x="23" y="13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6" y="22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1" y="7"/>
                    </a:lnTo>
                    <a:lnTo>
                      <a:pt x="23" y="13"/>
                    </a:lnTo>
                    <a:close/>
                  </a:path>
                </a:pathLst>
              </a:custGeom>
              <a:solidFill>
                <a:srgbClr val="E31A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52" name="Freeform 58">
                <a:extLst>
                  <a:ext uri="{FF2B5EF4-FFF2-40B4-BE49-F238E27FC236}">
                    <a16:creationId xmlns:a16="http://schemas.microsoft.com/office/drawing/2014/main" id="{5E7271AA-4EDA-508A-B669-FB9266E7F8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857"/>
                <a:ext cx="23" cy="24"/>
              </a:xfrm>
              <a:custGeom>
                <a:avLst/>
                <a:gdLst>
                  <a:gd name="T0" fmla="*/ 23 w 23"/>
                  <a:gd name="T1" fmla="*/ 13 h 24"/>
                  <a:gd name="T2" fmla="*/ 23 w 23"/>
                  <a:gd name="T3" fmla="*/ 13 h 24"/>
                  <a:gd name="T4" fmla="*/ 21 w 23"/>
                  <a:gd name="T5" fmla="*/ 17 h 24"/>
                  <a:gd name="T6" fmla="*/ 19 w 23"/>
                  <a:gd name="T7" fmla="*/ 21 h 24"/>
                  <a:gd name="T8" fmla="*/ 15 w 23"/>
                  <a:gd name="T9" fmla="*/ 22 h 24"/>
                  <a:gd name="T10" fmla="*/ 11 w 23"/>
                  <a:gd name="T11" fmla="*/ 24 h 24"/>
                  <a:gd name="T12" fmla="*/ 6 w 23"/>
                  <a:gd name="T13" fmla="*/ 22 h 24"/>
                  <a:gd name="T14" fmla="*/ 2 w 23"/>
                  <a:gd name="T15" fmla="*/ 21 h 24"/>
                  <a:gd name="T16" fmla="*/ 0 w 23"/>
                  <a:gd name="T17" fmla="*/ 17 h 24"/>
                  <a:gd name="T18" fmla="*/ 0 w 23"/>
                  <a:gd name="T19" fmla="*/ 13 h 24"/>
                  <a:gd name="T20" fmla="*/ 0 w 23"/>
                  <a:gd name="T21" fmla="*/ 13 h 24"/>
                  <a:gd name="T22" fmla="*/ 0 w 23"/>
                  <a:gd name="T23" fmla="*/ 7 h 24"/>
                  <a:gd name="T24" fmla="*/ 2 w 23"/>
                  <a:gd name="T25" fmla="*/ 4 h 24"/>
                  <a:gd name="T26" fmla="*/ 6 w 23"/>
                  <a:gd name="T27" fmla="*/ 2 h 24"/>
                  <a:gd name="T28" fmla="*/ 11 w 23"/>
                  <a:gd name="T29" fmla="*/ 0 h 24"/>
                  <a:gd name="T30" fmla="*/ 15 w 23"/>
                  <a:gd name="T31" fmla="*/ 2 h 24"/>
                  <a:gd name="T32" fmla="*/ 19 w 23"/>
                  <a:gd name="T33" fmla="*/ 4 h 24"/>
                  <a:gd name="T34" fmla="*/ 21 w 23"/>
                  <a:gd name="T35" fmla="*/ 7 h 24"/>
                  <a:gd name="T36" fmla="*/ 23 w 23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3"/>
                    </a:moveTo>
                    <a:lnTo>
                      <a:pt x="23" y="13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6" y="22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1" y="7"/>
                    </a:lnTo>
                    <a:lnTo>
                      <a:pt x="23" y="13"/>
                    </a:lnTo>
                  </a:path>
                </a:pathLst>
              </a:custGeom>
              <a:noFill/>
              <a:ln w="9525">
                <a:solidFill>
                  <a:srgbClr val="E31A1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53" name="Freeform 59">
                <a:extLst>
                  <a:ext uri="{FF2B5EF4-FFF2-40B4-BE49-F238E27FC236}">
                    <a16:creationId xmlns:a16="http://schemas.microsoft.com/office/drawing/2014/main" id="{7E8AA94A-A582-FC45-8E35-6F5EC42E9A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1" y="1502"/>
                <a:ext cx="23" cy="24"/>
              </a:xfrm>
              <a:custGeom>
                <a:avLst/>
                <a:gdLst>
                  <a:gd name="T0" fmla="*/ 23 w 23"/>
                  <a:gd name="T1" fmla="*/ 11 h 24"/>
                  <a:gd name="T2" fmla="*/ 23 w 23"/>
                  <a:gd name="T3" fmla="*/ 11 h 24"/>
                  <a:gd name="T4" fmla="*/ 23 w 23"/>
                  <a:gd name="T5" fmla="*/ 17 h 24"/>
                  <a:gd name="T6" fmla="*/ 19 w 23"/>
                  <a:gd name="T7" fmla="*/ 20 h 24"/>
                  <a:gd name="T8" fmla="*/ 15 w 23"/>
                  <a:gd name="T9" fmla="*/ 22 h 24"/>
                  <a:gd name="T10" fmla="*/ 11 w 23"/>
                  <a:gd name="T11" fmla="*/ 24 h 24"/>
                  <a:gd name="T12" fmla="*/ 8 w 23"/>
                  <a:gd name="T13" fmla="*/ 22 h 24"/>
                  <a:gd name="T14" fmla="*/ 4 w 23"/>
                  <a:gd name="T15" fmla="*/ 20 h 24"/>
                  <a:gd name="T16" fmla="*/ 0 w 23"/>
                  <a:gd name="T17" fmla="*/ 17 h 24"/>
                  <a:gd name="T18" fmla="*/ 0 w 23"/>
                  <a:gd name="T19" fmla="*/ 11 h 24"/>
                  <a:gd name="T20" fmla="*/ 0 w 23"/>
                  <a:gd name="T21" fmla="*/ 11 h 24"/>
                  <a:gd name="T22" fmla="*/ 0 w 23"/>
                  <a:gd name="T23" fmla="*/ 7 h 24"/>
                  <a:gd name="T24" fmla="*/ 4 w 23"/>
                  <a:gd name="T25" fmla="*/ 3 h 24"/>
                  <a:gd name="T26" fmla="*/ 8 w 23"/>
                  <a:gd name="T27" fmla="*/ 2 h 24"/>
                  <a:gd name="T28" fmla="*/ 11 w 23"/>
                  <a:gd name="T29" fmla="*/ 0 h 24"/>
                  <a:gd name="T30" fmla="*/ 15 w 23"/>
                  <a:gd name="T31" fmla="*/ 2 h 24"/>
                  <a:gd name="T32" fmla="*/ 19 w 23"/>
                  <a:gd name="T33" fmla="*/ 3 h 24"/>
                  <a:gd name="T34" fmla="*/ 23 w 23"/>
                  <a:gd name="T35" fmla="*/ 7 h 24"/>
                  <a:gd name="T36" fmla="*/ 23 w 23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4" y="3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3"/>
                    </a:lnTo>
                    <a:lnTo>
                      <a:pt x="23" y="7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008B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54" name="Freeform 60">
                <a:extLst>
                  <a:ext uri="{FF2B5EF4-FFF2-40B4-BE49-F238E27FC236}">
                    <a16:creationId xmlns:a16="http://schemas.microsoft.com/office/drawing/2014/main" id="{692AC8E1-D77E-B11A-1E9B-A2E92DAC23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1" y="1502"/>
                <a:ext cx="23" cy="24"/>
              </a:xfrm>
              <a:custGeom>
                <a:avLst/>
                <a:gdLst>
                  <a:gd name="T0" fmla="*/ 23 w 23"/>
                  <a:gd name="T1" fmla="*/ 11 h 24"/>
                  <a:gd name="T2" fmla="*/ 23 w 23"/>
                  <a:gd name="T3" fmla="*/ 11 h 24"/>
                  <a:gd name="T4" fmla="*/ 23 w 23"/>
                  <a:gd name="T5" fmla="*/ 17 h 24"/>
                  <a:gd name="T6" fmla="*/ 19 w 23"/>
                  <a:gd name="T7" fmla="*/ 20 h 24"/>
                  <a:gd name="T8" fmla="*/ 15 w 23"/>
                  <a:gd name="T9" fmla="*/ 22 h 24"/>
                  <a:gd name="T10" fmla="*/ 11 w 23"/>
                  <a:gd name="T11" fmla="*/ 24 h 24"/>
                  <a:gd name="T12" fmla="*/ 8 w 23"/>
                  <a:gd name="T13" fmla="*/ 22 h 24"/>
                  <a:gd name="T14" fmla="*/ 4 w 23"/>
                  <a:gd name="T15" fmla="*/ 20 h 24"/>
                  <a:gd name="T16" fmla="*/ 0 w 23"/>
                  <a:gd name="T17" fmla="*/ 17 h 24"/>
                  <a:gd name="T18" fmla="*/ 0 w 23"/>
                  <a:gd name="T19" fmla="*/ 11 h 24"/>
                  <a:gd name="T20" fmla="*/ 0 w 23"/>
                  <a:gd name="T21" fmla="*/ 11 h 24"/>
                  <a:gd name="T22" fmla="*/ 0 w 23"/>
                  <a:gd name="T23" fmla="*/ 7 h 24"/>
                  <a:gd name="T24" fmla="*/ 4 w 23"/>
                  <a:gd name="T25" fmla="*/ 3 h 24"/>
                  <a:gd name="T26" fmla="*/ 8 w 23"/>
                  <a:gd name="T27" fmla="*/ 2 h 24"/>
                  <a:gd name="T28" fmla="*/ 11 w 23"/>
                  <a:gd name="T29" fmla="*/ 0 h 24"/>
                  <a:gd name="T30" fmla="*/ 15 w 23"/>
                  <a:gd name="T31" fmla="*/ 2 h 24"/>
                  <a:gd name="T32" fmla="*/ 19 w 23"/>
                  <a:gd name="T33" fmla="*/ 3 h 24"/>
                  <a:gd name="T34" fmla="*/ 23 w 23"/>
                  <a:gd name="T35" fmla="*/ 7 h 24"/>
                  <a:gd name="T36" fmla="*/ 23 w 23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4" y="3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3"/>
                    </a:lnTo>
                    <a:lnTo>
                      <a:pt x="23" y="7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008B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55" name="Freeform 61">
                <a:extLst>
                  <a:ext uri="{FF2B5EF4-FFF2-40B4-BE49-F238E27FC236}">
                    <a16:creationId xmlns:a16="http://schemas.microsoft.com/office/drawing/2014/main" id="{1AC5AAAA-CC10-83CB-8527-FC7EE53740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1205"/>
                <a:ext cx="22" cy="24"/>
              </a:xfrm>
              <a:custGeom>
                <a:avLst/>
                <a:gdLst>
                  <a:gd name="T0" fmla="*/ 22 w 22"/>
                  <a:gd name="T1" fmla="*/ 11 h 24"/>
                  <a:gd name="T2" fmla="*/ 22 w 22"/>
                  <a:gd name="T3" fmla="*/ 11 h 24"/>
                  <a:gd name="T4" fmla="*/ 22 w 22"/>
                  <a:gd name="T5" fmla="*/ 17 h 24"/>
                  <a:gd name="T6" fmla="*/ 18 w 22"/>
                  <a:gd name="T7" fmla="*/ 20 h 24"/>
                  <a:gd name="T8" fmla="*/ 15 w 22"/>
                  <a:gd name="T9" fmla="*/ 22 h 24"/>
                  <a:gd name="T10" fmla="*/ 11 w 22"/>
                  <a:gd name="T11" fmla="*/ 24 h 24"/>
                  <a:gd name="T12" fmla="*/ 7 w 22"/>
                  <a:gd name="T13" fmla="*/ 22 h 24"/>
                  <a:gd name="T14" fmla="*/ 3 w 22"/>
                  <a:gd name="T15" fmla="*/ 20 h 24"/>
                  <a:gd name="T16" fmla="*/ 0 w 22"/>
                  <a:gd name="T17" fmla="*/ 17 h 24"/>
                  <a:gd name="T18" fmla="*/ 0 w 22"/>
                  <a:gd name="T19" fmla="*/ 11 h 24"/>
                  <a:gd name="T20" fmla="*/ 0 w 22"/>
                  <a:gd name="T21" fmla="*/ 11 h 24"/>
                  <a:gd name="T22" fmla="*/ 0 w 22"/>
                  <a:gd name="T23" fmla="*/ 7 h 24"/>
                  <a:gd name="T24" fmla="*/ 3 w 22"/>
                  <a:gd name="T25" fmla="*/ 3 h 24"/>
                  <a:gd name="T26" fmla="*/ 7 w 22"/>
                  <a:gd name="T27" fmla="*/ 0 h 24"/>
                  <a:gd name="T28" fmla="*/ 11 w 22"/>
                  <a:gd name="T29" fmla="*/ 0 h 24"/>
                  <a:gd name="T30" fmla="*/ 15 w 22"/>
                  <a:gd name="T31" fmla="*/ 0 h 24"/>
                  <a:gd name="T32" fmla="*/ 18 w 22"/>
                  <a:gd name="T33" fmla="*/ 3 h 24"/>
                  <a:gd name="T34" fmla="*/ 22 w 22"/>
                  <a:gd name="T35" fmla="*/ 7 h 24"/>
                  <a:gd name="T36" fmla="*/ 22 w 22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3"/>
                    </a:lnTo>
                    <a:lnTo>
                      <a:pt x="22" y="7"/>
                    </a:lnTo>
                    <a:lnTo>
                      <a:pt x="22" y="11"/>
                    </a:lnTo>
                    <a:close/>
                  </a:path>
                </a:pathLst>
              </a:custGeom>
              <a:solidFill>
                <a:srgbClr val="008B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56" name="Freeform 62">
                <a:extLst>
                  <a:ext uri="{FF2B5EF4-FFF2-40B4-BE49-F238E27FC236}">
                    <a16:creationId xmlns:a16="http://schemas.microsoft.com/office/drawing/2014/main" id="{4C840EA9-1A1B-EB71-2488-B13327C486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1205"/>
                <a:ext cx="22" cy="24"/>
              </a:xfrm>
              <a:custGeom>
                <a:avLst/>
                <a:gdLst>
                  <a:gd name="T0" fmla="*/ 22 w 22"/>
                  <a:gd name="T1" fmla="*/ 11 h 24"/>
                  <a:gd name="T2" fmla="*/ 22 w 22"/>
                  <a:gd name="T3" fmla="*/ 11 h 24"/>
                  <a:gd name="T4" fmla="*/ 22 w 22"/>
                  <a:gd name="T5" fmla="*/ 17 h 24"/>
                  <a:gd name="T6" fmla="*/ 18 w 22"/>
                  <a:gd name="T7" fmla="*/ 20 h 24"/>
                  <a:gd name="T8" fmla="*/ 15 w 22"/>
                  <a:gd name="T9" fmla="*/ 22 h 24"/>
                  <a:gd name="T10" fmla="*/ 11 w 22"/>
                  <a:gd name="T11" fmla="*/ 24 h 24"/>
                  <a:gd name="T12" fmla="*/ 7 w 22"/>
                  <a:gd name="T13" fmla="*/ 22 h 24"/>
                  <a:gd name="T14" fmla="*/ 3 w 22"/>
                  <a:gd name="T15" fmla="*/ 20 h 24"/>
                  <a:gd name="T16" fmla="*/ 0 w 22"/>
                  <a:gd name="T17" fmla="*/ 17 h 24"/>
                  <a:gd name="T18" fmla="*/ 0 w 22"/>
                  <a:gd name="T19" fmla="*/ 11 h 24"/>
                  <a:gd name="T20" fmla="*/ 0 w 22"/>
                  <a:gd name="T21" fmla="*/ 11 h 24"/>
                  <a:gd name="T22" fmla="*/ 0 w 22"/>
                  <a:gd name="T23" fmla="*/ 7 h 24"/>
                  <a:gd name="T24" fmla="*/ 3 w 22"/>
                  <a:gd name="T25" fmla="*/ 3 h 24"/>
                  <a:gd name="T26" fmla="*/ 7 w 22"/>
                  <a:gd name="T27" fmla="*/ 0 h 24"/>
                  <a:gd name="T28" fmla="*/ 11 w 22"/>
                  <a:gd name="T29" fmla="*/ 0 h 24"/>
                  <a:gd name="T30" fmla="*/ 15 w 22"/>
                  <a:gd name="T31" fmla="*/ 0 h 24"/>
                  <a:gd name="T32" fmla="*/ 18 w 22"/>
                  <a:gd name="T33" fmla="*/ 3 h 24"/>
                  <a:gd name="T34" fmla="*/ 22 w 22"/>
                  <a:gd name="T35" fmla="*/ 7 h 24"/>
                  <a:gd name="T36" fmla="*/ 22 w 22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3"/>
                    </a:lnTo>
                    <a:lnTo>
                      <a:pt x="22" y="7"/>
                    </a:lnTo>
                    <a:lnTo>
                      <a:pt x="22" y="11"/>
                    </a:lnTo>
                  </a:path>
                </a:pathLst>
              </a:custGeom>
              <a:noFill/>
              <a:ln w="9525">
                <a:solidFill>
                  <a:srgbClr val="008B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57" name="Freeform 63">
                <a:extLst>
                  <a:ext uri="{FF2B5EF4-FFF2-40B4-BE49-F238E27FC236}">
                    <a16:creationId xmlns:a16="http://schemas.microsoft.com/office/drawing/2014/main" id="{C72F3082-8EFE-C347-542D-C3C343962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  <a:close/>
                  </a:path>
                </a:pathLst>
              </a:custGeom>
              <a:solidFill>
                <a:srgbClr val="FFD7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58" name="Freeform 64">
                <a:extLst>
                  <a:ext uri="{FF2B5EF4-FFF2-40B4-BE49-F238E27FC236}">
                    <a16:creationId xmlns:a16="http://schemas.microsoft.com/office/drawing/2014/main" id="{20AC13BC-5FA5-8AC3-9C4C-80B0E9E3E5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</a:path>
                </a:pathLst>
              </a:custGeom>
              <a:noFill/>
              <a:ln w="9525">
                <a:solidFill>
                  <a:srgbClr val="FFD7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59" name="Freeform 65">
                <a:extLst>
                  <a:ext uri="{FF2B5EF4-FFF2-40B4-BE49-F238E27FC236}">
                    <a16:creationId xmlns:a16="http://schemas.microsoft.com/office/drawing/2014/main" id="{B19540C9-367B-DED7-1EF0-CBB5EA78A2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682"/>
                <a:ext cx="22" cy="25"/>
              </a:xfrm>
              <a:custGeom>
                <a:avLst/>
                <a:gdLst>
                  <a:gd name="T0" fmla="*/ 22 w 22"/>
                  <a:gd name="T1" fmla="*/ 13 h 25"/>
                  <a:gd name="T2" fmla="*/ 22 w 22"/>
                  <a:gd name="T3" fmla="*/ 13 h 25"/>
                  <a:gd name="T4" fmla="*/ 22 w 22"/>
                  <a:gd name="T5" fmla="*/ 17 h 25"/>
                  <a:gd name="T6" fmla="*/ 18 w 22"/>
                  <a:gd name="T7" fmla="*/ 21 h 25"/>
                  <a:gd name="T8" fmla="*/ 15 w 22"/>
                  <a:gd name="T9" fmla="*/ 23 h 25"/>
                  <a:gd name="T10" fmla="*/ 11 w 22"/>
                  <a:gd name="T11" fmla="*/ 25 h 25"/>
                  <a:gd name="T12" fmla="*/ 7 w 22"/>
                  <a:gd name="T13" fmla="*/ 23 h 25"/>
                  <a:gd name="T14" fmla="*/ 3 w 22"/>
                  <a:gd name="T15" fmla="*/ 21 h 25"/>
                  <a:gd name="T16" fmla="*/ 0 w 22"/>
                  <a:gd name="T17" fmla="*/ 17 h 25"/>
                  <a:gd name="T18" fmla="*/ 0 w 22"/>
                  <a:gd name="T19" fmla="*/ 13 h 25"/>
                  <a:gd name="T20" fmla="*/ 0 w 22"/>
                  <a:gd name="T21" fmla="*/ 13 h 25"/>
                  <a:gd name="T22" fmla="*/ 0 w 22"/>
                  <a:gd name="T23" fmla="*/ 8 h 25"/>
                  <a:gd name="T24" fmla="*/ 3 w 22"/>
                  <a:gd name="T25" fmla="*/ 4 h 25"/>
                  <a:gd name="T26" fmla="*/ 7 w 22"/>
                  <a:gd name="T27" fmla="*/ 2 h 25"/>
                  <a:gd name="T28" fmla="*/ 11 w 22"/>
                  <a:gd name="T29" fmla="*/ 0 h 25"/>
                  <a:gd name="T30" fmla="*/ 15 w 22"/>
                  <a:gd name="T31" fmla="*/ 2 h 25"/>
                  <a:gd name="T32" fmla="*/ 18 w 22"/>
                  <a:gd name="T33" fmla="*/ 4 h 25"/>
                  <a:gd name="T34" fmla="*/ 22 w 22"/>
                  <a:gd name="T35" fmla="*/ 8 h 25"/>
                  <a:gd name="T36" fmla="*/ 22 w 22"/>
                  <a:gd name="T37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5">
                    <a:moveTo>
                      <a:pt x="22" y="13"/>
                    </a:moveTo>
                    <a:lnTo>
                      <a:pt x="22" y="13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5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2" y="13"/>
                    </a:lnTo>
                    <a:close/>
                  </a:path>
                </a:pathLst>
              </a:custGeom>
              <a:solidFill>
                <a:srgbClr val="FFD7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60" name="Freeform 66">
                <a:extLst>
                  <a:ext uri="{FF2B5EF4-FFF2-40B4-BE49-F238E27FC236}">
                    <a16:creationId xmlns:a16="http://schemas.microsoft.com/office/drawing/2014/main" id="{4865E8FA-5C82-8712-9CB8-8E5BB8FC2C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682"/>
                <a:ext cx="22" cy="25"/>
              </a:xfrm>
              <a:custGeom>
                <a:avLst/>
                <a:gdLst>
                  <a:gd name="T0" fmla="*/ 22 w 22"/>
                  <a:gd name="T1" fmla="*/ 13 h 25"/>
                  <a:gd name="T2" fmla="*/ 22 w 22"/>
                  <a:gd name="T3" fmla="*/ 13 h 25"/>
                  <a:gd name="T4" fmla="*/ 22 w 22"/>
                  <a:gd name="T5" fmla="*/ 17 h 25"/>
                  <a:gd name="T6" fmla="*/ 18 w 22"/>
                  <a:gd name="T7" fmla="*/ 21 h 25"/>
                  <a:gd name="T8" fmla="*/ 15 w 22"/>
                  <a:gd name="T9" fmla="*/ 23 h 25"/>
                  <a:gd name="T10" fmla="*/ 11 w 22"/>
                  <a:gd name="T11" fmla="*/ 25 h 25"/>
                  <a:gd name="T12" fmla="*/ 7 w 22"/>
                  <a:gd name="T13" fmla="*/ 23 h 25"/>
                  <a:gd name="T14" fmla="*/ 3 w 22"/>
                  <a:gd name="T15" fmla="*/ 21 h 25"/>
                  <a:gd name="T16" fmla="*/ 0 w 22"/>
                  <a:gd name="T17" fmla="*/ 17 h 25"/>
                  <a:gd name="T18" fmla="*/ 0 w 22"/>
                  <a:gd name="T19" fmla="*/ 13 h 25"/>
                  <a:gd name="T20" fmla="*/ 0 w 22"/>
                  <a:gd name="T21" fmla="*/ 13 h 25"/>
                  <a:gd name="T22" fmla="*/ 0 w 22"/>
                  <a:gd name="T23" fmla="*/ 8 h 25"/>
                  <a:gd name="T24" fmla="*/ 3 w 22"/>
                  <a:gd name="T25" fmla="*/ 4 h 25"/>
                  <a:gd name="T26" fmla="*/ 7 w 22"/>
                  <a:gd name="T27" fmla="*/ 2 h 25"/>
                  <a:gd name="T28" fmla="*/ 11 w 22"/>
                  <a:gd name="T29" fmla="*/ 0 h 25"/>
                  <a:gd name="T30" fmla="*/ 15 w 22"/>
                  <a:gd name="T31" fmla="*/ 2 h 25"/>
                  <a:gd name="T32" fmla="*/ 18 w 22"/>
                  <a:gd name="T33" fmla="*/ 4 h 25"/>
                  <a:gd name="T34" fmla="*/ 22 w 22"/>
                  <a:gd name="T35" fmla="*/ 8 h 25"/>
                  <a:gd name="T36" fmla="*/ 22 w 22"/>
                  <a:gd name="T37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5">
                    <a:moveTo>
                      <a:pt x="22" y="13"/>
                    </a:moveTo>
                    <a:lnTo>
                      <a:pt x="22" y="13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5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2" y="13"/>
                    </a:lnTo>
                  </a:path>
                </a:pathLst>
              </a:custGeom>
              <a:noFill/>
              <a:ln w="9525">
                <a:solidFill>
                  <a:srgbClr val="FFD7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61" name="Freeform 67">
                <a:extLst>
                  <a:ext uri="{FF2B5EF4-FFF2-40B4-BE49-F238E27FC236}">
                    <a16:creationId xmlns:a16="http://schemas.microsoft.com/office/drawing/2014/main" id="{C3D0957A-0335-A72E-6B9F-4D62010511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" y="810"/>
                <a:ext cx="23" cy="24"/>
              </a:xfrm>
              <a:custGeom>
                <a:avLst/>
                <a:gdLst>
                  <a:gd name="T0" fmla="*/ 23 w 23"/>
                  <a:gd name="T1" fmla="*/ 11 h 24"/>
                  <a:gd name="T2" fmla="*/ 23 w 23"/>
                  <a:gd name="T3" fmla="*/ 11 h 24"/>
                  <a:gd name="T4" fmla="*/ 23 w 23"/>
                  <a:gd name="T5" fmla="*/ 17 h 24"/>
                  <a:gd name="T6" fmla="*/ 21 w 23"/>
                  <a:gd name="T7" fmla="*/ 21 h 24"/>
                  <a:gd name="T8" fmla="*/ 17 w 23"/>
                  <a:gd name="T9" fmla="*/ 22 h 24"/>
                  <a:gd name="T10" fmla="*/ 12 w 23"/>
                  <a:gd name="T11" fmla="*/ 24 h 24"/>
                  <a:gd name="T12" fmla="*/ 8 w 23"/>
                  <a:gd name="T13" fmla="*/ 22 h 24"/>
                  <a:gd name="T14" fmla="*/ 4 w 23"/>
                  <a:gd name="T15" fmla="*/ 21 h 24"/>
                  <a:gd name="T16" fmla="*/ 2 w 23"/>
                  <a:gd name="T17" fmla="*/ 17 h 24"/>
                  <a:gd name="T18" fmla="*/ 0 w 23"/>
                  <a:gd name="T19" fmla="*/ 11 h 24"/>
                  <a:gd name="T20" fmla="*/ 0 w 23"/>
                  <a:gd name="T21" fmla="*/ 11 h 24"/>
                  <a:gd name="T22" fmla="*/ 2 w 23"/>
                  <a:gd name="T23" fmla="*/ 7 h 24"/>
                  <a:gd name="T24" fmla="*/ 4 w 23"/>
                  <a:gd name="T25" fmla="*/ 4 h 24"/>
                  <a:gd name="T26" fmla="*/ 8 w 23"/>
                  <a:gd name="T27" fmla="*/ 2 h 24"/>
                  <a:gd name="T28" fmla="*/ 12 w 23"/>
                  <a:gd name="T29" fmla="*/ 0 h 24"/>
                  <a:gd name="T30" fmla="*/ 17 w 23"/>
                  <a:gd name="T31" fmla="*/ 2 h 24"/>
                  <a:gd name="T32" fmla="*/ 21 w 23"/>
                  <a:gd name="T33" fmla="*/ 4 h 24"/>
                  <a:gd name="T34" fmla="*/ 23 w 23"/>
                  <a:gd name="T35" fmla="*/ 7 h 24"/>
                  <a:gd name="T36" fmla="*/ 23 w 23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2"/>
                    </a:lnTo>
                    <a:lnTo>
                      <a:pt x="12" y="24"/>
                    </a:lnTo>
                    <a:lnTo>
                      <a:pt x="8" y="22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7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FFD7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62" name="Freeform 68">
                <a:extLst>
                  <a:ext uri="{FF2B5EF4-FFF2-40B4-BE49-F238E27FC236}">
                    <a16:creationId xmlns:a16="http://schemas.microsoft.com/office/drawing/2014/main" id="{34EECE2A-5B40-3AD1-1FC1-28647FD27C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" y="810"/>
                <a:ext cx="23" cy="24"/>
              </a:xfrm>
              <a:custGeom>
                <a:avLst/>
                <a:gdLst>
                  <a:gd name="T0" fmla="*/ 23 w 23"/>
                  <a:gd name="T1" fmla="*/ 11 h 24"/>
                  <a:gd name="T2" fmla="*/ 23 w 23"/>
                  <a:gd name="T3" fmla="*/ 11 h 24"/>
                  <a:gd name="T4" fmla="*/ 23 w 23"/>
                  <a:gd name="T5" fmla="*/ 17 h 24"/>
                  <a:gd name="T6" fmla="*/ 21 w 23"/>
                  <a:gd name="T7" fmla="*/ 21 h 24"/>
                  <a:gd name="T8" fmla="*/ 17 w 23"/>
                  <a:gd name="T9" fmla="*/ 22 h 24"/>
                  <a:gd name="T10" fmla="*/ 12 w 23"/>
                  <a:gd name="T11" fmla="*/ 24 h 24"/>
                  <a:gd name="T12" fmla="*/ 8 w 23"/>
                  <a:gd name="T13" fmla="*/ 22 h 24"/>
                  <a:gd name="T14" fmla="*/ 4 w 23"/>
                  <a:gd name="T15" fmla="*/ 21 h 24"/>
                  <a:gd name="T16" fmla="*/ 2 w 23"/>
                  <a:gd name="T17" fmla="*/ 17 h 24"/>
                  <a:gd name="T18" fmla="*/ 0 w 23"/>
                  <a:gd name="T19" fmla="*/ 11 h 24"/>
                  <a:gd name="T20" fmla="*/ 0 w 23"/>
                  <a:gd name="T21" fmla="*/ 11 h 24"/>
                  <a:gd name="T22" fmla="*/ 2 w 23"/>
                  <a:gd name="T23" fmla="*/ 7 h 24"/>
                  <a:gd name="T24" fmla="*/ 4 w 23"/>
                  <a:gd name="T25" fmla="*/ 4 h 24"/>
                  <a:gd name="T26" fmla="*/ 8 w 23"/>
                  <a:gd name="T27" fmla="*/ 2 h 24"/>
                  <a:gd name="T28" fmla="*/ 12 w 23"/>
                  <a:gd name="T29" fmla="*/ 0 h 24"/>
                  <a:gd name="T30" fmla="*/ 17 w 23"/>
                  <a:gd name="T31" fmla="*/ 2 h 24"/>
                  <a:gd name="T32" fmla="*/ 21 w 23"/>
                  <a:gd name="T33" fmla="*/ 4 h 24"/>
                  <a:gd name="T34" fmla="*/ 23 w 23"/>
                  <a:gd name="T35" fmla="*/ 7 h 24"/>
                  <a:gd name="T36" fmla="*/ 23 w 23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2"/>
                    </a:lnTo>
                    <a:lnTo>
                      <a:pt x="12" y="24"/>
                    </a:lnTo>
                    <a:lnTo>
                      <a:pt x="8" y="22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7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FFD7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63" name="Freeform 69">
                <a:extLst>
                  <a:ext uri="{FF2B5EF4-FFF2-40B4-BE49-F238E27FC236}">
                    <a16:creationId xmlns:a16="http://schemas.microsoft.com/office/drawing/2014/main" id="{0D7552CB-A431-C1C4-CABD-84D8D07A6C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" y="810"/>
                <a:ext cx="23" cy="24"/>
              </a:xfrm>
              <a:custGeom>
                <a:avLst/>
                <a:gdLst>
                  <a:gd name="T0" fmla="*/ 23 w 23"/>
                  <a:gd name="T1" fmla="*/ 11 h 24"/>
                  <a:gd name="T2" fmla="*/ 23 w 23"/>
                  <a:gd name="T3" fmla="*/ 11 h 24"/>
                  <a:gd name="T4" fmla="*/ 23 w 23"/>
                  <a:gd name="T5" fmla="*/ 17 h 24"/>
                  <a:gd name="T6" fmla="*/ 21 w 23"/>
                  <a:gd name="T7" fmla="*/ 21 h 24"/>
                  <a:gd name="T8" fmla="*/ 17 w 23"/>
                  <a:gd name="T9" fmla="*/ 22 h 24"/>
                  <a:gd name="T10" fmla="*/ 12 w 23"/>
                  <a:gd name="T11" fmla="*/ 24 h 24"/>
                  <a:gd name="T12" fmla="*/ 8 w 23"/>
                  <a:gd name="T13" fmla="*/ 22 h 24"/>
                  <a:gd name="T14" fmla="*/ 4 w 23"/>
                  <a:gd name="T15" fmla="*/ 21 h 24"/>
                  <a:gd name="T16" fmla="*/ 2 w 23"/>
                  <a:gd name="T17" fmla="*/ 17 h 24"/>
                  <a:gd name="T18" fmla="*/ 0 w 23"/>
                  <a:gd name="T19" fmla="*/ 11 h 24"/>
                  <a:gd name="T20" fmla="*/ 0 w 23"/>
                  <a:gd name="T21" fmla="*/ 11 h 24"/>
                  <a:gd name="T22" fmla="*/ 2 w 23"/>
                  <a:gd name="T23" fmla="*/ 7 h 24"/>
                  <a:gd name="T24" fmla="*/ 4 w 23"/>
                  <a:gd name="T25" fmla="*/ 4 h 24"/>
                  <a:gd name="T26" fmla="*/ 8 w 23"/>
                  <a:gd name="T27" fmla="*/ 2 h 24"/>
                  <a:gd name="T28" fmla="*/ 12 w 23"/>
                  <a:gd name="T29" fmla="*/ 0 h 24"/>
                  <a:gd name="T30" fmla="*/ 17 w 23"/>
                  <a:gd name="T31" fmla="*/ 2 h 24"/>
                  <a:gd name="T32" fmla="*/ 21 w 23"/>
                  <a:gd name="T33" fmla="*/ 4 h 24"/>
                  <a:gd name="T34" fmla="*/ 23 w 23"/>
                  <a:gd name="T35" fmla="*/ 7 h 24"/>
                  <a:gd name="T36" fmla="*/ 23 w 23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2"/>
                    </a:lnTo>
                    <a:lnTo>
                      <a:pt x="12" y="24"/>
                    </a:lnTo>
                    <a:lnTo>
                      <a:pt x="8" y="22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7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FFD7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64" name="Freeform 70">
                <a:extLst>
                  <a:ext uri="{FF2B5EF4-FFF2-40B4-BE49-F238E27FC236}">
                    <a16:creationId xmlns:a16="http://schemas.microsoft.com/office/drawing/2014/main" id="{89207809-7944-D272-9F39-B3BF9329A5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" y="810"/>
                <a:ext cx="23" cy="24"/>
              </a:xfrm>
              <a:custGeom>
                <a:avLst/>
                <a:gdLst>
                  <a:gd name="T0" fmla="*/ 23 w 23"/>
                  <a:gd name="T1" fmla="*/ 11 h 24"/>
                  <a:gd name="T2" fmla="*/ 23 w 23"/>
                  <a:gd name="T3" fmla="*/ 11 h 24"/>
                  <a:gd name="T4" fmla="*/ 23 w 23"/>
                  <a:gd name="T5" fmla="*/ 17 h 24"/>
                  <a:gd name="T6" fmla="*/ 21 w 23"/>
                  <a:gd name="T7" fmla="*/ 21 h 24"/>
                  <a:gd name="T8" fmla="*/ 17 w 23"/>
                  <a:gd name="T9" fmla="*/ 22 h 24"/>
                  <a:gd name="T10" fmla="*/ 12 w 23"/>
                  <a:gd name="T11" fmla="*/ 24 h 24"/>
                  <a:gd name="T12" fmla="*/ 8 w 23"/>
                  <a:gd name="T13" fmla="*/ 22 h 24"/>
                  <a:gd name="T14" fmla="*/ 4 w 23"/>
                  <a:gd name="T15" fmla="*/ 21 h 24"/>
                  <a:gd name="T16" fmla="*/ 2 w 23"/>
                  <a:gd name="T17" fmla="*/ 17 h 24"/>
                  <a:gd name="T18" fmla="*/ 0 w 23"/>
                  <a:gd name="T19" fmla="*/ 11 h 24"/>
                  <a:gd name="T20" fmla="*/ 0 w 23"/>
                  <a:gd name="T21" fmla="*/ 11 h 24"/>
                  <a:gd name="T22" fmla="*/ 2 w 23"/>
                  <a:gd name="T23" fmla="*/ 7 h 24"/>
                  <a:gd name="T24" fmla="*/ 4 w 23"/>
                  <a:gd name="T25" fmla="*/ 4 h 24"/>
                  <a:gd name="T26" fmla="*/ 8 w 23"/>
                  <a:gd name="T27" fmla="*/ 2 h 24"/>
                  <a:gd name="T28" fmla="*/ 12 w 23"/>
                  <a:gd name="T29" fmla="*/ 0 h 24"/>
                  <a:gd name="T30" fmla="*/ 17 w 23"/>
                  <a:gd name="T31" fmla="*/ 2 h 24"/>
                  <a:gd name="T32" fmla="*/ 21 w 23"/>
                  <a:gd name="T33" fmla="*/ 4 h 24"/>
                  <a:gd name="T34" fmla="*/ 23 w 23"/>
                  <a:gd name="T35" fmla="*/ 7 h 24"/>
                  <a:gd name="T36" fmla="*/ 23 w 23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2"/>
                    </a:lnTo>
                    <a:lnTo>
                      <a:pt x="12" y="24"/>
                    </a:lnTo>
                    <a:lnTo>
                      <a:pt x="8" y="22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7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FFD7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65" name="Freeform 71">
                <a:extLst>
                  <a:ext uri="{FF2B5EF4-FFF2-40B4-BE49-F238E27FC236}">
                    <a16:creationId xmlns:a16="http://schemas.microsoft.com/office/drawing/2014/main" id="{00BCBFAE-1C97-5D9D-2633-AE81CF1812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827"/>
                <a:ext cx="23" cy="22"/>
              </a:xfrm>
              <a:custGeom>
                <a:avLst/>
                <a:gdLst>
                  <a:gd name="T0" fmla="*/ 23 w 23"/>
                  <a:gd name="T1" fmla="*/ 11 h 22"/>
                  <a:gd name="T2" fmla="*/ 23 w 23"/>
                  <a:gd name="T3" fmla="*/ 11 h 22"/>
                  <a:gd name="T4" fmla="*/ 23 w 23"/>
                  <a:gd name="T5" fmla="*/ 17 h 22"/>
                  <a:gd name="T6" fmla="*/ 19 w 23"/>
                  <a:gd name="T7" fmla="*/ 20 h 22"/>
                  <a:gd name="T8" fmla="*/ 15 w 23"/>
                  <a:gd name="T9" fmla="*/ 22 h 22"/>
                  <a:gd name="T10" fmla="*/ 12 w 23"/>
                  <a:gd name="T11" fmla="*/ 22 h 22"/>
                  <a:gd name="T12" fmla="*/ 8 w 23"/>
                  <a:gd name="T13" fmla="*/ 22 h 22"/>
                  <a:gd name="T14" fmla="*/ 4 w 23"/>
                  <a:gd name="T15" fmla="*/ 20 h 22"/>
                  <a:gd name="T16" fmla="*/ 0 w 23"/>
                  <a:gd name="T17" fmla="*/ 17 h 22"/>
                  <a:gd name="T18" fmla="*/ 0 w 23"/>
                  <a:gd name="T19" fmla="*/ 11 h 22"/>
                  <a:gd name="T20" fmla="*/ 0 w 23"/>
                  <a:gd name="T21" fmla="*/ 11 h 22"/>
                  <a:gd name="T22" fmla="*/ 0 w 23"/>
                  <a:gd name="T23" fmla="*/ 5 h 22"/>
                  <a:gd name="T24" fmla="*/ 4 w 23"/>
                  <a:gd name="T25" fmla="*/ 2 h 22"/>
                  <a:gd name="T26" fmla="*/ 8 w 23"/>
                  <a:gd name="T27" fmla="*/ 0 h 22"/>
                  <a:gd name="T28" fmla="*/ 12 w 23"/>
                  <a:gd name="T29" fmla="*/ 0 h 22"/>
                  <a:gd name="T30" fmla="*/ 15 w 23"/>
                  <a:gd name="T31" fmla="*/ 0 h 22"/>
                  <a:gd name="T32" fmla="*/ 19 w 23"/>
                  <a:gd name="T33" fmla="*/ 2 h 22"/>
                  <a:gd name="T34" fmla="*/ 23 w 23"/>
                  <a:gd name="T35" fmla="*/ 5 h 22"/>
                  <a:gd name="T36" fmla="*/ 23 w 23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2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5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FFD7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66" name="Freeform 72">
                <a:extLst>
                  <a:ext uri="{FF2B5EF4-FFF2-40B4-BE49-F238E27FC236}">
                    <a16:creationId xmlns:a16="http://schemas.microsoft.com/office/drawing/2014/main" id="{75DEBACB-8DE7-182E-C571-BF0F356ABA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827"/>
                <a:ext cx="23" cy="22"/>
              </a:xfrm>
              <a:custGeom>
                <a:avLst/>
                <a:gdLst>
                  <a:gd name="T0" fmla="*/ 23 w 23"/>
                  <a:gd name="T1" fmla="*/ 11 h 22"/>
                  <a:gd name="T2" fmla="*/ 23 w 23"/>
                  <a:gd name="T3" fmla="*/ 11 h 22"/>
                  <a:gd name="T4" fmla="*/ 23 w 23"/>
                  <a:gd name="T5" fmla="*/ 17 h 22"/>
                  <a:gd name="T6" fmla="*/ 19 w 23"/>
                  <a:gd name="T7" fmla="*/ 20 h 22"/>
                  <a:gd name="T8" fmla="*/ 15 w 23"/>
                  <a:gd name="T9" fmla="*/ 22 h 22"/>
                  <a:gd name="T10" fmla="*/ 12 w 23"/>
                  <a:gd name="T11" fmla="*/ 22 h 22"/>
                  <a:gd name="T12" fmla="*/ 8 w 23"/>
                  <a:gd name="T13" fmla="*/ 22 h 22"/>
                  <a:gd name="T14" fmla="*/ 4 w 23"/>
                  <a:gd name="T15" fmla="*/ 20 h 22"/>
                  <a:gd name="T16" fmla="*/ 0 w 23"/>
                  <a:gd name="T17" fmla="*/ 17 h 22"/>
                  <a:gd name="T18" fmla="*/ 0 w 23"/>
                  <a:gd name="T19" fmla="*/ 11 h 22"/>
                  <a:gd name="T20" fmla="*/ 0 w 23"/>
                  <a:gd name="T21" fmla="*/ 11 h 22"/>
                  <a:gd name="T22" fmla="*/ 0 w 23"/>
                  <a:gd name="T23" fmla="*/ 5 h 22"/>
                  <a:gd name="T24" fmla="*/ 4 w 23"/>
                  <a:gd name="T25" fmla="*/ 2 h 22"/>
                  <a:gd name="T26" fmla="*/ 8 w 23"/>
                  <a:gd name="T27" fmla="*/ 0 h 22"/>
                  <a:gd name="T28" fmla="*/ 12 w 23"/>
                  <a:gd name="T29" fmla="*/ 0 h 22"/>
                  <a:gd name="T30" fmla="*/ 15 w 23"/>
                  <a:gd name="T31" fmla="*/ 0 h 22"/>
                  <a:gd name="T32" fmla="*/ 19 w 23"/>
                  <a:gd name="T33" fmla="*/ 2 h 22"/>
                  <a:gd name="T34" fmla="*/ 23 w 23"/>
                  <a:gd name="T35" fmla="*/ 5 h 22"/>
                  <a:gd name="T36" fmla="*/ 23 w 23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2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5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FFD7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67" name="Freeform 73">
                <a:extLst>
                  <a:ext uri="{FF2B5EF4-FFF2-40B4-BE49-F238E27FC236}">
                    <a16:creationId xmlns:a16="http://schemas.microsoft.com/office/drawing/2014/main" id="{DE6AF67D-8740-95CB-F2A9-EA47380EFD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  <a:close/>
                  </a:path>
                </a:pathLst>
              </a:custGeom>
              <a:solidFill>
                <a:srgbClr val="7EC0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68" name="Freeform 74">
                <a:extLst>
                  <a:ext uri="{FF2B5EF4-FFF2-40B4-BE49-F238E27FC236}">
                    <a16:creationId xmlns:a16="http://schemas.microsoft.com/office/drawing/2014/main" id="{A6ACB08C-EA32-2433-E967-55D9E029DE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</a:path>
                </a:pathLst>
              </a:custGeom>
              <a:noFill/>
              <a:ln w="9525">
                <a:solidFill>
                  <a:srgbClr val="7EC0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69" name="Freeform 75">
                <a:extLst>
                  <a:ext uri="{FF2B5EF4-FFF2-40B4-BE49-F238E27FC236}">
                    <a16:creationId xmlns:a16="http://schemas.microsoft.com/office/drawing/2014/main" id="{EB742DDC-7037-DF56-941D-11B7DD7D75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" y="1473"/>
                <a:ext cx="22" cy="25"/>
              </a:xfrm>
              <a:custGeom>
                <a:avLst/>
                <a:gdLst>
                  <a:gd name="T0" fmla="*/ 22 w 22"/>
                  <a:gd name="T1" fmla="*/ 14 h 25"/>
                  <a:gd name="T2" fmla="*/ 22 w 22"/>
                  <a:gd name="T3" fmla="*/ 14 h 25"/>
                  <a:gd name="T4" fmla="*/ 22 w 22"/>
                  <a:gd name="T5" fmla="*/ 17 h 25"/>
                  <a:gd name="T6" fmla="*/ 21 w 22"/>
                  <a:gd name="T7" fmla="*/ 21 h 25"/>
                  <a:gd name="T8" fmla="*/ 17 w 22"/>
                  <a:gd name="T9" fmla="*/ 23 h 25"/>
                  <a:gd name="T10" fmla="*/ 11 w 22"/>
                  <a:gd name="T11" fmla="*/ 25 h 25"/>
                  <a:gd name="T12" fmla="*/ 7 w 22"/>
                  <a:gd name="T13" fmla="*/ 23 h 25"/>
                  <a:gd name="T14" fmla="*/ 4 w 22"/>
                  <a:gd name="T15" fmla="*/ 21 h 25"/>
                  <a:gd name="T16" fmla="*/ 2 w 22"/>
                  <a:gd name="T17" fmla="*/ 17 h 25"/>
                  <a:gd name="T18" fmla="*/ 0 w 22"/>
                  <a:gd name="T19" fmla="*/ 14 h 25"/>
                  <a:gd name="T20" fmla="*/ 0 w 22"/>
                  <a:gd name="T21" fmla="*/ 14 h 25"/>
                  <a:gd name="T22" fmla="*/ 2 w 22"/>
                  <a:gd name="T23" fmla="*/ 8 h 25"/>
                  <a:gd name="T24" fmla="*/ 4 w 22"/>
                  <a:gd name="T25" fmla="*/ 4 h 25"/>
                  <a:gd name="T26" fmla="*/ 7 w 22"/>
                  <a:gd name="T27" fmla="*/ 2 h 25"/>
                  <a:gd name="T28" fmla="*/ 11 w 22"/>
                  <a:gd name="T29" fmla="*/ 0 h 25"/>
                  <a:gd name="T30" fmla="*/ 17 w 22"/>
                  <a:gd name="T31" fmla="*/ 2 h 25"/>
                  <a:gd name="T32" fmla="*/ 21 w 22"/>
                  <a:gd name="T33" fmla="*/ 4 h 25"/>
                  <a:gd name="T34" fmla="*/ 22 w 22"/>
                  <a:gd name="T35" fmla="*/ 8 h 25"/>
                  <a:gd name="T36" fmla="*/ 22 w 22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5">
                    <a:moveTo>
                      <a:pt x="22" y="14"/>
                    </a:moveTo>
                    <a:lnTo>
                      <a:pt x="22" y="14"/>
                    </a:lnTo>
                    <a:lnTo>
                      <a:pt x="22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2" y="8"/>
                    </a:lnTo>
                    <a:lnTo>
                      <a:pt x="22" y="14"/>
                    </a:lnTo>
                    <a:close/>
                  </a:path>
                </a:pathLst>
              </a:custGeom>
              <a:solidFill>
                <a:srgbClr val="7EC0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70" name="Freeform 76">
                <a:extLst>
                  <a:ext uri="{FF2B5EF4-FFF2-40B4-BE49-F238E27FC236}">
                    <a16:creationId xmlns:a16="http://schemas.microsoft.com/office/drawing/2014/main" id="{ABC702D4-124C-80B4-68D4-60E2CD7AE2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" y="1473"/>
                <a:ext cx="22" cy="25"/>
              </a:xfrm>
              <a:custGeom>
                <a:avLst/>
                <a:gdLst>
                  <a:gd name="T0" fmla="*/ 22 w 22"/>
                  <a:gd name="T1" fmla="*/ 14 h 25"/>
                  <a:gd name="T2" fmla="*/ 22 w 22"/>
                  <a:gd name="T3" fmla="*/ 14 h 25"/>
                  <a:gd name="T4" fmla="*/ 22 w 22"/>
                  <a:gd name="T5" fmla="*/ 17 h 25"/>
                  <a:gd name="T6" fmla="*/ 21 w 22"/>
                  <a:gd name="T7" fmla="*/ 21 h 25"/>
                  <a:gd name="T8" fmla="*/ 17 w 22"/>
                  <a:gd name="T9" fmla="*/ 23 h 25"/>
                  <a:gd name="T10" fmla="*/ 11 w 22"/>
                  <a:gd name="T11" fmla="*/ 25 h 25"/>
                  <a:gd name="T12" fmla="*/ 7 w 22"/>
                  <a:gd name="T13" fmla="*/ 23 h 25"/>
                  <a:gd name="T14" fmla="*/ 4 w 22"/>
                  <a:gd name="T15" fmla="*/ 21 h 25"/>
                  <a:gd name="T16" fmla="*/ 2 w 22"/>
                  <a:gd name="T17" fmla="*/ 17 h 25"/>
                  <a:gd name="T18" fmla="*/ 0 w 22"/>
                  <a:gd name="T19" fmla="*/ 14 h 25"/>
                  <a:gd name="T20" fmla="*/ 0 w 22"/>
                  <a:gd name="T21" fmla="*/ 14 h 25"/>
                  <a:gd name="T22" fmla="*/ 2 w 22"/>
                  <a:gd name="T23" fmla="*/ 8 h 25"/>
                  <a:gd name="T24" fmla="*/ 4 w 22"/>
                  <a:gd name="T25" fmla="*/ 4 h 25"/>
                  <a:gd name="T26" fmla="*/ 7 w 22"/>
                  <a:gd name="T27" fmla="*/ 2 h 25"/>
                  <a:gd name="T28" fmla="*/ 11 w 22"/>
                  <a:gd name="T29" fmla="*/ 0 h 25"/>
                  <a:gd name="T30" fmla="*/ 17 w 22"/>
                  <a:gd name="T31" fmla="*/ 2 h 25"/>
                  <a:gd name="T32" fmla="*/ 21 w 22"/>
                  <a:gd name="T33" fmla="*/ 4 h 25"/>
                  <a:gd name="T34" fmla="*/ 22 w 22"/>
                  <a:gd name="T35" fmla="*/ 8 h 25"/>
                  <a:gd name="T36" fmla="*/ 22 w 22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5">
                    <a:moveTo>
                      <a:pt x="22" y="14"/>
                    </a:moveTo>
                    <a:lnTo>
                      <a:pt x="22" y="14"/>
                    </a:lnTo>
                    <a:lnTo>
                      <a:pt x="22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2" y="8"/>
                    </a:lnTo>
                    <a:lnTo>
                      <a:pt x="22" y="14"/>
                    </a:lnTo>
                  </a:path>
                </a:pathLst>
              </a:custGeom>
              <a:noFill/>
              <a:ln w="9525">
                <a:solidFill>
                  <a:srgbClr val="7EC0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71" name="Freeform 77">
                <a:extLst>
                  <a:ext uri="{FF2B5EF4-FFF2-40B4-BE49-F238E27FC236}">
                    <a16:creationId xmlns:a16="http://schemas.microsoft.com/office/drawing/2014/main" id="{2FFC89A0-27A3-EAE7-7944-2440644D39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1238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2"/>
                    </a:lnTo>
                    <a:close/>
                  </a:path>
                </a:pathLst>
              </a:custGeom>
              <a:solidFill>
                <a:srgbClr val="7EC0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72" name="Freeform 78">
                <a:extLst>
                  <a:ext uri="{FF2B5EF4-FFF2-40B4-BE49-F238E27FC236}">
                    <a16:creationId xmlns:a16="http://schemas.microsoft.com/office/drawing/2014/main" id="{214B76E2-062C-7048-EF45-CC5753FB04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1238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2"/>
                    </a:lnTo>
                  </a:path>
                </a:pathLst>
              </a:custGeom>
              <a:noFill/>
              <a:ln w="9525">
                <a:solidFill>
                  <a:srgbClr val="7EC0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73" name="Freeform 79">
                <a:extLst>
                  <a:ext uri="{FF2B5EF4-FFF2-40B4-BE49-F238E27FC236}">
                    <a16:creationId xmlns:a16="http://schemas.microsoft.com/office/drawing/2014/main" id="{DE248AA5-C661-27FA-C0F6-93AF5F60CE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1077"/>
                <a:ext cx="23" cy="24"/>
              </a:xfrm>
              <a:custGeom>
                <a:avLst/>
                <a:gdLst>
                  <a:gd name="T0" fmla="*/ 23 w 23"/>
                  <a:gd name="T1" fmla="*/ 11 h 24"/>
                  <a:gd name="T2" fmla="*/ 23 w 23"/>
                  <a:gd name="T3" fmla="*/ 11 h 24"/>
                  <a:gd name="T4" fmla="*/ 23 w 23"/>
                  <a:gd name="T5" fmla="*/ 17 h 24"/>
                  <a:gd name="T6" fmla="*/ 19 w 23"/>
                  <a:gd name="T7" fmla="*/ 21 h 24"/>
                  <a:gd name="T8" fmla="*/ 15 w 23"/>
                  <a:gd name="T9" fmla="*/ 22 h 24"/>
                  <a:gd name="T10" fmla="*/ 12 w 23"/>
                  <a:gd name="T11" fmla="*/ 24 h 24"/>
                  <a:gd name="T12" fmla="*/ 8 w 23"/>
                  <a:gd name="T13" fmla="*/ 22 h 24"/>
                  <a:gd name="T14" fmla="*/ 4 w 23"/>
                  <a:gd name="T15" fmla="*/ 21 h 24"/>
                  <a:gd name="T16" fmla="*/ 0 w 23"/>
                  <a:gd name="T17" fmla="*/ 17 h 24"/>
                  <a:gd name="T18" fmla="*/ 0 w 23"/>
                  <a:gd name="T19" fmla="*/ 11 h 24"/>
                  <a:gd name="T20" fmla="*/ 0 w 23"/>
                  <a:gd name="T21" fmla="*/ 11 h 24"/>
                  <a:gd name="T22" fmla="*/ 0 w 23"/>
                  <a:gd name="T23" fmla="*/ 7 h 24"/>
                  <a:gd name="T24" fmla="*/ 4 w 23"/>
                  <a:gd name="T25" fmla="*/ 4 h 24"/>
                  <a:gd name="T26" fmla="*/ 8 w 23"/>
                  <a:gd name="T27" fmla="*/ 2 h 24"/>
                  <a:gd name="T28" fmla="*/ 12 w 23"/>
                  <a:gd name="T29" fmla="*/ 0 h 24"/>
                  <a:gd name="T30" fmla="*/ 15 w 23"/>
                  <a:gd name="T31" fmla="*/ 2 h 24"/>
                  <a:gd name="T32" fmla="*/ 19 w 23"/>
                  <a:gd name="T33" fmla="*/ 4 h 24"/>
                  <a:gd name="T34" fmla="*/ 23 w 23"/>
                  <a:gd name="T35" fmla="*/ 7 h 24"/>
                  <a:gd name="T36" fmla="*/ 23 w 23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2"/>
                    </a:lnTo>
                    <a:lnTo>
                      <a:pt x="12" y="24"/>
                    </a:lnTo>
                    <a:lnTo>
                      <a:pt x="8" y="22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7EC0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74" name="Freeform 80">
                <a:extLst>
                  <a:ext uri="{FF2B5EF4-FFF2-40B4-BE49-F238E27FC236}">
                    <a16:creationId xmlns:a16="http://schemas.microsoft.com/office/drawing/2014/main" id="{83971CB8-EF5E-D549-370D-EA3AA1C266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1077"/>
                <a:ext cx="23" cy="24"/>
              </a:xfrm>
              <a:custGeom>
                <a:avLst/>
                <a:gdLst>
                  <a:gd name="T0" fmla="*/ 23 w 23"/>
                  <a:gd name="T1" fmla="*/ 11 h 24"/>
                  <a:gd name="T2" fmla="*/ 23 w 23"/>
                  <a:gd name="T3" fmla="*/ 11 h 24"/>
                  <a:gd name="T4" fmla="*/ 23 w 23"/>
                  <a:gd name="T5" fmla="*/ 17 h 24"/>
                  <a:gd name="T6" fmla="*/ 19 w 23"/>
                  <a:gd name="T7" fmla="*/ 21 h 24"/>
                  <a:gd name="T8" fmla="*/ 15 w 23"/>
                  <a:gd name="T9" fmla="*/ 22 h 24"/>
                  <a:gd name="T10" fmla="*/ 12 w 23"/>
                  <a:gd name="T11" fmla="*/ 24 h 24"/>
                  <a:gd name="T12" fmla="*/ 8 w 23"/>
                  <a:gd name="T13" fmla="*/ 22 h 24"/>
                  <a:gd name="T14" fmla="*/ 4 w 23"/>
                  <a:gd name="T15" fmla="*/ 21 h 24"/>
                  <a:gd name="T16" fmla="*/ 0 w 23"/>
                  <a:gd name="T17" fmla="*/ 17 h 24"/>
                  <a:gd name="T18" fmla="*/ 0 w 23"/>
                  <a:gd name="T19" fmla="*/ 11 h 24"/>
                  <a:gd name="T20" fmla="*/ 0 w 23"/>
                  <a:gd name="T21" fmla="*/ 11 h 24"/>
                  <a:gd name="T22" fmla="*/ 0 w 23"/>
                  <a:gd name="T23" fmla="*/ 7 h 24"/>
                  <a:gd name="T24" fmla="*/ 4 w 23"/>
                  <a:gd name="T25" fmla="*/ 4 h 24"/>
                  <a:gd name="T26" fmla="*/ 8 w 23"/>
                  <a:gd name="T27" fmla="*/ 2 h 24"/>
                  <a:gd name="T28" fmla="*/ 12 w 23"/>
                  <a:gd name="T29" fmla="*/ 0 h 24"/>
                  <a:gd name="T30" fmla="*/ 15 w 23"/>
                  <a:gd name="T31" fmla="*/ 2 h 24"/>
                  <a:gd name="T32" fmla="*/ 19 w 23"/>
                  <a:gd name="T33" fmla="*/ 4 h 24"/>
                  <a:gd name="T34" fmla="*/ 23 w 23"/>
                  <a:gd name="T35" fmla="*/ 7 h 24"/>
                  <a:gd name="T36" fmla="*/ 23 w 23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2"/>
                    </a:lnTo>
                    <a:lnTo>
                      <a:pt x="12" y="24"/>
                    </a:lnTo>
                    <a:lnTo>
                      <a:pt x="8" y="22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7EC0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75" name="Freeform 81">
                <a:extLst>
                  <a:ext uri="{FF2B5EF4-FFF2-40B4-BE49-F238E27FC236}">
                    <a16:creationId xmlns:a16="http://schemas.microsoft.com/office/drawing/2014/main" id="{A44F02C0-080E-4290-A59C-7681BFB366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1135"/>
                <a:ext cx="23" cy="23"/>
              </a:xfrm>
              <a:custGeom>
                <a:avLst/>
                <a:gdLst>
                  <a:gd name="T0" fmla="*/ 23 w 23"/>
                  <a:gd name="T1" fmla="*/ 11 h 23"/>
                  <a:gd name="T2" fmla="*/ 23 w 23"/>
                  <a:gd name="T3" fmla="*/ 11 h 23"/>
                  <a:gd name="T4" fmla="*/ 21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6 w 23"/>
                  <a:gd name="T13" fmla="*/ 23 h 23"/>
                  <a:gd name="T14" fmla="*/ 2 w 23"/>
                  <a:gd name="T15" fmla="*/ 21 h 23"/>
                  <a:gd name="T16" fmla="*/ 0 w 23"/>
                  <a:gd name="T17" fmla="*/ 17 h 23"/>
                  <a:gd name="T18" fmla="*/ 0 w 23"/>
                  <a:gd name="T19" fmla="*/ 11 h 23"/>
                  <a:gd name="T20" fmla="*/ 0 w 23"/>
                  <a:gd name="T21" fmla="*/ 11 h 23"/>
                  <a:gd name="T22" fmla="*/ 0 w 23"/>
                  <a:gd name="T23" fmla="*/ 6 h 23"/>
                  <a:gd name="T24" fmla="*/ 2 w 23"/>
                  <a:gd name="T25" fmla="*/ 4 h 23"/>
                  <a:gd name="T26" fmla="*/ 6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4 h 23"/>
                  <a:gd name="T34" fmla="*/ 21 w 23"/>
                  <a:gd name="T35" fmla="*/ 6 h 23"/>
                  <a:gd name="T36" fmla="*/ 23 w 23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1"/>
                    </a:moveTo>
                    <a:lnTo>
                      <a:pt x="23" y="11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4"/>
                    </a:lnTo>
                    <a:lnTo>
                      <a:pt x="21" y="6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7EC0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76" name="Freeform 82">
                <a:extLst>
                  <a:ext uri="{FF2B5EF4-FFF2-40B4-BE49-F238E27FC236}">
                    <a16:creationId xmlns:a16="http://schemas.microsoft.com/office/drawing/2014/main" id="{D0C00E84-A9FE-D19F-8226-677DF1FF27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1135"/>
                <a:ext cx="23" cy="23"/>
              </a:xfrm>
              <a:custGeom>
                <a:avLst/>
                <a:gdLst>
                  <a:gd name="T0" fmla="*/ 23 w 23"/>
                  <a:gd name="T1" fmla="*/ 11 h 23"/>
                  <a:gd name="T2" fmla="*/ 23 w 23"/>
                  <a:gd name="T3" fmla="*/ 11 h 23"/>
                  <a:gd name="T4" fmla="*/ 21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6 w 23"/>
                  <a:gd name="T13" fmla="*/ 23 h 23"/>
                  <a:gd name="T14" fmla="*/ 2 w 23"/>
                  <a:gd name="T15" fmla="*/ 21 h 23"/>
                  <a:gd name="T16" fmla="*/ 0 w 23"/>
                  <a:gd name="T17" fmla="*/ 17 h 23"/>
                  <a:gd name="T18" fmla="*/ 0 w 23"/>
                  <a:gd name="T19" fmla="*/ 11 h 23"/>
                  <a:gd name="T20" fmla="*/ 0 w 23"/>
                  <a:gd name="T21" fmla="*/ 11 h 23"/>
                  <a:gd name="T22" fmla="*/ 0 w 23"/>
                  <a:gd name="T23" fmla="*/ 6 h 23"/>
                  <a:gd name="T24" fmla="*/ 2 w 23"/>
                  <a:gd name="T25" fmla="*/ 4 h 23"/>
                  <a:gd name="T26" fmla="*/ 6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4 h 23"/>
                  <a:gd name="T34" fmla="*/ 21 w 23"/>
                  <a:gd name="T35" fmla="*/ 6 h 23"/>
                  <a:gd name="T36" fmla="*/ 23 w 23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1"/>
                    </a:moveTo>
                    <a:lnTo>
                      <a:pt x="23" y="11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4"/>
                    </a:lnTo>
                    <a:lnTo>
                      <a:pt x="21" y="6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7EC0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77" name="Freeform 83">
                <a:extLst>
                  <a:ext uri="{FF2B5EF4-FFF2-40B4-BE49-F238E27FC236}">
                    <a16:creationId xmlns:a16="http://schemas.microsoft.com/office/drawing/2014/main" id="{07AF488D-27BF-0D75-6D6D-3E3C9D3932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" y="1075"/>
                <a:ext cx="25" cy="23"/>
              </a:xfrm>
              <a:custGeom>
                <a:avLst/>
                <a:gdLst>
                  <a:gd name="T0" fmla="*/ 25 w 25"/>
                  <a:gd name="T1" fmla="*/ 11 h 23"/>
                  <a:gd name="T2" fmla="*/ 25 w 25"/>
                  <a:gd name="T3" fmla="*/ 11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3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1 h 23"/>
                  <a:gd name="T20" fmla="*/ 0 w 25"/>
                  <a:gd name="T21" fmla="*/ 11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3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1"/>
                    </a:lnTo>
                    <a:close/>
                  </a:path>
                </a:pathLst>
              </a:custGeom>
              <a:solidFill>
                <a:srgbClr val="7EC0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78" name="Freeform 84">
                <a:extLst>
                  <a:ext uri="{FF2B5EF4-FFF2-40B4-BE49-F238E27FC236}">
                    <a16:creationId xmlns:a16="http://schemas.microsoft.com/office/drawing/2014/main" id="{F8E7F03D-5D59-7B51-8DA5-40F277D4F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" y="1075"/>
                <a:ext cx="25" cy="23"/>
              </a:xfrm>
              <a:custGeom>
                <a:avLst/>
                <a:gdLst>
                  <a:gd name="T0" fmla="*/ 25 w 25"/>
                  <a:gd name="T1" fmla="*/ 11 h 23"/>
                  <a:gd name="T2" fmla="*/ 25 w 25"/>
                  <a:gd name="T3" fmla="*/ 11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3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1 h 23"/>
                  <a:gd name="T20" fmla="*/ 0 w 25"/>
                  <a:gd name="T21" fmla="*/ 11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3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1"/>
                    </a:lnTo>
                  </a:path>
                </a:pathLst>
              </a:custGeom>
              <a:noFill/>
              <a:ln w="9525">
                <a:solidFill>
                  <a:srgbClr val="7EC0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79" name="Freeform 85">
                <a:extLst>
                  <a:ext uri="{FF2B5EF4-FFF2-40B4-BE49-F238E27FC236}">
                    <a16:creationId xmlns:a16="http://schemas.microsoft.com/office/drawing/2014/main" id="{A9D81F91-0D5C-4CB1-D69B-66B507BB3E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1092"/>
                <a:ext cx="24" cy="24"/>
              </a:xfrm>
              <a:custGeom>
                <a:avLst/>
                <a:gdLst>
                  <a:gd name="T0" fmla="*/ 24 w 24"/>
                  <a:gd name="T1" fmla="*/ 13 h 24"/>
                  <a:gd name="T2" fmla="*/ 24 w 24"/>
                  <a:gd name="T3" fmla="*/ 13 h 24"/>
                  <a:gd name="T4" fmla="*/ 22 w 24"/>
                  <a:gd name="T5" fmla="*/ 17 h 24"/>
                  <a:gd name="T6" fmla="*/ 21 w 24"/>
                  <a:gd name="T7" fmla="*/ 21 h 24"/>
                  <a:gd name="T8" fmla="*/ 17 w 24"/>
                  <a:gd name="T9" fmla="*/ 24 h 24"/>
                  <a:gd name="T10" fmla="*/ 11 w 24"/>
                  <a:gd name="T11" fmla="*/ 24 h 24"/>
                  <a:gd name="T12" fmla="*/ 7 w 24"/>
                  <a:gd name="T13" fmla="*/ 24 h 24"/>
                  <a:gd name="T14" fmla="*/ 4 w 24"/>
                  <a:gd name="T15" fmla="*/ 21 h 24"/>
                  <a:gd name="T16" fmla="*/ 2 w 24"/>
                  <a:gd name="T17" fmla="*/ 17 h 24"/>
                  <a:gd name="T18" fmla="*/ 0 w 24"/>
                  <a:gd name="T19" fmla="*/ 13 h 24"/>
                  <a:gd name="T20" fmla="*/ 0 w 24"/>
                  <a:gd name="T21" fmla="*/ 13 h 24"/>
                  <a:gd name="T22" fmla="*/ 2 w 24"/>
                  <a:gd name="T23" fmla="*/ 7 h 24"/>
                  <a:gd name="T24" fmla="*/ 4 w 24"/>
                  <a:gd name="T25" fmla="*/ 4 h 24"/>
                  <a:gd name="T26" fmla="*/ 7 w 24"/>
                  <a:gd name="T27" fmla="*/ 2 h 24"/>
                  <a:gd name="T28" fmla="*/ 11 w 24"/>
                  <a:gd name="T29" fmla="*/ 0 h 24"/>
                  <a:gd name="T30" fmla="*/ 17 w 24"/>
                  <a:gd name="T31" fmla="*/ 2 h 24"/>
                  <a:gd name="T32" fmla="*/ 21 w 24"/>
                  <a:gd name="T33" fmla="*/ 4 h 24"/>
                  <a:gd name="T34" fmla="*/ 22 w 24"/>
                  <a:gd name="T35" fmla="*/ 7 h 24"/>
                  <a:gd name="T36" fmla="*/ 24 w 24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4">
                    <a:moveTo>
                      <a:pt x="24" y="13"/>
                    </a:moveTo>
                    <a:lnTo>
                      <a:pt x="24" y="13"/>
                    </a:lnTo>
                    <a:lnTo>
                      <a:pt x="22" y="17"/>
                    </a:lnTo>
                    <a:lnTo>
                      <a:pt x="21" y="21"/>
                    </a:lnTo>
                    <a:lnTo>
                      <a:pt x="17" y="24"/>
                    </a:lnTo>
                    <a:lnTo>
                      <a:pt x="11" y="24"/>
                    </a:lnTo>
                    <a:lnTo>
                      <a:pt x="7" y="24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2" y="7"/>
                    </a:lnTo>
                    <a:lnTo>
                      <a:pt x="24" y="13"/>
                    </a:lnTo>
                    <a:close/>
                  </a:path>
                </a:pathLst>
              </a:custGeom>
              <a:solidFill>
                <a:srgbClr val="7EC0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80" name="Freeform 86">
                <a:extLst>
                  <a:ext uri="{FF2B5EF4-FFF2-40B4-BE49-F238E27FC236}">
                    <a16:creationId xmlns:a16="http://schemas.microsoft.com/office/drawing/2014/main" id="{0DEF7209-3FB4-06F4-C2E4-D4AF0CD9E9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1092"/>
                <a:ext cx="24" cy="24"/>
              </a:xfrm>
              <a:custGeom>
                <a:avLst/>
                <a:gdLst>
                  <a:gd name="T0" fmla="*/ 24 w 24"/>
                  <a:gd name="T1" fmla="*/ 13 h 24"/>
                  <a:gd name="T2" fmla="*/ 24 w 24"/>
                  <a:gd name="T3" fmla="*/ 13 h 24"/>
                  <a:gd name="T4" fmla="*/ 22 w 24"/>
                  <a:gd name="T5" fmla="*/ 17 h 24"/>
                  <a:gd name="T6" fmla="*/ 21 w 24"/>
                  <a:gd name="T7" fmla="*/ 21 h 24"/>
                  <a:gd name="T8" fmla="*/ 17 w 24"/>
                  <a:gd name="T9" fmla="*/ 24 h 24"/>
                  <a:gd name="T10" fmla="*/ 11 w 24"/>
                  <a:gd name="T11" fmla="*/ 24 h 24"/>
                  <a:gd name="T12" fmla="*/ 7 w 24"/>
                  <a:gd name="T13" fmla="*/ 24 h 24"/>
                  <a:gd name="T14" fmla="*/ 4 w 24"/>
                  <a:gd name="T15" fmla="*/ 21 h 24"/>
                  <a:gd name="T16" fmla="*/ 2 w 24"/>
                  <a:gd name="T17" fmla="*/ 17 h 24"/>
                  <a:gd name="T18" fmla="*/ 0 w 24"/>
                  <a:gd name="T19" fmla="*/ 13 h 24"/>
                  <a:gd name="T20" fmla="*/ 0 w 24"/>
                  <a:gd name="T21" fmla="*/ 13 h 24"/>
                  <a:gd name="T22" fmla="*/ 2 w 24"/>
                  <a:gd name="T23" fmla="*/ 7 h 24"/>
                  <a:gd name="T24" fmla="*/ 4 w 24"/>
                  <a:gd name="T25" fmla="*/ 4 h 24"/>
                  <a:gd name="T26" fmla="*/ 7 w 24"/>
                  <a:gd name="T27" fmla="*/ 2 h 24"/>
                  <a:gd name="T28" fmla="*/ 11 w 24"/>
                  <a:gd name="T29" fmla="*/ 0 h 24"/>
                  <a:gd name="T30" fmla="*/ 17 w 24"/>
                  <a:gd name="T31" fmla="*/ 2 h 24"/>
                  <a:gd name="T32" fmla="*/ 21 w 24"/>
                  <a:gd name="T33" fmla="*/ 4 h 24"/>
                  <a:gd name="T34" fmla="*/ 22 w 24"/>
                  <a:gd name="T35" fmla="*/ 7 h 24"/>
                  <a:gd name="T36" fmla="*/ 24 w 24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4">
                    <a:moveTo>
                      <a:pt x="24" y="13"/>
                    </a:moveTo>
                    <a:lnTo>
                      <a:pt x="24" y="13"/>
                    </a:lnTo>
                    <a:lnTo>
                      <a:pt x="22" y="17"/>
                    </a:lnTo>
                    <a:lnTo>
                      <a:pt x="21" y="21"/>
                    </a:lnTo>
                    <a:lnTo>
                      <a:pt x="17" y="24"/>
                    </a:lnTo>
                    <a:lnTo>
                      <a:pt x="11" y="24"/>
                    </a:lnTo>
                    <a:lnTo>
                      <a:pt x="7" y="24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2" y="7"/>
                    </a:lnTo>
                    <a:lnTo>
                      <a:pt x="24" y="13"/>
                    </a:lnTo>
                  </a:path>
                </a:pathLst>
              </a:custGeom>
              <a:noFill/>
              <a:ln w="9525">
                <a:solidFill>
                  <a:srgbClr val="7EC0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81" name="Freeform 87">
                <a:extLst>
                  <a:ext uri="{FF2B5EF4-FFF2-40B4-BE49-F238E27FC236}">
                    <a16:creationId xmlns:a16="http://schemas.microsoft.com/office/drawing/2014/main" id="{7E7D3AB9-93A9-0D57-94D7-1B2B1801D0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" y="970"/>
                <a:ext cx="24" cy="24"/>
              </a:xfrm>
              <a:custGeom>
                <a:avLst/>
                <a:gdLst>
                  <a:gd name="T0" fmla="*/ 24 w 24"/>
                  <a:gd name="T1" fmla="*/ 11 h 24"/>
                  <a:gd name="T2" fmla="*/ 24 w 24"/>
                  <a:gd name="T3" fmla="*/ 11 h 24"/>
                  <a:gd name="T4" fmla="*/ 22 w 24"/>
                  <a:gd name="T5" fmla="*/ 17 h 24"/>
                  <a:gd name="T6" fmla="*/ 20 w 24"/>
                  <a:gd name="T7" fmla="*/ 20 h 24"/>
                  <a:gd name="T8" fmla="*/ 17 w 24"/>
                  <a:gd name="T9" fmla="*/ 22 h 24"/>
                  <a:gd name="T10" fmla="*/ 11 w 24"/>
                  <a:gd name="T11" fmla="*/ 24 h 24"/>
                  <a:gd name="T12" fmla="*/ 7 w 24"/>
                  <a:gd name="T13" fmla="*/ 22 h 24"/>
                  <a:gd name="T14" fmla="*/ 3 w 24"/>
                  <a:gd name="T15" fmla="*/ 20 h 24"/>
                  <a:gd name="T16" fmla="*/ 2 w 24"/>
                  <a:gd name="T17" fmla="*/ 17 h 24"/>
                  <a:gd name="T18" fmla="*/ 0 w 24"/>
                  <a:gd name="T19" fmla="*/ 11 h 24"/>
                  <a:gd name="T20" fmla="*/ 0 w 24"/>
                  <a:gd name="T21" fmla="*/ 11 h 24"/>
                  <a:gd name="T22" fmla="*/ 2 w 24"/>
                  <a:gd name="T23" fmla="*/ 7 h 24"/>
                  <a:gd name="T24" fmla="*/ 3 w 24"/>
                  <a:gd name="T25" fmla="*/ 3 h 24"/>
                  <a:gd name="T26" fmla="*/ 7 w 24"/>
                  <a:gd name="T27" fmla="*/ 2 h 24"/>
                  <a:gd name="T28" fmla="*/ 11 w 24"/>
                  <a:gd name="T29" fmla="*/ 0 h 24"/>
                  <a:gd name="T30" fmla="*/ 17 w 24"/>
                  <a:gd name="T31" fmla="*/ 2 h 24"/>
                  <a:gd name="T32" fmla="*/ 20 w 24"/>
                  <a:gd name="T33" fmla="*/ 3 h 24"/>
                  <a:gd name="T34" fmla="*/ 22 w 24"/>
                  <a:gd name="T35" fmla="*/ 7 h 24"/>
                  <a:gd name="T36" fmla="*/ 24 w 24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4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7"/>
                    </a:lnTo>
                    <a:lnTo>
                      <a:pt x="20" y="20"/>
                    </a:lnTo>
                    <a:lnTo>
                      <a:pt x="17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3" y="3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0" y="3"/>
                    </a:lnTo>
                    <a:lnTo>
                      <a:pt x="22" y="7"/>
                    </a:lnTo>
                    <a:lnTo>
                      <a:pt x="24" y="11"/>
                    </a:lnTo>
                    <a:close/>
                  </a:path>
                </a:pathLst>
              </a:custGeom>
              <a:solidFill>
                <a:srgbClr val="7EC0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82" name="Freeform 88">
                <a:extLst>
                  <a:ext uri="{FF2B5EF4-FFF2-40B4-BE49-F238E27FC236}">
                    <a16:creationId xmlns:a16="http://schemas.microsoft.com/office/drawing/2014/main" id="{7BCC5018-EE13-E103-BEFB-36097D8948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" y="970"/>
                <a:ext cx="24" cy="24"/>
              </a:xfrm>
              <a:custGeom>
                <a:avLst/>
                <a:gdLst>
                  <a:gd name="T0" fmla="*/ 24 w 24"/>
                  <a:gd name="T1" fmla="*/ 11 h 24"/>
                  <a:gd name="T2" fmla="*/ 24 w 24"/>
                  <a:gd name="T3" fmla="*/ 11 h 24"/>
                  <a:gd name="T4" fmla="*/ 22 w 24"/>
                  <a:gd name="T5" fmla="*/ 17 h 24"/>
                  <a:gd name="T6" fmla="*/ 20 w 24"/>
                  <a:gd name="T7" fmla="*/ 20 h 24"/>
                  <a:gd name="T8" fmla="*/ 17 w 24"/>
                  <a:gd name="T9" fmla="*/ 22 h 24"/>
                  <a:gd name="T10" fmla="*/ 11 w 24"/>
                  <a:gd name="T11" fmla="*/ 24 h 24"/>
                  <a:gd name="T12" fmla="*/ 7 w 24"/>
                  <a:gd name="T13" fmla="*/ 22 h 24"/>
                  <a:gd name="T14" fmla="*/ 3 w 24"/>
                  <a:gd name="T15" fmla="*/ 20 h 24"/>
                  <a:gd name="T16" fmla="*/ 2 w 24"/>
                  <a:gd name="T17" fmla="*/ 17 h 24"/>
                  <a:gd name="T18" fmla="*/ 0 w 24"/>
                  <a:gd name="T19" fmla="*/ 11 h 24"/>
                  <a:gd name="T20" fmla="*/ 0 w 24"/>
                  <a:gd name="T21" fmla="*/ 11 h 24"/>
                  <a:gd name="T22" fmla="*/ 2 w 24"/>
                  <a:gd name="T23" fmla="*/ 7 h 24"/>
                  <a:gd name="T24" fmla="*/ 3 w 24"/>
                  <a:gd name="T25" fmla="*/ 3 h 24"/>
                  <a:gd name="T26" fmla="*/ 7 w 24"/>
                  <a:gd name="T27" fmla="*/ 2 h 24"/>
                  <a:gd name="T28" fmla="*/ 11 w 24"/>
                  <a:gd name="T29" fmla="*/ 0 h 24"/>
                  <a:gd name="T30" fmla="*/ 17 w 24"/>
                  <a:gd name="T31" fmla="*/ 2 h 24"/>
                  <a:gd name="T32" fmla="*/ 20 w 24"/>
                  <a:gd name="T33" fmla="*/ 3 h 24"/>
                  <a:gd name="T34" fmla="*/ 22 w 24"/>
                  <a:gd name="T35" fmla="*/ 7 h 24"/>
                  <a:gd name="T36" fmla="*/ 24 w 24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4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7"/>
                    </a:lnTo>
                    <a:lnTo>
                      <a:pt x="20" y="20"/>
                    </a:lnTo>
                    <a:lnTo>
                      <a:pt x="17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3" y="3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0" y="3"/>
                    </a:lnTo>
                    <a:lnTo>
                      <a:pt x="22" y="7"/>
                    </a:lnTo>
                    <a:lnTo>
                      <a:pt x="24" y="11"/>
                    </a:lnTo>
                  </a:path>
                </a:pathLst>
              </a:custGeom>
              <a:noFill/>
              <a:ln w="9525">
                <a:solidFill>
                  <a:srgbClr val="7EC0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83" name="Freeform 89">
                <a:extLst>
                  <a:ext uri="{FF2B5EF4-FFF2-40B4-BE49-F238E27FC236}">
                    <a16:creationId xmlns:a16="http://schemas.microsoft.com/office/drawing/2014/main" id="{BA56430B-5162-2D72-90EB-51B4F855E9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853"/>
                <a:ext cx="23" cy="25"/>
              </a:xfrm>
              <a:custGeom>
                <a:avLst/>
                <a:gdLst>
                  <a:gd name="T0" fmla="*/ 23 w 23"/>
                  <a:gd name="T1" fmla="*/ 11 h 25"/>
                  <a:gd name="T2" fmla="*/ 23 w 23"/>
                  <a:gd name="T3" fmla="*/ 11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2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1 h 25"/>
                  <a:gd name="T20" fmla="*/ 0 w 23"/>
                  <a:gd name="T21" fmla="*/ 11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0 h 25"/>
                  <a:gd name="T28" fmla="*/ 12 w 23"/>
                  <a:gd name="T29" fmla="*/ 0 h 25"/>
                  <a:gd name="T30" fmla="*/ 15 w 23"/>
                  <a:gd name="T31" fmla="*/ 0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7EC0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84" name="Freeform 90">
                <a:extLst>
                  <a:ext uri="{FF2B5EF4-FFF2-40B4-BE49-F238E27FC236}">
                    <a16:creationId xmlns:a16="http://schemas.microsoft.com/office/drawing/2014/main" id="{8AB78697-2066-18E5-7CEC-6BD4D6EBD2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853"/>
                <a:ext cx="23" cy="25"/>
              </a:xfrm>
              <a:custGeom>
                <a:avLst/>
                <a:gdLst>
                  <a:gd name="T0" fmla="*/ 23 w 23"/>
                  <a:gd name="T1" fmla="*/ 11 h 25"/>
                  <a:gd name="T2" fmla="*/ 23 w 23"/>
                  <a:gd name="T3" fmla="*/ 11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2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1 h 25"/>
                  <a:gd name="T20" fmla="*/ 0 w 23"/>
                  <a:gd name="T21" fmla="*/ 11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0 h 25"/>
                  <a:gd name="T28" fmla="*/ 12 w 23"/>
                  <a:gd name="T29" fmla="*/ 0 h 25"/>
                  <a:gd name="T30" fmla="*/ 15 w 23"/>
                  <a:gd name="T31" fmla="*/ 0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7EC0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85" name="Freeform 91">
                <a:extLst>
                  <a:ext uri="{FF2B5EF4-FFF2-40B4-BE49-F238E27FC236}">
                    <a16:creationId xmlns:a16="http://schemas.microsoft.com/office/drawing/2014/main" id="{A9430A36-A3CD-9608-B697-A9ED6FB0D2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6" y="870"/>
                <a:ext cx="25" cy="23"/>
              </a:xfrm>
              <a:custGeom>
                <a:avLst/>
                <a:gdLst>
                  <a:gd name="T0" fmla="*/ 25 w 25"/>
                  <a:gd name="T1" fmla="*/ 11 h 23"/>
                  <a:gd name="T2" fmla="*/ 25 w 25"/>
                  <a:gd name="T3" fmla="*/ 11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1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1 h 23"/>
                  <a:gd name="T20" fmla="*/ 0 w 25"/>
                  <a:gd name="T21" fmla="*/ 11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1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1"/>
                    </a:lnTo>
                    <a:close/>
                  </a:path>
                </a:pathLst>
              </a:custGeom>
              <a:solidFill>
                <a:srgbClr val="7EC0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86" name="Freeform 92">
                <a:extLst>
                  <a:ext uri="{FF2B5EF4-FFF2-40B4-BE49-F238E27FC236}">
                    <a16:creationId xmlns:a16="http://schemas.microsoft.com/office/drawing/2014/main" id="{8E649C78-C199-D10A-AEF4-2DDAE8FF96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6" y="870"/>
                <a:ext cx="25" cy="23"/>
              </a:xfrm>
              <a:custGeom>
                <a:avLst/>
                <a:gdLst>
                  <a:gd name="T0" fmla="*/ 25 w 25"/>
                  <a:gd name="T1" fmla="*/ 11 h 23"/>
                  <a:gd name="T2" fmla="*/ 25 w 25"/>
                  <a:gd name="T3" fmla="*/ 11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1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1 h 23"/>
                  <a:gd name="T20" fmla="*/ 0 w 25"/>
                  <a:gd name="T21" fmla="*/ 11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1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1"/>
                    </a:lnTo>
                  </a:path>
                </a:pathLst>
              </a:custGeom>
              <a:noFill/>
              <a:ln w="9525">
                <a:solidFill>
                  <a:srgbClr val="7EC0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87" name="Freeform 93">
                <a:extLst>
                  <a:ext uri="{FF2B5EF4-FFF2-40B4-BE49-F238E27FC236}">
                    <a16:creationId xmlns:a16="http://schemas.microsoft.com/office/drawing/2014/main" id="{1648823B-B9DA-1050-3312-BB69C488FC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6" y="870"/>
                <a:ext cx="25" cy="23"/>
              </a:xfrm>
              <a:custGeom>
                <a:avLst/>
                <a:gdLst>
                  <a:gd name="T0" fmla="*/ 25 w 25"/>
                  <a:gd name="T1" fmla="*/ 11 h 23"/>
                  <a:gd name="T2" fmla="*/ 25 w 25"/>
                  <a:gd name="T3" fmla="*/ 11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1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1 h 23"/>
                  <a:gd name="T20" fmla="*/ 0 w 25"/>
                  <a:gd name="T21" fmla="*/ 11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1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1"/>
                    </a:lnTo>
                    <a:close/>
                  </a:path>
                </a:pathLst>
              </a:custGeom>
              <a:solidFill>
                <a:srgbClr val="7EC0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88" name="Freeform 94">
                <a:extLst>
                  <a:ext uri="{FF2B5EF4-FFF2-40B4-BE49-F238E27FC236}">
                    <a16:creationId xmlns:a16="http://schemas.microsoft.com/office/drawing/2014/main" id="{56E3AE0B-657C-6A2F-F6B3-3E9D628531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6" y="870"/>
                <a:ext cx="25" cy="23"/>
              </a:xfrm>
              <a:custGeom>
                <a:avLst/>
                <a:gdLst>
                  <a:gd name="T0" fmla="*/ 25 w 25"/>
                  <a:gd name="T1" fmla="*/ 11 h 23"/>
                  <a:gd name="T2" fmla="*/ 25 w 25"/>
                  <a:gd name="T3" fmla="*/ 11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1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1 h 23"/>
                  <a:gd name="T20" fmla="*/ 0 w 25"/>
                  <a:gd name="T21" fmla="*/ 11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1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1"/>
                    </a:lnTo>
                  </a:path>
                </a:pathLst>
              </a:custGeom>
              <a:noFill/>
              <a:ln w="9525">
                <a:solidFill>
                  <a:srgbClr val="7EC0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89" name="Freeform 95">
                <a:extLst>
                  <a:ext uri="{FF2B5EF4-FFF2-40B4-BE49-F238E27FC236}">
                    <a16:creationId xmlns:a16="http://schemas.microsoft.com/office/drawing/2014/main" id="{8A02AC15-BA74-57CD-0A7C-2750105F9B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977"/>
                <a:ext cx="23" cy="23"/>
              </a:xfrm>
              <a:custGeom>
                <a:avLst/>
                <a:gdLst>
                  <a:gd name="T0" fmla="*/ 23 w 23"/>
                  <a:gd name="T1" fmla="*/ 11 h 23"/>
                  <a:gd name="T2" fmla="*/ 23 w 23"/>
                  <a:gd name="T3" fmla="*/ 11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1 h 23"/>
                  <a:gd name="T20" fmla="*/ 0 w 23"/>
                  <a:gd name="T21" fmla="*/ 11 h 23"/>
                  <a:gd name="T22" fmla="*/ 0 w 23"/>
                  <a:gd name="T23" fmla="*/ 8 h 23"/>
                  <a:gd name="T24" fmla="*/ 4 w 23"/>
                  <a:gd name="T25" fmla="*/ 4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4 h 23"/>
                  <a:gd name="T34" fmla="*/ 23 w 23"/>
                  <a:gd name="T35" fmla="*/ 8 h 23"/>
                  <a:gd name="T36" fmla="*/ 23 w 23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7EC0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90" name="Freeform 96">
                <a:extLst>
                  <a:ext uri="{FF2B5EF4-FFF2-40B4-BE49-F238E27FC236}">
                    <a16:creationId xmlns:a16="http://schemas.microsoft.com/office/drawing/2014/main" id="{9B00731B-C5E0-33C4-4E5D-1CFF01442F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977"/>
                <a:ext cx="23" cy="23"/>
              </a:xfrm>
              <a:custGeom>
                <a:avLst/>
                <a:gdLst>
                  <a:gd name="T0" fmla="*/ 23 w 23"/>
                  <a:gd name="T1" fmla="*/ 11 h 23"/>
                  <a:gd name="T2" fmla="*/ 23 w 23"/>
                  <a:gd name="T3" fmla="*/ 11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1 h 23"/>
                  <a:gd name="T20" fmla="*/ 0 w 23"/>
                  <a:gd name="T21" fmla="*/ 11 h 23"/>
                  <a:gd name="T22" fmla="*/ 0 w 23"/>
                  <a:gd name="T23" fmla="*/ 8 h 23"/>
                  <a:gd name="T24" fmla="*/ 4 w 23"/>
                  <a:gd name="T25" fmla="*/ 4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4 h 23"/>
                  <a:gd name="T34" fmla="*/ 23 w 23"/>
                  <a:gd name="T35" fmla="*/ 8 h 23"/>
                  <a:gd name="T36" fmla="*/ 23 w 23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7EC0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91" name="Freeform 97">
                <a:extLst>
                  <a:ext uri="{FF2B5EF4-FFF2-40B4-BE49-F238E27FC236}">
                    <a16:creationId xmlns:a16="http://schemas.microsoft.com/office/drawing/2014/main" id="{A5FC455B-D047-45E8-93F3-63F825191A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  <a:close/>
                  </a:path>
                </a:pathLst>
              </a:custGeom>
              <a:solidFill>
                <a:srgbClr val="FB9A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92" name="Freeform 98">
                <a:extLst>
                  <a:ext uri="{FF2B5EF4-FFF2-40B4-BE49-F238E27FC236}">
                    <a16:creationId xmlns:a16="http://schemas.microsoft.com/office/drawing/2014/main" id="{9B21BAF4-105E-FB05-E36E-86A754FFE5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</a:path>
                </a:pathLst>
              </a:custGeom>
              <a:noFill/>
              <a:ln w="9525">
                <a:solidFill>
                  <a:srgbClr val="FB9A99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93" name="Freeform 99">
                <a:extLst>
                  <a:ext uri="{FF2B5EF4-FFF2-40B4-BE49-F238E27FC236}">
                    <a16:creationId xmlns:a16="http://schemas.microsoft.com/office/drawing/2014/main" id="{730628BF-2BF4-0275-42E3-6BA7D4437E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883"/>
                <a:ext cx="22" cy="23"/>
              </a:xfrm>
              <a:custGeom>
                <a:avLst/>
                <a:gdLst>
                  <a:gd name="T0" fmla="*/ 22 w 22"/>
                  <a:gd name="T1" fmla="*/ 11 h 23"/>
                  <a:gd name="T2" fmla="*/ 22 w 22"/>
                  <a:gd name="T3" fmla="*/ 11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1 h 23"/>
                  <a:gd name="T20" fmla="*/ 0 w 22"/>
                  <a:gd name="T21" fmla="*/ 11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1"/>
                    </a:lnTo>
                    <a:close/>
                  </a:path>
                </a:pathLst>
              </a:custGeom>
              <a:solidFill>
                <a:srgbClr val="FB9A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94" name="Freeform 100">
                <a:extLst>
                  <a:ext uri="{FF2B5EF4-FFF2-40B4-BE49-F238E27FC236}">
                    <a16:creationId xmlns:a16="http://schemas.microsoft.com/office/drawing/2014/main" id="{8A1E178A-78F1-7428-642E-051D84F5AB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883"/>
                <a:ext cx="22" cy="23"/>
              </a:xfrm>
              <a:custGeom>
                <a:avLst/>
                <a:gdLst>
                  <a:gd name="T0" fmla="*/ 22 w 22"/>
                  <a:gd name="T1" fmla="*/ 11 h 23"/>
                  <a:gd name="T2" fmla="*/ 22 w 22"/>
                  <a:gd name="T3" fmla="*/ 11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1 h 23"/>
                  <a:gd name="T20" fmla="*/ 0 w 22"/>
                  <a:gd name="T21" fmla="*/ 11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1"/>
                    </a:lnTo>
                  </a:path>
                </a:pathLst>
              </a:custGeom>
              <a:noFill/>
              <a:ln w="9525">
                <a:solidFill>
                  <a:srgbClr val="FB9A99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95" name="Freeform 101">
                <a:extLst>
                  <a:ext uri="{FF2B5EF4-FFF2-40B4-BE49-F238E27FC236}">
                    <a16:creationId xmlns:a16="http://schemas.microsoft.com/office/drawing/2014/main" id="{5BEF9521-7FC9-51D2-543B-83536236B8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" y="614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21 w 23"/>
                  <a:gd name="T7" fmla="*/ 21 h 23"/>
                  <a:gd name="T8" fmla="*/ 17 w 23"/>
                  <a:gd name="T9" fmla="*/ 23 h 23"/>
                  <a:gd name="T10" fmla="*/ 12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2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2 w 23"/>
                  <a:gd name="T23" fmla="*/ 6 h 23"/>
                  <a:gd name="T24" fmla="*/ 4 w 23"/>
                  <a:gd name="T25" fmla="*/ 4 h 23"/>
                  <a:gd name="T26" fmla="*/ 8 w 23"/>
                  <a:gd name="T27" fmla="*/ 0 h 23"/>
                  <a:gd name="T28" fmla="*/ 12 w 23"/>
                  <a:gd name="T29" fmla="*/ 0 h 23"/>
                  <a:gd name="T30" fmla="*/ 17 w 23"/>
                  <a:gd name="T31" fmla="*/ 0 h 23"/>
                  <a:gd name="T32" fmla="*/ 21 w 23"/>
                  <a:gd name="T33" fmla="*/ 4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1" y="4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FB9A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96" name="Freeform 102">
                <a:extLst>
                  <a:ext uri="{FF2B5EF4-FFF2-40B4-BE49-F238E27FC236}">
                    <a16:creationId xmlns:a16="http://schemas.microsoft.com/office/drawing/2014/main" id="{ECF4F6D8-5985-68B2-92E3-E0A3734C81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" y="614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21 w 23"/>
                  <a:gd name="T7" fmla="*/ 21 h 23"/>
                  <a:gd name="T8" fmla="*/ 17 w 23"/>
                  <a:gd name="T9" fmla="*/ 23 h 23"/>
                  <a:gd name="T10" fmla="*/ 12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2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2 w 23"/>
                  <a:gd name="T23" fmla="*/ 6 h 23"/>
                  <a:gd name="T24" fmla="*/ 4 w 23"/>
                  <a:gd name="T25" fmla="*/ 4 h 23"/>
                  <a:gd name="T26" fmla="*/ 8 w 23"/>
                  <a:gd name="T27" fmla="*/ 0 h 23"/>
                  <a:gd name="T28" fmla="*/ 12 w 23"/>
                  <a:gd name="T29" fmla="*/ 0 h 23"/>
                  <a:gd name="T30" fmla="*/ 17 w 23"/>
                  <a:gd name="T31" fmla="*/ 0 h 23"/>
                  <a:gd name="T32" fmla="*/ 21 w 23"/>
                  <a:gd name="T33" fmla="*/ 4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1" y="4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FB9A99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97" name="Freeform 103">
                <a:extLst>
                  <a:ext uri="{FF2B5EF4-FFF2-40B4-BE49-F238E27FC236}">
                    <a16:creationId xmlns:a16="http://schemas.microsoft.com/office/drawing/2014/main" id="{EE56D4AC-3D47-292A-DC2C-12C801E4D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" y="614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21 w 23"/>
                  <a:gd name="T7" fmla="*/ 21 h 23"/>
                  <a:gd name="T8" fmla="*/ 17 w 23"/>
                  <a:gd name="T9" fmla="*/ 23 h 23"/>
                  <a:gd name="T10" fmla="*/ 12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2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2 w 23"/>
                  <a:gd name="T23" fmla="*/ 6 h 23"/>
                  <a:gd name="T24" fmla="*/ 4 w 23"/>
                  <a:gd name="T25" fmla="*/ 4 h 23"/>
                  <a:gd name="T26" fmla="*/ 8 w 23"/>
                  <a:gd name="T27" fmla="*/ 0 h 23"/>
                  <a:gd name="T28" fmla="*/ 12 w 23"/>
                  <a:gd name="T29" fmla="*/ 0 h 23"/>
                  <a:gd name="T30" fmla="*/ 17 w 23"/>
                  <a:gd name="T31" fmla="*/ 0 h 23"/>
                  <a:gd name="T32" fmla="*/ 21 w 23"/>
                  <a:gd name="T33" fmla="*/ 4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1" y="4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FB9A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98" name="Freeform 104">
                <a:extLst>
                  <a:ext uri="{FF2B5EF4-FFF2-40B4-BE49-F238E27FC236}">
                    <a16:creationId xmlns:a16="http://schemas.microsoft.com/office/drawing/2014/main" id="{17AD1E21-D929-43C4-13DE-67C9F6CD6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" y="614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21 w 23"/>
                  <a:gd name="T7" fmla="*/ 21 h 23"/>
                  <a:gd name="T8" fmla="*/ 17 w 23"/>
                  <a:gd name="T9" fmla="*/ 23 h 23"/>
                  <a:gd name="T10" fmla="*/ 12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2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2 w 23"/>
                  <a:gd name="T23" fmla="*/ 6 h 23"/>
                  <a:gd name="T24" fmla="*/ 4 w 23"/>
                  <a:gd name="T25" fmla="*/ 4 h 23"/>
                  <a:gd name="T26" fmla="*/ 8 w 23"/>
                  <a:gd name="T27" fmla="*/ 0 h 23"/>
                  <a:gd name="T28" fmla="*/ 12 w 23"/>
                  <a:gd name="T29" fmla="*/ 0 h 23"/>
                  <a:gd name="T30" fmla="*/ 17 w 23"/>
                  <a:gd name="T31" fmla="*/ 0 h 23"/>
                  <a:gd name="T32" fmla="*/ 21 w 23"/>
                  <a:gd name="T33" fmla="*/ 4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1" y="4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FB9A99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499" name="Freeform 105">
                <a:extLst>
                  <a:ext uri="{FF2B5EF4-FFF2-40B4-BE49-F238E27FC236}">
                    <a16:creationId xmlns:a16="http://schemas.microsoft.com/office/drawing/2014/main" id="{E8484A07-FAF2-FB55-8BCD-689D4DAD85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564"/>
                <a:ext cx="23" cy="24"/>
              </a:xfrm>
              <a:custGeom>
                <a:avLst/>
                <a:gdLst>
                  <a:gd name="T0" fmla="*/ 23 w 23"/>
                  <a:gd name="T1" fmla="*/ 13 h 24"/>
                  <a:gd name="T2" fmla="*/ 23 w 23"/>
                  <a:gd name="T3" fmla="*/ 13 h 24"/>
                  <a:gd name="T4" fmla="*/ 23 w 23"/>
                  <a:gd name="T5" fmla="*/ 17 h 24"/>
                  <a:gd name="T6" fmla="*/ 19 w 23"/>
                  <a:gd name="T7" fmla="*/ 20 h 24"/>
                  <a:gd name="T8" fmla="*/ 15 w 23"/>
                  <a:gd name="T9" fmla="*/ 22 h 24"/>
                  <a:gd name="T10" fmla="*/ 12 w 23"/>
                  <a:gd name="T11" fmla="*/ 24 h 24"/>
                  <a:gd name="T12" fmla="*/ 8 w 23"/>
                  <a:gd name="T13" fmla="*/ 22 h 24"/>
                  <a:gd name="T14" fmla="*/ 4 w 23"/>
                  <a:gd name="T15" fmla="*/ 20 h 24"/>
                  <a:gd name="T16" fmla="*/ 0 w 23"/>
                  <a:gd name="T17" fmla="*/ 17 h 24"/>
                  <a:gd name="T18" fmla="*/ 0 w 23"/>
                  <a:gd name="T19" fmla="*/ 13 h 24"/>
                  <a:gd name="T20" fmla="*/ 0 w 23"/>
                  <a:gd name="T21" fmla="*/ 13 h 24"/>
                  <a:gd name="T22" fmla="*/ 0 w 23"/>
                  <a:gd name="T23" fmla="*/ 7 h 24"/>
                  <a:gd name="T24" fmla="*/ 4 w 23"/>
                  <a:gd name="T25" fmla="*/ 3 h 24"/>
                  <a:gd name="T26" fmla="*/ 8 w 23"/>
                  <a:gd name="T27" fmla="*/ 2 h 24"/>
                  <a:gd name="T28" fmla="*/ 12 w 23"/>
                  <a:gd name="T29" fmla="*/ 0 h 24"/>
                  <a:gd name="T30" fmla="*/ 15 w 23"/>
                  <a:gd name="T31" fmla="*/ 2 h 24"/>
                  <a:gd name="T32" fmla="*/ 19 w 23"/>
                  <a:gd name="T33" fmla="*/ 3 h 24"/>
                  <a:gd name="T34" fmla="*/ 23 w 23"/>
                  <a:gd name="T35" fmla="*/ 7 h 24"/>
                  <a:gd name="T36" fmla="*/ 23 w 23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3"/>
                    </a:moveTo>
                    <a:lnTo>
                      <a:pt x="23" y="13"/>
                    </a:lnTo>
                    <a:lnTo>
                      <a:pt x="23" y="17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2" y="24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4" y="3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3"/>
                    </a:lnTo>
                    <a:lnTo>
                      <a:pt x="23" y="7"/>
                    </a:lnTo>
                    <a:lnTo>
                      <a:pt x="23" y="13"/>
                    </a:lnTo>
                    <a:close/>
                  </a:path>
                </a:pathLst>
              </a:custGeom>
              <a:solidFill>
                <a:srgbClr val="FB9A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00" name="Freeform 106">
                <a:extLst>
                  <a:ext uri="{FF2B5EF4-FFF2-40B4-BE49-F238E27FC236}">
                    <a16:creationId xmlns:a16="http://schemas.microsoft.com/office/drawing/2014/main" id="{AC1F8184-4AF8-5AA5-8675-9FDF37658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564"/>
                <a:ext cx="23" cy="24"/>
              </a:xfrm>
              <a:custGeom>
                <a:avLst/>
                <a:gdLst>
                  <a:gd name="T0" fmla="*/ 23 w 23"/>
                  <a:gd name="T1" fmla="*/ 13 h 24"/>
                  <a:gd name="T2" fmla="*/ 23 w 23"/>
                  <a:gd name="T3" fmla="*/ 13 h 24"/>
                  <a:gd name="T4" fmla="*/ 23 w 23"/>
                  <a:gd name="T5" fmla="*/ 17 h 24"/>
                  <a:gd name="T6" fmla="*/ 19 w 23"/>
                  <a:gd name="T7" fmla="*/ 20 h 24"/>
                  <a:gd name="T8" fmla="*/ 15 w 23"/>
                  <a:gd name="T9" fmla="*/ 22 h 24"/>
                  <a:gd name="T10" fmla="*/ 12 w 23"/>
                  <a:gd name="T11" fmla="*/ 24 h 24"/>
                  <a:gd name="T12" fmla="*/ 8 w 23"/>
                  <a:gd name="T13" fmla="*/ 22 h 24"/>
                  <a:gd name="T14" fmla="*/ 4 w 23"/>
                  <a:gd name="T15" fmla="*/ 20 h 24"/>
                  <a:gd name="T16" fmla="*/ 0 w 23"/>
                  <a:gd name="T17" fmla="*/ 17 h 24"/>
                  <a:gd name="T18" fmla="*/ 0 w 23"/>
                  <a:gd name="T19" fmla="*/ 13 h 24"/>
                  <a:gd name="T20" fmla="*/ 0 w 23"/>
                  <a:gd name="T21" fmla="*/ 13 h 24"/>
                  <a:gd name="T22" fmla="*/ 0 w 23"/>
                  <a:gd name="T23" fmla="*/ 7 h 24"/>
                  <a:gd name="T24" fmla="*/ 4 w 23"/>
                  <a:gd name="T25" fmla="*/ 3 h 24"/>
                  <a:gd name="T26" fmla="*/ 8 w 23"/>
                  <a:gd name="T27" fmla="*/ 2 h 24"/>
                  <a:gd name="T28" fmla="*/ 12 w 23"/>
                  <a:gd name="T29" fmla="*/ 0 h 24"/>
                  <a:gd name="T30" fmla="*/ 15 w 23"/>
                  <a:gd name="T31" fmla="*/ 2 h 24"/>
                  <a:gd name="T32" fmla="*/ 19 w 23"/>
                  <a:gd name="T33" fmla="*/ 3 h 24"/>
                  <a:gd name="T34" fmla="*/ 23 w 23"/>
                  <a:gd name="T35" fmla="*/ 7 h 24"/>
                  <a:gd name="T36" fmla="*/ 23 w 23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3"/>
                    </a:moveTo>
                    <a:lnTo>
                      <a:pt x="23" y="13"/>
                    </a:lnTo>
                    <a:lnTo>
                      <a:pt x="23" y="17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2" y="24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4" y="3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3"/>
                    </a:lnTo>
                    <a:lnTo>
                      <a:pt x="23" y="7"/>
                    </a:lnTo>
                    <a:lnTo>
                      <a:pt x="23" y="13"/>
                    </a:lnTo>
                  </a:path>
                </a:pathLst>
              </a:custGeom>
              <a:noFill/>
              <a:ln w="9525">
                <a:solidFill>
                  <a:srgbClr val="FB9A99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01" name="Freeform 107">
                <a:extLst>
                  <a:ext uri="{FF2B5EF4-FFF2-40B4-BE49-F238E27FC236}">
                    <a16:creationId xmlns:a16="http://schemas.microsoft.com/office/drawing/2014/main" id="{64F24D6B-A208-2754-BFF7-99107A160F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" y="1473"/>
                <a:ext cx="22" cy="25"/>
              </a:xfrm>
              <a:custGeom>
                <a:avLst/>
                <a:gdLst>
                  <a:gd name="T0" fmla="*/ 22 w 22"/>
                  <a:gd name="T1" fmla="*/ 14 h 25"/>
                  <a:gd name="T2" fmla="*/ 22 w 22"/>
                  <a:gd name="T3" fmla="*/ 14 h 25"/>
                  <a:gd name="T4" fmla="*/ 22 w 22"/>
                  <a:gd name="T5" fmla="*/ 17 h 25"/>
                  <a:gd name="T6" fmla="*/ 20 w 22"/>
                  <a:gd name="T7" fmla="*/ 21 h 25"/>
                  <a:gd name="T8" fmla="*/ 17 w 22"/>
                  <a:gd name="T9" fmla="*/ 23 h 25"/>
                  <a:gd name="T10" fmla="*/ 11 w 22"/>
                  <a:gd name="T11" fmla="*/ 25 h 25"/>
                  <a:gd name="T12" fmla="*/ 7 w 22"/>
                  <a:gd name="T13" fmla="*/ 23 h 25"/>
                  <a:gd name="T14" fmla="*/ 3 w 22"/>
                  <a:gd name="T15" fmla="*/ 21 h 25"/>
                  <a:gd name="T16" fmla="*/ 1 w 22"/>
                  <a:gd name="T17" fmla="*/ 17 h 25"/>
                  <a:gd name="T18" fmla="*/ 0 w 22"/>
                  <a:gd name="T19" fmla="*/ 14 h 25"/>
                  <a:gd name="T20" fmla="*/ 0 w 22"/>
                  <a:gd name="T21" fmla="*/ 14 h 25"/>
                  <a:gd name="T22" fmla="*/ 1 w 22"/>
                  <a:gd name="T23" fmla="*/ 8 h 25"/>
                  <a:gd name="T24" fmla="*/ 3 w 22"/>
                  <a:gd name="T25" fmla="*/ 4 h 25"/>
                  <a:gd name="T26" fmla="*/ 7 w 22"/>
                  <a:gd name="T27" fmla="*/ 2 h 25"/>
                  <a:gd name="T28" fmla="*/ 11 w 22"/>
                  <a:gd name="T29" fmla="*/ 0 h 25"/>
                  <a:gd name="T30" fmla="*/ 17 w 22"/>
                  <a:gd name="T31" fmla="*/ 2 h 25"/>
                  <a:gd name="T32" fmla="*/ 20 w 22"/>
                  <a:gd name="T33" fmla="*/ 4 h 25"/>
                  <a:gd name="T34" fmla="*/ 22 w 22"/>
                  <a:gd name="T35" fmla="*/ 8 h 25"/>
                  <a:gd name="T36" fmla="*/ 22 w 22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5">
                    <a:moveTo>
                      <a:pt x="22" y="14"/>
                    </a:moveTo>
                    <a:lnTo>
                      <a:pt x="22" y="14"/>
                    </a:lnTo>
                    <a:lnTo>
                      <a:pt x="22" y="17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1" y="8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0" y="4"/>
                    </a:lnTo>
                    <a:lnTo>
                      <a:pt x="22" y="8"/>
                    </a:lnTo>
                    <a:lnTo>
                      <a:pt x="22" y="14"/>
                    </a:lnTo>
                    <a:close/>
                  </a:path>
                </a:pathLst>
              </a:custGeom>
              <a:solidFill>
                <a:srgbClr val="CAB2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02" name="Freeform 108">
                <a:extLst>
                  <a:ext uri="{FF2B5EF4-FFF2-40B4-BE49-F238E27FC236}">
                    <a16:creationId xmlns:a16="http://schemas.microsoft.com/office/drawing/2014/main" id="{0E0C2771-4C3C-8179-AF9A-FD93E5D3DD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" y="1473"/>
                <a:ext cx="22" cy="25"/>
              </a:xfrm>
              <a:custGeom>
                <a:avLst/>
                <a:gdLst>
                  <a:gd name="T0" fmla="*/ 22 w 22"/>
                  <a:gd name="T1" fmla="*/ 14 h 25"/>
                  <a:gd name="T2" fmla="*/ 22 w 22"/>
                  <a:gd name="T3" fmla="*/ 14 h 25"/>
                  <a:gd name="T4" fmla="*/ 22 w 22"/>
                  <a:gd name="T5" fmla="*/ 17 h 25"/>
                  <a:gd name="T6" fmla="*/ 20 w 22"/>
                  <a:gd name="T7" fmla="*/ 21 h 25"/>
                  <a:gd name="T8" fmla="*/ 17 w 22"/>
                  <a:gd name="T9" fmla="*/ 23 h 25"/>
                  <a:gd name="T10" fmla="*/ 11 w 22"/>
                  <a:gd name="T11" fmla="*/ 25 h 25"/>
                  <a:gd name="T12" fmla="*/ 7 w 22"/>
                  <a:gd name="T13" fmla="*/ 23 h 25"/>
                  <a:gd name="T14" fmla="*/ 3 w 22"/>
                  <a:gd name="T15" fmla="*/ 21 h 25"/>
                  <a:gd name="T16" fmla="*/ 1 w 22"/>
                  <a:gd name="T17" fmla="*/ 17 h 25"/>
                  <a:gd name="T18" fmla="*/ 0 w 22"/>
                  <a:gd name="T19" fmla="*/ 14 h 25"/>
                  <a:gd name="T20" fmla="*/ 0 w 22"/>
                  <a:gd name="T21" fmla="*/ 14 h 25"/>
                  <a:gd name="T22" fmla="*/ 1 w 22"/>
                  <a:gd name="T23" fmla="*/ 8 h 25"/>
                  <a:gd name="T24" fmla="*/ 3 w 22"/>
                  <a:gd name="T25" fmla="*/ 4 h 25"/>
                  <a:gd name="T26" fmla="*/ 7 w 22"/>
                  <a:gd name="T27" fmla="*/ 2 h 25"/>
                  <a:gd name="T28" fmla="*/ 11 w 22"/>
                  <a:gd name="T29" fmla="*/ 0 h 25"/>
                  <a:gd name="T30" fmla="*/ 17 w 22"/>
                  <a:gd name="T31" fmla="*/ 2 h 25"/>
                  <a:gd name="T32" fmla="*/ 20 w 22"/>
                  <a:gd name="T33" fmla="*/ 4 h 25"/>
                  <a:gd name="T34" fmla="*/ 22 w 22"/>
                  <a:gd name="T35" fmla="*/ 8 h 25"/>
                  <a:gd name="T36" fmla="*/ 22 w 22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5">
                    <a:moveTo>
                      <a:pt x="22" y="14"/>
                    </a:moveTo>
                    <a:lnTo>
                      <a:pt x="22" y="14"/>
                    </a:lnTo>
                    <a:lnTo>
                      <a:pt x="22" y="17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1" y="8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0" y="4"/>
                    </a:lnTo>
                    <a:lnTo>
                      <a:pt x="22" y="8"/>
                    </a:lnTo>
                    <a:lnTo>
                      <a:pt x="22" y="14"/>
                    </a:lnTo>
                  </a:path>
                </a:pathLst>
              </a:custGeom>
              <a:noFill/>
              <a:ln w="9525">
                <a:solidFill>
                  <a:srgbClr val="CAB2D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03" name="Freeform 109">
                <a:extLst>
                  <a:ext uri="{FF2B5EF4-FFF2-40B4-BE49-F238E27FC236}">
                    <a16:creationId xmlns:a16="http://schemas.microsoft.com/office/drawing/2014/main" id="{EDB56355-BDB7-3D6D-743A-E1FC0B8706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855"/>
                <a:ext cx="22" cy="23"/>
              </a:xfrm>
              <a:custGeom>
                <a:avLst/>
                <a:gdLst>
                  <a:gd name="T0" fmla="*/ 22 w 22"/>
                  <a:gd name="T1" fmla="*/ 11 h 23"/>
                  <a:gd name="T2" fmla="*/ 22 w 22"/>
                  <a:gd name="T3" fmla="*/ 11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1 h 23"/>
                  <a:gd name="T20" fmla="*/ 0 w 22"/>
                  <a:gd name="T21" fmla="*/ 11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1"/>
                    </a:lnTo>
                    <a:close/>
                  </a:path>
                </a:pathLst>
              </a:custGeom>
              <a:solidFill>
                <a:srgbClr val="CAB2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04" name="Freeform 110">
                <a:extLst>
                  <a:ext uri="{FF2B5EF4-FFF2-40B4-BE49-F238E27FC236}">
                    <a16:creationId xmlns:a16="http://schemas.microsoft.com/office/drawing/2014/main" id="{39B1EA4B-40FB-C2B3-F3AF-AB0ACF5CFE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855"/>
                <a:ext cx="22" cy="23"/>
              </a:xfrm>
              <a:custGeom>
                <a:avLst/>
                <a:gdLst>
                  <a:gd name="T0" fmla="*/ 22 w 22"/>
                  <a:gd name="T1" fmla="*/ 11 h 23"/>
                  <a:gd name="T2" fmla="*/ 22 w 22"/>
                  <a:gd name="T3" fmla="*/ 11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1 h 23"/>
                  <a:gd name="T20" fmla="*/ 0 w 22"/>
                  <a:gd name="T21" fmla="*/ 11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1"/>
                    </a:lnTo>
                  </a:path>
                </a:pathLst>
              </a:custGeom>
              <a:noFill/>
              <a:ln w="9525">
                <a:solidFill>
                  <a:srgbClr val="CAB2D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05" name="Freeform 111">
                <a:extLst>
                  <a:ext uri="{FF2B5EF4-FFF2-40B4-BE49-F238E27FC236}">
                    <a16:creationId xmlns:a16="http://schemas.microsoft.com/office/drawing/2014/main" id="{A8C1AAD2-0AB7-BA99-E0CB-612E3CC7DB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9" y="846"/>
                <a:ext cx="25" cy="22"/>
              </a:xfrm>
              <a:custGeom>
                <a:avLst/>
                <a:gdLst>
                  <a:gd name="T0" fmla="*/ 25 w 25"/>
                  <a:gd name="T1" fmla="*/ 11 h 22"/>
                  <a:gd name="T2" fmla="*/ 25 w 25"/>
                  <a:gd name="T3" fmla="*/ 11 h 22"/>
                  <a:gd name="T4" fmla="*/ 23 w 25"/>
                  <a:gd name="T5" fmla="*/ 17 h 22"/>
                  <a:gd name="T6" fmla="*/ 21 w 25"/>
                  <a:gd name="T7" fmla="*/ 20 h 22"/>
                  <a:gd name="T8" fmla="*/ 17 w 25"/>
                  <a:gd name="T9" fmla="*/ 22 h 22"/>
                  <a:gd name="T10" fmla="*/ 11 w 25"/>
                  <a:gd name="T11" fmla="*/ 22 h 22"/>
                  <a:gd name="T12" fmla="*/ 8 w 25"/>
                  <a:gd name="T13" fmla="*/ 22 h 22"/>
                  <a:gd name="T14" fmla="*/ 4 w 25"/>
                  <a:gd name="T15" fmla="*/ 20 h 22"/>
                  <a:gd name="T16" fmla="*/ 2 w 25"/>
                  <a:gd name="T17" fmla="*/ 17 h 22"/>
                  <a:gd name="T18" fmla="*/ 0 w 25"/>
                  <a:gd name="T19" fmla="*/ 11 h 22"/>
                  <a:gd name="T20" fmla="*/ 0 w 25"/>
                  <a:gd name="T21" fmla="*/ 11 h 22"/>
                  <a:gd name="T22" fmla="*/ 2 w 25"/>
                  <a:gd name="T23" fmla="*/ 5 h 22"/>
                  <a:gd name="T24" fmla="*/ 4 w 25"/>
                  <a:gd name="T25" fmla="*/ 3 h 22"/>
                  <a:gd name="T26" fmla="*/ 8 w 25"/>
                  <a:gd name="T27" fmla="*/ 0 h 22"/>
                  <a:gd name="T28" fmla="*/ 11 w 25"/>
                  <a:gd name="T29" fmla="*/ 0 h 22"/>
                  <a:gd name="T30" fmla="*/ 17 w 25"/>
                  <a:gd name="T31" fmla="*/ 0 h 22"/>
                  <a:gd name="T32" fmla="*/ 21 w 25"/>
                  <a:gd name="T33" fmla="*/ 3 h 22"/>
                  <a:gd name="T34" fmla="*/ 23 w 25"/>
                  <a:gd name="T35" fmla="*/ 5 h 22"/>
                  <a:gd name="T36" fmla="*/ 25 w 25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2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7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3"/>
                    </a:lnTo>
                    <a:lnTo>
                      <a:pt x="23" y="5"/>
                    </a:lnTo>
                    <a:lnTo>
                      <a:pt x="25" y="11"/>
                    </a:lnTo>
                    <a:close/>
                  </a:path>
                </a:pathLst>
              </a:custGeom>
              <a:solidFill>
                <a:srgbClr val="CAB2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06" name="Freeform 112">
                <a:extLst>
                  <a:ext uri="{FF2B5EF4-FFF2-40B4-BE49-F238E27FC236}">
                    <a16:creationId xmlns:a16="http://schemas.microsoft.com/office/drawing/2014/main" id="{3AB39E12-0DA4-45EB-5C27-A60294E8E0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9" y="846"/>
                <a:ext cx="25" cy="22"/>
              </a:xfrm>
              <a:custGeom>
                <a:avLst/>
                <a:gdLst>
                  <a:gd name="T0" fmla="*/ 25 w 25"/>
                  <a:gd name="T1" fmla="*/ 11 h 22"/>
                  <a:gd name="T2" fmla="*/ 25 w 25"/>
                  <a:gd name="T3" fmla="*/ 11 h 22"/>
                  <a:gd name="T4" fmla="*/ 23 w 25"/>
                  <a:gd name="T5" fmla="*/ 17 h 22"/>
                  <a:gd name="T6" fmla="*/ 21 w 25"/>
                  <a:gd name="T7" fmla="*/ 20 h 22"/>
                  <a:gd name="T8" fmla="*/ 17 w 25"/>
                  <a:gd name="T9" fmla="*/ 22 h 22"/>
                  <a:gd name="T10" fmla="*/ 11 w 25"/>
                  <a:gd name="T11" fmla="*/ 22 h 22"/>
                  <a:gd name="T12" fmla="*/ 8 w 25"/>
                  <a:gd name="T13" fmla="*/ 22 h 22"/>
                  <a:gd name="T14" fmla="*/ 4 w 25"/>
                  <a:gd name="T15" fmla="*/ 20 h 22"/>
                  <a:gd name="T16" fmla="*/ 2 w 25"/>
                  <a:gd name="T17" fmla="*/ 17 h 22"/>
                  <a:gd name="T18" fmla="*/ 0 w 25"/>
                  <a:gd name="T19" fmla="*/ 11 h 22"/>
                  <a:gd name="T20" fmla="*/ 0 w 25"/>
                  <a:gd name="T21" fmla="*/ 11 h 22"/>
                  <a:gd name="T22" fmla="*/ 2 w 25"/>
                  <a:gd name="T23" fmla="*/ 5 h 22"/>
                  <a:gd name="T24" fmla="*/ 4 w 25"/>
                  <a:gd name="T25" fmla="*/ 3 h 22"/>
                  <a:gd name="T26" fmla="*/ 8 w 25"/>
                  <a:gd name="T27" fmla="*/ 0 h 22"/>
                  <a:gd name="T28" fmla="*/ 11 w 25"/>
                  <a:gd name="T29" fmla="*/ 0 h 22"/>
                  <a:gd name="T30" fmla="*/ 17 w 25"/>
                  <a:gd name="T31" fmla="*/ 0 h 22"/>
                  <a:gd name="T32" fmla="*/ 21 w 25"/>
                  <a:gd name="T33" fmla="*/ 3 h 22"/>
                  <a:gd name="T34" fmla="*/ 23 w 25"/>
                  <a:gd name="T35" fmla="*/ 5 h 22"/>
                  <a:gd name="T36" fmla="*/ 25 w 25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2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7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3"/>
                    </a:lnTo>
                    <a:lnTo>
                      <a:pt x="23" y="5"/>
                    </a:lnTo>
                    <a:lnTo>
                      <a:pt x="25" y="11"/>
                    </a:lnTo>
                  </a:path>
                </a:pathLst>
              </a:custGeom>
              <a:noFill/>
              <a:ln w="9525">
                <a:solidFill>
                  <a:srgbClr val="CAB2D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07" name="Freeform 113">
                <a:extLst>
                  <a:ext uri="{FF2B5EF4-FFF2-40B4-BE49-F238E27FC236}">
                    <a16:creationId xmlns:a16="http://schemas.microsoft.com/office/drawing/2014/main" id="{405929E7-A5BE-6790-50DA-CB0E93FF4F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08" name="Freeform 114">
                <a:extLst>
                  <a:ext uri="{FF2B5EF4-FFF2-40B4-BE49-F238E27FC236}">
                    <a16:creationId xmlns:a16="http://schemas.microsoft.com/office/drawing/2014/main" id="{B5DCB714-B063-F63D-613C-75F165455E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</a:path>
                </a:pathLst>
              </a:custGeom>
              <a:noFill/>
              <a:ln w="9525">
                <a:solidFill>
                  <a:srgbClr val="B3B3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09" name="Freeform 115">
                <a:extLst>
                  <a:ext uri="{FF2B5EF4-FFF2-40B4-BE49-F238E27FC236}">
                    <a16:creationId xmlns:a16="http://schemas.microsoft.com/office/drawing/2014/main" id="{C79B1218-C353-3E9E-8AA2-5056284637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776"/>
                <a:ext cx="22" cy="23"/>
              </a:xfrm>
              <a:custGeom>
                <a:avLst/>
                <a:gdLst>
                  <a:gd name="T0" fmla="*/ 22 w 22"/>
                  <a:gd name="T1" fmla="*/ 11 h 23"/>
                  <a:gd name="T2" fmla="*/ 22 w 22"/>
                  <a:gd name="T3" fmla="*/ 11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1 h 23"/>
                  <a:gd name="T20" fmla="*/ 0 w 22"/>
                  <a:gd name="T21" fmla="*/ 11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1"/>
                    </a:ln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10" name="Freeform 116">
                <a:extLst>
                  <a:ext uri="{FF2B5EF4-FFF2-40B4-BE49-F238E27FC236}">
                    <a16:creationId xmlns:a16="http://schemas.microsoft.com/office/drawing/2014/main" id="{8CC7C5C7-9CB2-C556-87BD-28DAB40146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776"/>
                <a:ext cx="22" cy="23"/>
              </a:xfrm>
              <a:custGeom>
                <a:avLst/>
                <a:gdLst>
                  <a:gd name="T0" fmla="*/ 22 w 22"/>
                  <a:gd name="T1" fmla="*/ 11 h 23"/>
                  <a:gd name="T2" fmla="*/ 22 w 22"/>
                  <a:gd name="T3" fmla="*/ 11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1 h 23"/>
                  <a:gd name="T20" fmla="*/ 0 w 22"/>
                  <a:gd name="T21" fmla="*/ 11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1"/>
                    </a:lnTo>
                  </a:path>
                </a:pathLst>
              </a:custGeom>
              <a:noFill/>
              <a:ln w="9525">
                <a:solidFill>
                  <a:srgbClr val="B3B3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11" name="Freeform 117">
                <a:extLst>
                  <a:ext uri="{FF2B5EF4-FFF2-40B4-BE49-F238E27FC236}">
                    <a16:creationId xmlns:a16="http://schemas.microsoft.com/office/drawing/2014/main" id="{AA9D0C58-3EDD-0094-0B8A-0317A14AD6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5" y="70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12" name="Freeform 118">
                <a:extLst>
                  <a:ext uri="{FF2B5EF4-FFF2-40B4-BE49-F238E27FC236}">
                    <a16:creationId xmlns:a16="http://schemas.microsoft.com/office/drawing/2014/main" id="{168F4F39-AB30-9951-D6AE-A774C53A68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5" y="70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B3B3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13" name="Freeform 119">
                <a:extLst>
                  <a:ext uri="{FF2B5EF4-FFF2-40B4-BE49-F238E27FC236}">
                    <a16:creationId xmlns:a16="http://schemas.microsoft.com/office/drawing/2014/main" id="{DA7B80B9-1065-87FC-6360-A7CAF892BB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5" y="70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14" name="Freeform 120">
                <a:extLst>
                  <a:ext uri="{FF2B5EF4-FFF2-40B4-BE49-F238E27FC236}">
                    <a16:creationId xmlns:a16="http://schemas.microsoft.com/office/drawing/2014/main" id="{4288C57A-5991-A96D-5405-1E378AB04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5" y="70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B3B3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15" name="Freeform 121">
                <a:extLst>
                  <a:ext uri="{FF2B5EF4-FFF2-40B4-BE49-F238E27FC236}">
                    <a16:creationId xmlns:a16="http://schemas.microsoft.com/office/drawing/2014/main" id="{3D5E24CD-605A-FB13-2172-9F677501D6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671"/>
                <a:ext cx="22" cy="24"/>
              </a:xfrm>
              <a:custGeom>
                <a:avLst/>
                <a:gdLst>
                  <a:gd name="T0" fmla="*/ 22 w 22"/>
                  <a:gd name="T1" fmla="*/ 11 h 24"/>
                  <a:gd name="T2" fmla="*/ 22 w 22"/>
                  <a:gd name="T3" fmla="*/ 11 h 24"/>
                  <a:gd name="T4" fmla="*/ 20 w 22"/>
                  <a:gd name="T5" fmla="*/ 17 h 24"/>
                  <a:gd name="T6" fmla="*/ 18 w 22"/>
                  <a:gd name="T7" fmla="*/ 20 h 24"/>
                  <a:gd name="T8" fmla="*/ 15 w 22"/>
                  <a:gd name="T9" fmla="*/ 22 h 24"/>
                  <a:gd name="T10" fmla="*/ 11 w 22"/>
                  <a:gd name="T11" fmla="*/ 24 h 24"/>
                  <a:gd name="T12" fmla="*/ 5 w 22"/>
                  <a:gd name="T13" fmla="*/ 22 h 24"/>
                  <a:gd name="T14" fmla="*/ 2 w 22"/>
                  <a:gd name="T15" fmla="*/ 20 h 24"/>
                  <a:gd name="T16" fmla="*/ 0 w 22"/>
                  <a:gd name="T17" fmla="*/ 17 h 24"/>
                  <a:gd name="T18" fmla="*/ 0 w 22"/>
                  <a:gd name="T19" fmla="*/ 11 h 24"/>
                  <a:gd name="T20" fmla="*/ 0 w 22"/>
                  <a:gd name="T21" fmla="*/ 11 h 24"/>
                  <a:gd name="T22" fmla="*/ 0 w 22"/>
                  <a:gd name="T23" fmla="*/ 7 h 24"/>
                  <a:gd name="T24" fmla="*/ 2 w 22"/>
                  <a:gd name="T25" fmla="*/ 4 h 24"/>
                  <a:gd name="T26" fmla="*/ 5 w 22"/>
                  <a:gd name="T27" fmla="*/ 0 h 24"/>
                  <a:gd name="T28" fmla="*/ 11 w 22"/>
                  <a:gd name="T29" fmla="*/ 0 h 24"/>
                  <a:gd name="T30" fmla="*/ 15 w 22"/>
                  <a:gd name="T31" fmla="*/ 0 h 24"/>
                  <a:gd name="T32" fmla="*/ 18 w 22"/>
                  <a:gd name="T33" fmla="*/ 4 h 24"/>
                  <a:gd name="T34" fmla="*/ 20 w 22"/>
                  <a:gd name="T35" fmla="*/ 7 h 24"/>
                  <a:gd name="T36" fmla="*/ 22 w 22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1"/>
                    </a:moveTo>
                    <a:lnTo>
                      <a:pt x="22" y="11"/>
                    </a:lnTo>
                    <a:lnTo>
                      <a:pt x="20" y="17"/>
                    </a:lnTo>
                    <a:lnTo>
                      <a:pt x="18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5" y="22"/>
                    </a:lnTo>
                    <a:lnTo>
                      <a:pt x="2" y="20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5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4"/>
                    </a:lnTo>
                    <a:lnTo>
                      <a:pt x="20" y="7"/>
                    </a:lnTo>
                    <a:lnTo>
                      <a:pt x="22" y="11"/>
                    </a:ln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16" name="Freeform 122">
                <a:extLst>
                  <a:ext uri="{FF2B5EF4-FFF2-40B4-BE49-F238E27FC236}">
                    <a16:creationId xmlns:a16="http://schemas.microsoft.com/office/drawing/2014/main" id="{BF1B1A8E-EE20-22D1-CD1E-A272E90117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671"/>
                <a:ext cx="22" cy="24"/>
              </a:xfrm>
              <a:custGeom>
                <a:avLst/>
                <a:gdLst>
                  <a:gd name="T0" fmla="*/ 22 w 22"/>
                  <a:gd name="T1" fmla="*/ 11 h 24"/>
                  <a:gd name="T2" fmla="*/ 22 w 22"/>
                  <a:gd name="T3" fmla="*/ 11 h 24"/>
                  <a:gd name="T4" fmla="*/ 20 w 22"/>
                  <a:gd name="T5" fmla="*/ 17 h 24"/>
                  <a:gd name="T6" fmla="*/ 18 w 22"/>
                  <a:gd name="T7" fmla="*/ 20 h 24"/>
                  <a:gd name="T8" fmla="*/ 15 w 22"/>
                  <a:gd name="T9" fmla="*/ 22 h 24"/>
                  <a:gd name="T10" fmla="*/ 11 w 22"/>
                  <a:gd name="T11" fmla="*/ 24 h 24"/>
                  <a:gd name="T12" fmla="*/ 5 w 22"/>
                  <a:gd name="T13" fmla="*/ 22 h 24"/>
                  <a:gd name="T14" fmla="*/ 2 w 22"/>
                  <a:gd name="T15" fmla="*/ 20 h 24"/>
                  <a:gd name="T16" fmla="*/ 0 w 22"/>
                  <a:gd name="T17" fmla="*/ 17 h 24"/>
                  <a:gd name="T18" fmla="*/ 0 w 22"/>
                  <a:gd name="T19" fmla="*/ 11 h 24"/>
                  <a:gd name="T20" fmla="*/ 0 w 22"/>
                  <a:gd name="T21" fmla="*/ 11 h 24"/>
                  <a:gd name="T22" fmla="*/ 0 w 22"/>
                  <a:gd name="T23" fmla="*/ 7 h 24"/>
                  <a:gd name="T24" fmla="*/ 2 w 22"/>
                  <a:gd name="T25" fmla="*/ 4 h 24"/>
                  <a:gd name="T26" fmla="*/ 5 w 22"/>
                  <a:gd name="T27" fmla="*/ 0 h 24"/>
                  <a:gd name="T28" fmla="*/ 11 w 22"/>
                  <a:gd name="T29" fmla="*/ 0 h 24"/>
                  <a:gd name="T30" fmla="*/ 15 w 22"/>
                  <a:gd name="T31" fmla="*/ 0 h 24"/>
                  <a:gd name="T32" fmla="*/ 18 w 22"/>
                  <a:gd name="T33" fmla="*/ 4 h 24"/>
                  <a:gd name="T34" fmla="*/ 20 w 22"/>
                  <a:gd name="T35" fmla="*/ 7 h 24"/>
                  <a:gd name="T36" fmla="*/ 22 w 22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1"/>
                    </a:moveTo>
                    <a:lnTo>
                      <a:pt x="22" y="11"/>
                    </a:lnTo>
                    <a:lnTo>
                      <a:pt x="20" y="17"/>
                    </a:lnTo>
                    <a:lnTo>
                      <a:pt x="18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5" y="22"/>
                    </a:lnTo>
                    <a:lnTo>
                      <a:pt x="2" y="20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5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4"/>
                    </a:lnTo>
                    <a:lnTo>
                      <a:pt x="20" y="7"/>
                    </a:lnTo>
                    <a:lnTo>
                      <a:pt x="22" y="11"/>
                    </a:lnTo>
                  </a:path>
                </a:pathLst>
              </a:custGeom>
              <a:noFill/>
              <a:ln w="9525">
                <a:solidFill>
                  <a:srgbClr val="B3B3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17" name="Freeform 123">
                <a:extLst>
                  <a:ext uri="{FF2B5EF4-FFF2-40B4-BE49-F238E27FC236}">
                    <a16:creationId xmlns:a16="http://schemas.microsoft.com/office/drawing/2014/main" id="{B620FE58-2E56-2A19-AFEC-F7B096CDC8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  <a:close/>
                  </a:path>
                </a:pathLst>
              </a:custGeom>
              <a:solidFill>
                <a:srgbClr val="B03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18" name="Freeform 124">
                <a:extLst>
                  <a:ext uri="{FF2B5EF4-FFF2-40B4-BE49-F238E27FC236}">
                    <a16:creationId xmlns:a16="http://schemas.microsoft.com/office/drawing/2014/main" id="{9A91F384-39BF-CABB-E923-24FFC6E9D2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</a:path>
                </a:pathLst>
              </a:custGeom>
              <a:noFill/>
              <a:ln w="9525">
                <a:solidFill>
                  <a:srgbClr val="B0306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19" name="Freeform 125">
                <a:extLst>
                  <a:ext uri="{FF2B5EF4-FFF2-40B4-BE49-F238E27FC236}">
                    <a16:creationId xmlns:a16="http://schemas.microsoft.com/office/drawing/2014/main" id="{856DC79B-37A7-4CFA-6D75-73E6D9F047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955"/>
                <a:ext cx="22" cy="22"/>
              </a:xfrm>
              <a:custGeom>
                <a:avLst/>
                <a:gdLst>
                  <a:gd name="T0" fmla="*/ 22 w 22"/>
                  <a:gd name="T1" fmla="*/ 11 h 22"/>
                  <a:gd name="T2" fmla="*/ 22 w 22"/>
                  <a:gd name="T3" fmla="*/ 11 h 22"/>
                  <a:gd name="T4" fmla="*/ 22 w 22"/>
                  <a:gd name="T5" fmla="*/ 17 h 22"/>
                  <a:gd name="T6" fmla="*/ 18 w 22"/>
                  <a:gd name="T7" fmla="*/ 20 h 22"/>
                  <a:gd name="T8" fmla="*/ 15 w 22"/>
                  <a:gd name="T9" fmla="*/ 22 h 22"/>
                  <a:gd name="T10" fmla="*/ 11 w 22"/>
                  <a:gd name="T11" fmla="*/ 22 h 22"/>
                  <a:gd name="T12" fmla="*/ 7 w 22"/>
                  <a:gd name="T13" fmla="*/ 22 h 22"/>
                  <a:gd name="T14" fmla="*/ 3 w 22"/>
                  <a:gd name="T15" fmla="*/ 20 h 22"/>
                  <a:gd name="T16" fmla="*/ 0 w 22"/>
                  <a:gd name="T17" fmla="*/ 17 h 22"/>
                  <a:gd name="T18" fmla="*/ 0 w 22"/>
                  <a:gd name="T19" fmla="*/ 11 h 22"/>
                  <a:gd name="T20" fmla="*/ 0 w 22"/>
                  <a:gd name="T21" fmla="*/ 11 h 22"/>
                  <a:gd name="T22" fmla="*/ 0 w 22"/>
                  <a:gd name="T23" fmla="*/ 5 h 22"/>
                  <a:gd name="T24" fmla="*/ 3 w 22"/>
                  <a:gd name="T25" fmla="*/ 2 h 22"/>
                  <a:gd name="T26" fmla="*/ 7 w 22"/>
                  <a:gd name="T27" fmla="*/ 0 h 22"/>
                  <a:gd name="T28" fmla="*/ 11 w 22"/>
                  <a:gd name="T29" fmla="*/ 0 h 22"/>
                  <a:gd name="T30" fmla="*/ 15 w 22"/>
                  <a:gd name="T31" fmla="*/ 0 h 22"/>
                  <a:gd name="T32" fmla="*/ 18 w 22"/>
                  <a:gd name="T33" fmla="*/ 2 h 22"/>
                  <a:gd name="T34" fmla="*/ 22 w 22"/>
                  <a:gd name="T35" fmla="*/ 5 h 22"/>
                  <a:gd name="T36" fmla="*/ 22 w 22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2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0"/>
                    </a:lnTo>
                    <a:lnTo>
                      <a:pt x="15" y="22"/>
                    </a:lnTo>
                    <a:lnTo>
                      <a:pt x="11" y="22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5"/>
                    </a:lnTo>
                    <a:lnTo>
                      <a:pt x="22" y="11"/>
                    </a:lnTo>
                    <a:close/>
                  </a:path>
                </a:pathLst>
              </a:custGeom>
              <a:solidFill>
                <a:srgbClr val="B03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20" name="Freeform 126">
                <a:extLst>
                  <a:ext uri="{FF2B5EF4-FFF2-40B4-BE49-F238E27FC236}">
                    <a16:creationId xmlns:a16="http://schemas.microsoft.com/office/drawing/2014/main" id="{829E99CA-2562-7A80-9A31-C8B9C6053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955"/>
                <a:ext cx="22" cy="22"/>
              </a:xfrm>
              <a:custGeom>
                <a:avLst/>
                <a:gdLst>
                  <a:gd name="T0" fmla="*/ 22 w 22"/>
                  <a:gd name="T1" fmla="*/ 11 h 22"/>
                  <a:gd name="T2" fmla="*/ 22 w 22"/>
                  <a:gd name="T3" fmla="*/ 11 h 22"/>
                  <a:gd name="T4" fmla="*/ 22 w 22"/>
                  <a:gd name="T5" fmla="*/ 17 h 22"/>
                  <a:gd name="T6" fmla="*/ 18 w 22"/>
                  <a:gd name="T7" fmla="*/ 20 h 22"/>
                  <a:gd name="T8" fmla="*/ 15 w 22"/>
                  <a:gd name="T9" fmla="*/ 22 h 22"/>
                  <a:gd name="T10" fmla="*/ 11 w 22"/>
                  <a:gd name="T11" fmla="*/ 22 h 22"/>
                  <a:gd name="T12" fmla="*/ 7 w 22"/>
                  <a:gd name="T13" fmla="*/ 22 h 22"/>
                  <a:gd name="T14" fmla="*/ 3 w 22"/>
                  <a:gd name="T15" fmla="*/ 20 h 22"/>
                  <a:gd name="T16" fmla="*/ 0 w 22"/>
                  <a:gd name="T17" fmla="*/ 17 h 22"/>
                  <a:gd name="T18" fmla="*/ 0 w 22"/>
                  <a:gd name="T19" fmla="*/ 11 h 22"/>
                  <a:gd name="T20" fmla="*/ 0 w 22"/>
                  <a:gd name="T21" fmla="*/ 11 h 22"/>
                  <a:gd name="T22" fmla="*/ 0 w 22"/>
                  <a:gd name="T23" fmla="*/ 5 h 22"/>
                  <a:gd name="T24" fmla="*/ 3 w 22"/>
                  <a:gd name="T25" fmla="*/ 2 h 22"/>
                  <a:gd name="T26" fmla="*/ 7 w 22"/>
                  <a:gd name="T27" fmla="*/ 0 h 22"/>
                  <a:gd name="T28" fmla="*/ 11 w 22"/>
                  <a:gd name="T29" fmla="*/ 0 h 22"/>
                  <a:gd name="T30" fmla="*/ 15 w 22"/>
                  <a:gd name="T31" fmla="*/ 0 h 22"/>
                  <a:gd name="T32" fmla="*/ 18 w 22"/>
                  <a:gd name="T33" fmla="*/ 2 h 22"/>
                  <a:gd name="T34" fmla="*/ 22 w 22"/>
                  <a:gd name="T35" fmla="*/ 5 h 22"/>
                  <a:gd name="T36" fmla="*/ 22 w 22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2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0"/>
                    </a:lnTo>
                    <a:lnTo>
                      <a:pt x="15" y="22"/>
                    </a:lnTo>
                    <a:lnTo>
                      <a:pt x="11" y="22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5"/>
                    </a:lnTo>
                    <a:lnTo>
                      <a:pt x="22" y="11"/>
                    </a:lnTo>
                  </a:path>
                </a:pathLst>
              </a:custGeom>
              <a:noFill/>
              <a:ln w="9525">
                <a:solidFill>
                  <a:srgbClr val="B0306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21" name="Freeform 127">
                <a:extLst>
                  <a:ext uri="{FF2B5EF4-FFF2-40B4-BE49-F238E27FC236}">
                    <a16:creationId xmlns:a16="http://schemas.microsoft.com/office/drawing/2014/main" id="{2163D88E-C396-D6B3-BEC2-A8F042839C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941"/>
                <a:ext cx="23" cy="25"/>
              </a:xfrm>
              <a:custGeom>
                <a:avLst/>
                <a:gdLst>
                  <a:gd name="T0" fmla="*/ 23 w 23"/>
                  <a:gd name="T1" fmla="*/ 12 h 25"/>
                  <a:gd name="T2" fmla="*/ 23 w 23"/>
                  <a:gd name="T3" fmla="*/ 12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2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2 h 25"/>
                  <a:gd name="T20" fmla="*/ 0 w 23"/>
                  <a:gd name="T21" fmla="*/ 12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2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B03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22" name="Freeform 128">
                <a:extLst>
                  <a:ext uri="{FF2B5EF4-FFF2-40B4-BE49-F238E27FC236}">
                    <a16:creationId xmlns:a16="http://schemas.microsoft.com/office/drawing/2014/main" id="{6D631364-CD45-69C2-4E5C-D6D75E4D8A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941"/>
                <a:ext cx="23" cy="25"/>
              </a:xfrm>
              <a:custGeom>
                <a:avLst/>
                <a:gdLst>
                  <a:gd name="T0" fmla="*/ 23 w 23"/>
                  <a:gd name="T1" fmla="*/ 12 h 25"/>
                  <a:gd name="T2" fmla="*/ 23 w 23"/>
                  <a:gd name="T3" fmla="*/ 12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2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2 h 25"/>
                  <a:gd name="T20" fmla="*/ 0 w 23"/>
                  <a:gd name="T21" fmla="*/ 12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2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B0306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23" name="Freeform 129">
                <a:extLst>
                  <a:ext uri="{FF2B5EF4-FFF2-40B4-BE49-F238E27FC236}">
                    <a16:creationId xmlns:a16="http://schemas.microsoft.com/office/drawing/2014/main" id="{380E0C9A-7B9E-BB72-2BD4-16BE0A9808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941"/>
                <a:ext cx="23" cy="25"/>
              </a:xfrm>
              <a:custGeom>
                <a:avLst/>
                <a:gdLst>
                  <a:gd name="T0" fmla="*/ 23 w 23"/>
                  <a:gd name="T1" fmla="*/ 12 h 25"/>
                  <a:gd name="T2" fmla="*/ 23 w 23"/>
                  <a:gd name="T3" fmla="*/ 12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2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2 h 25"/>
                  <a:gd name="T20" fmla="*/ 0 w 23"/>
                  <a:gd name="T21" fmla="*/ 12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2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B03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24" name="Freeform 130">
                <a:extLst>
                  <a:ext uri="{FF2B5EF4-FFF2-40B4-BE49-F238E27FC236}">
                    <a16:creationId xmlns:a16="http://schemas.microsoft.com/office/drawing/2014/main" id="{D84816D7-4ACE-8BC8-04C8-7F1F23EADB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941"/>
                <a:ext cx="23" cy="25"/>
              </a:xfrm>
              <a:custGeom>
                <a:avLst/>
                <a:gdLst>
                  <a:gd name="T0" fmla="*/ 23 w 23"/>
                  <a:gd name="T1" fmla="*/ 12 h 25"/>
                  <a:gd name="T2" fmla="*/ 23 w 23"/>
                  <a:gd name="T3" fmla="*/ 12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2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2 h 25"/>
                  <a:gd name="T20" fmla="*/ 0 w 23"/>
                  <a:gd name="T21" fmla="*/ 12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2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B0306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25" name="Freeform 131">
                <a:extLst>
                  <a:ext uri="{FF2B5EF4-FFF2-40B4-BE49-F238E27FC236}">
                    <a16:creationId xmlns:a16="http://schemas.microsoft.com/office/drawing/2014/main" id="{237819D0-903C-E01A-9CF7-DC40AF6A69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983"/>
                <a:ext cx="23" cy="24"/>
              </a:xfrm>
              <a:custGeom>
                <a:avLst/>
                <a:gdLst>
                  <a:gd name="T0" fmla="*/ 23 w 23"/>
                  <a:gd name="T1" fmla="*/ 11 h 24"/>
                  <a:gd name="T2" fmla="*/ 23 w 23"/>
                  <a:gd name="T3" fmla="*/ 11 h 24"/>
                  <a:gd name="T4" fmla="*/ 21 w 23"/>
                  <a:gd name="T5" fmla="*/ 17 h 24"/>
                  <a:gd name="T6" fmla="*/ 19 w 23"/>
                  <a:gd name="T7" fmla="*/ 21 h 24"/>
                  <a:gd name="T8" fmla="*/ 15 w 23"/>
                  <a:gd name="T9" fmla="*/ 22 h 24"/>
                  <a:gd name="T10" fmla="*/ 11 w 23"/>
                  <a:gd name="T11" fmla="*/ 24 h 24"/>
                  <a:gd name="T12" fmla="*/ 6 w 23"/>
                  <a:gd name="T13" fmla="*/ 22 h 24"/>
                  <a:gd name="T14" fmla="*/ 2 w 23"/>
                  <a:gd name="T15" fmla="*/ 21 h 24"/>
                  <a:gd name="T16" fmla="*/ 0 w 23"/>
                  <a:gd name="T17" fmla="*/ 17 h 24"/>
                  <a:gd name="T18" fmla="*/ 0 w 23"/>
                  <a:gd name="T19" fmla="*/ 11 h 24"/>
                  <a:gd name="T20" fmla="*/ 0 w 23"/>
                  <a:gd name="T21" fmla="*/ 11 h 24"/>
                  <a:gd name="T22" fmla="*/ 0 w 23"/>
                  <a:gd name="T23" fmla="*/ 7 h 24"/>
                  <a:gd name="T24" fmla="*/ 2 w 23"/>
                  <a:gd name="T25" fmla="*/ 4 h 24"/>
                  <a:gd name="T26" fmla="*/ 6 w 23"/>
                  <a:gd name="T27" fmla="*/ 2 h 24"/>
                  <a:gd name="T28" fmla="*/ 11 w 23"/>
                  <a:gd name="T29" fmla="*/ 0 h 24"/>
                  <a:gd name="T30" fmla="*/ 15 w 23"/>
                  <a:gd name="T31" fmla="*/ 2 h 24"/>
                  <a:gd name="T32" fmla="*/ 19 w 23"/>
                  <a:gd name="T33" fmla="*/ 4 h 24"/>
                  <a:gd name="T34" fmla="*/ 21 w 23"/>
                  <a:gd name="T35" fmla="*/ 7 h 24"/>
                  <a:gd name="T36" fmla="*/ 23 w 23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1"/>
                    </a:moveTo>
                    <a:lnTo>
                      <a:pt x="23" y="11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6" y="22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1" y="7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B03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26" name="Freeform 132">
                <a:extLst>
                  <a:ext uri="{FF2B5EF4-FFF2-40B4-BE49-F238E27FC236}">
                    <a16:creationId xmlns:a16="http://schemas.microsoft.com/office/drawing/2014/main" id="{5CAC91FD-5A65-2CD4-95C5-C9133814A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983"/>
                <a:ext cx="23" cy="24"/>
              </a:xfrm>
              <a:custGeom>
                <a:avLst/>
                <a:gdLst>
                  <a:gd name="T0" fmla="*/ 23 w 23"/>
                  <a:gd name="T1" fmla="*/ 11 h 24"/>
                  <a:gd name="T2" fmla="*/ 23 w 23"/>
                  <a:gd name="T3" fmla="*/ 11 h 24"/>
                  <a:gd name="T4" fmla="*/ 21 w 23"/>
                  <a:gd name="T5" fmla="*/ 17 h 24"/>
                  <a:gd name="T6" fmla="*/ 19 w 23"/>
                  <a:gd name="T7" fmla="*/ 21 h 24"/>
                  <a:gd name="T8" fmla="*/ 15 w 23"/>
                  <a:gd name="T9" fmla="*/ 22 h 24"/>
                  <a:gd name="T10" fmla="*/ 11 w 23"/>
                  <a:gd name="T11" fmla="*/ 24 h 24"/>
                  <a:gd name="T12" fmla="*/ 6 w 23"/>
                  <a:gd name="T13" fmla="*/ 22 h 24"/>
                  <a:gd name="T14" fmla="*/ 2 w 23"/>
                  <a:gd name="T15" fmla="*/ 21 h 24"/>
                  <a:gd name="T16" fmla="*/ 0 w 23"/>
                  <a:gd name="T17" fmla="*/ 17 h 24"/>
                  <a:gd name="T18" fmla="*/ 0 w 23"/>
                  <a:gd name="T19" fmla="*/ 11 h 24"/>
                  <a:gd name="T20" fmla="*/ 0 w 23"/>
                  <a:gd name="T21" fmla="*/ 11 h 24"/>
                  <a:gd name="T22" fmla="*/ 0 w 23"/>
                  <a:gd name="T23" fmla="*/ 7 h 24"/>
                  <a:gd name="T24" fmla="*/ 2 w 23"/>
                  <a:gd name="T25" fmla="*/ 4 h 24"/>
                  <a:gd name="T26" fmla="*/ 6 w 23"/>
                  <a:gd name="T27" fmla="*/ 2 h 24"/>
                  <a:gd name="T28" fmla="*/ 11 w 23"/>
                  <a:gd name="T29" fmla="*/ 0 h 24"/>
                  <a:gd name="T30" fmla="*/ 15 w 23"/>
                  <a:gd name="T31" fmla="*/ 2 h 24"/>
                  <a:gd name="T32" fmla="*/ 19 w 23"/>
                  <a:gd name="T33" fmla="*/ 4 h 24"/>
                  <a:gd name="T34" fmla="*/ 21 w 23"/>
                  <a:gd name="T35" fmla="*/ 7 h 24"/>
                  <a:gd name="T36" fmla="*/ 23 w 23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1"/>
                    </a:moveTo>
                    <a:lnTo>
                      <a:pt x="23" y="11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6" y="22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1" y="7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B0306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27" name="Freeform 133">
                <a:extLst>
                  <a:ext uri="{FF2B5EF4-FFF2-40B4-BE49-F238E27FC236}">
                    <a16:creationId xmlns:a16="http://schemas.microsoft.com/office/drawing/2014/main" id="{A92EAC21-C307-A826-0217-D79C1995EB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" y="940"/>
                <a:ext cx="25" cy="22"/>
              </a:xfrm>
              <a:custGeom>
                <a:avLst/>
                <a:gdLst>
                  <a:gd name="T0" fmla="*/ 25 w 25"/>
                  <a:gd name="T1" fmla="*/ 11 h 22"/>
                  <a:gd name="T2" fmla="*/ 25 w 25"/>
                  <a:gd name="T3" fmla="*/ 11 h 22"/>
                  <a:gd name="T4" fmla="*/ 23 w 25"/>
                  <a:gd name="T5" fmla="*/ 17 h 22"/>
                  <a:gd name="T6" fmla="*/ 21 w 25"/>
                  <a:gd name="T7" fmla="*/ 20 h 22"/>
                  <a:gd name="T8" fmla="*/ 17 w 25"/>
                  <a:gd name="T9" fmla="*/ 22 h 22"/>
                  <a:gd name="T10" fmla="*/ 13 w 25"/>
                  <a:gd name="T11" fmla="*/ 22 h 22"/>
                  <a:gd name="T12" fmla="*/ 8 w 25"/>
                  <a:gd name="T13" fmla="*/ 22 h 22"/>
                  <a:gd name="T14" fmla="*/ 4 w 25"/>
                  <a:gd name="T15" fmla="*/ 20 h 22"/>
                  <a:gd name="T16" fmla="*/ 2 w 25"/>
                  <a:gd name="T17" fmla="*/ 17 h 22"/>
                  <a:gd name="T18" fmla="*/ 0 w 25"/>
                  <a:gd name="T19" fmla="*/ 11 h 22"/>
                  <a:gd name="T20" fmla="*/ 0 w 25"/>
                  <a:gd name="T21" fmla="*/ 11 h 22"/>
                  <a:gd name="T22" fmla="*/ 2 w 25"/>
                  <a:gd name="T23" fmla="*/ 5 h 22"/>
                  <a:gd name="T24" fmla="*/ 4 w 25"/>
                  <a:gd name="T25" fmla="*/ 1 h 22"/>
                  <a:gd name="T26" fmla="*/ 8 w 25"/>
                  <a:gd name="T27" fmla="*/ 0 h 22"/>
                  <a:gd name="T28" fmla="*/ 13 w 25"/>
                  <a:gd name="T29" fmla="*/ 0 h 22"/>
                  <a:gd name="T30" fmla="*/ 17 w 25"/>
                  <a:gd name="T31" fmla="*/ 0 h 22"/>
                  <a:gd name="T32" fmla="*/ 21 w 25"/>
                  <a:gd name="T33" fmla="*/ 1 h 22"/>
                  <a:gd name="T34" fmla="*/ 23 w 25"/>
                  <a:gd name="T35" fmla="*/ 5 h 22"/>
                  <a:gd name="T36" fmla="*/ 25 w 25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2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7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3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3" y="5"/>
                    </a:lnTo>
                    <a:lnTo>
                      <a:pt x="25" y="11"/>
                    </a:lnTo>
                    <a:close/>
                  </a:path>
                </a:pathLst>
              </a:custGeom>
              <a:solidFill>
                <a:srgbClr val="B03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28" name="Freeform 134">
                <a:extLst>
                  <a:ext uri="{FF2B5EF4-FFF2-40B4-BE49-F238E27FC236}">
                    <a16:creationId xmlns:a16="http://schemas.microsoft.com/office/drawing/2014/main" id="{80F406EF-BDFD-C709-4AD6-B8AAAB5FB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" y="940"/>
                <a:ext cx="25" cy="22"/>
              </a:xfrm>
              <a:custGeom>
                <a:avLst/>
                <a:gdLst>
                  <a:gd name="T0" fmla="*/ 25 w 25"/>
                  <a:gd name="T1" fmla="*/ 11 h 22"/>
                  <a:gd name="T2" fmla="*/ 25 w 25"/>
                  <a:gd name="T3" fmla="*/ 11 h 22"/>
                  <a:gd name="T4" fmla="*/ 23 w 25"/>
                  <a:gd name="T5" fmla="*/ 17 h 22"/>
                  <a:gd name="T6" fmla="*/ 21 w 25"/>
                  <a:gd name="T7" fmla="*/ 20 h 22"/>
                  <a:gd name="T8" fmla="*/ 17 w 25"/>
                  <a:gd name="T9" fmla="*/ 22 h 22"/>
                  <a:gd name="T10" fmla="*/ 13 w 25"/>
                  <a:gd name="T11" fmla="*/ 22 h 22"/>
                  <a:gd name="T12" fmla="*/ 8 w 25"/>
                  <a:gd name="T13" fmla="*/ 22 h 22"/>
                  <a:gd name="T14" fmla="*/ 4 w 25"/>
                  <a:gd name="T15" fmla="*/ 20 h 22"/>
                  <a:gd name="T16" fmla="*/ 2 w 25"/>
                  <a:gd name="T17" fmla="*/ 17 h 22"/>
                  <a:gd name="T18" fmla="*/ 0 w 25"/>
                  <a:gd name="T19" fmla="*/ 11 h 22"/>
                  <a:gd name="T20" fmla="*/ 0 w 25"/>
                  <a:gd name="T21" fmla="*/ 11 h 22"/>
                  <a:gd name="T22" fmla="*/ 2 w 25"/>
                  <a:gd name="T23" fmla="*/ 5 h 22"/>
                  <a:gd name="T24" fmla="*/ 4 w 25"/>
                  <a:gd name="T25" fmla="*/ 1 h 22"/>
                  <a:gd name="T26" fmla="*/ 8 w 25"/>
                  <a:gd name="T27" fmla="*/ 0 h 22"/>
                  <a:gd name="T28" fmla="*/ 13 w 25"/>
                  <a:gd name="T29" fmla="*/ 0 h 22"/>
                  <a:gd name="T30" fmla="*/ 17 w 25"/>
                  <a:gd name="T31" fmla="*/ 0 h 22"/>
                  <a:gd name="T32" fmla="*/ 21 w 25"/>
                  <a:gd name="T33" fmla="*/ 1 h 22"/>
                  <a:gd name="T34" fmla="*/ 23 w 25"/>
                  <a:gd name="T35" fmla="*/ 5 h 22"/>
                  <a:gd name="T36" fmla="*/ 25 w 25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2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7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3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3" y="5"/>
                    </a:lnTo>
                    <a:lnTo>
                      <a:pt x="25" y="11"/>
                    </a:lnTo>
                  </a:path>
                </a:pathLst>
              </a:custGeom>
              <a:noFill/>
              <a:ln w="9525">
                <a:solidFill>
                  <a:srgbClr val="B0306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29" name="Freeform 135">
                <a:extLst>
                  <a:ext uri="{FF2B5EF4-FFF2-40B4-BE49-F238E27FC236}">
                    <a16:creationId xmlns:a16="http://schemas.microsoft.com/office/drawing/2014/main" id="{262C2546-AF46-6361-5BC4-2757F5EFFA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947"/>
                <a:ext cx="24" cy="25"/>
              </a:xfrm>
              <a:custGeom>
                <a:avLst/>
                <a:gdLst>
                  <a:gd name="T0" fmla="*/ 24 w 24"/>
                  <a:gd name="T1" fmla="*/ 13 h 25"/>
                  <a:gd name="T2" fmla="*/ 24 w 24"/>
                  <a:gd name="T3" fmla="*/ 13 h 25"/>
                  <a:gd name="T4" fmla="*/ 22 w 24"/>
                  <a:gd name="T5" fmla="*/ 17 h 25"/>
                  <a:gd name="T6" fmla="*/ 21 w 24"/>
                  <a:gd name="T7" fmla="*/ 21 h 25"/>
                  <a:gd name="T8" fmla="*/ 17 w 24"/>
                  <a:gd name="T9" fmla="*/ 23 h 25"/>
                  <a:gd name="T10" fmla="*/ 11 w 24"/>
                  <a:gd name="T11" fmla="*/ 25 h 25"/>
                  <a:gd name="T12" fmla="*/ 7 w 24"/>
                  <a:gd name="T13" fmla="*/ 23 h 25"/>
                  <a:gd name="T14" fmla="*/ 4 w 24"/>
                  <a:gd name="T15" fmla="*/ 21 h 25"/>
                  <a:gd name="T16" fmla="*/ 2 w 24"/>
                  <a:gd name="T17" fmla="*/ 17 h 25"/>
                  <a:gd name="T18" fmla="*/ 0 w 24"/>
                  <a:gd name="T19" fmla="*/ 13 h 25"/>
                  <a:gd name="T20" fmla="*/ 0 w 24"/>
                  <a:gd name="T21" fmla="*/ 13 h 25"/>
                  <a:gd name="T22" fmla="*/ 2 w 24"/>
                  <a:gd name="T23" fmla="*/ 8 h 25"/>
                  <a:gd name="T24" fmla="*/ 4 w 24"/>
                  <a:gd name="T25" fmla="*/ 4 h 25"/>
                  <a:gd name="T26" fmla="*/ 7 w 24"/>
                  <a:gd name="T27" fmla="*/ 2 h 25"/>
                  <a:gd name="T28" fmla="*/ 11 w 24"/>
                  <a:gd name="T29" fmla="*/ 0 h 25"/>
                  <a:gd name="T30" fmla="*/ 17 w 24"/>
                  <a:gd name="T31" fmla="*/ 2 h 25"/>
                  <a:gd name="T32" fmla="*/ 21 w 24"/>
                  <a:gd name="T33" fmla="*/ 4 h 25"/>
                  <a:gd name="T34" fmla="*/ 22 w 24"/>
                  <a:gd name="T35" fmla="*/ 8 h 25"/>
                  <a:gd name="T36" fmla="*/ 24 w 24"/>
                  <a:gd name="T37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5">
                    <a:moveTo>
                      <a:pt x="24" y="13"/>
                    </a:moveTo>
                    <a:lnTo>
                      <a:pt x="24" y="13"/>
                    </a:lnTo>
                    <a:lnTo>
                      <a:pt x="22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2" y="8"/>
                    </a:lnTo>
                    <a:lnTo>
                      <a:pt x="24" y="13"/>
                    </a:lnTo>
                    <a:close/>
                  </a:path>
                </a:pathLst>
              </a:custGeom>
              <a:solidFill>
                <a:srgbClr val="B03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30" name="Freeform 136">
                <a:extLst>
                  <a:ext uri="{FF2B5EF4-FFF2-40B4-BE49-F238E27FC236}">
                    <a16:creationId xmlns:a16="http://schemas.microsoft.com/office/drawing/2014/main" id="{1986B7B9-55E9-30EC-6766-0A698B942E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947"/>
                <a:ext cx="24" cy="25"/>
              </a:xfrm>
              <a:custGeom>
                <a:avLst/>
                <a:gdLst>
                  <a:gd name="T0" fmla="*/ 24 w 24"/>
                  <a:gd name="T1" fmla="*/ 13 h 25"/>
                  <a:gd name="T2" fmla="*/ 24 w 24"/>
                  <a:gd name="T3" fmla="*/ 13 h 25"/>
                  <a:gd name="T4" fmla="*/ 22 w 24"/>
                  <a:gd name="T5" fmla="*/ 17 h 25"/>
                  <a:gd name="T6" fmla="*/ 21 w 24"/>
                  <a:gd name="T7" fmla="*/ 21 h 25"/>
                  <a:gd name="T8" fmla="*/ 17 w 24"/>
                  <a:gd name="T9" fmla="*/ 23 h 25"/>
                  <a:gd name="T10" fmla="*/ 11 w 24"/>
                  <a:gd name="T11" fmla="*/ 25 h 25"/>
                  <a:gd name="T12" fmla="*/ 7 w 24"/>
                  <a:gd name="T13" fmla="*/ 23 h 25"/>
                  <a:gd name="T14" fmla="*/ 4 w 24"/>
                  <a:gd name="T15" fmla="*/ 21 h 25"/>
                  <a:gd name="T16" fmla="*/ 2 w 24"/>
                  <a:gd name="T17" fmla="*/ 17 h 25"/>
                  <a:gd name="T18" fmla="*/ 0 w 24"/>
                  <a:gd name="T19" fmla="*/ 13 h 25"/>
                  <a:gd name="T20" fmla="*/ 0 w 24"/>
                  <a:gd name="T21" fmla="*/ 13 h 25"/>
                  <a:gd name="T22" fmla="*/ 2 w 24"/>
                  <a:gd name="T23" fmla="*/ 8 h 25"/>
                  <a:gd name="T24" fmla="*/ 4 w 24"/>
                  <a:gd name="T25" fmla="*/ 4 h 25"/>
                  <a:gd name="T26" fmla="*/ 7 w 24"/>
                  <a:gd name="T27" fmla="*/ 2 h 25"/>
                  <a:gd name="T28" fmla="*/ 11 w 24"/>
                  <a:gd name="T29" fmla="*/ 0 h 25"/>
                  <a:gd name="T30" fmla="*/ 17 w 24"/>
                  <a:gd name="T31" fmla="*/ 2 h 25"/>
                  <a:gd name="T32" fmla="*/ 21 w 24"/>
                  <a:gd name="T33" fmla="*/ 4 h 25"/>
                  <a:gd name="T34" fmla="*/ 22 w 24"/>
                  <a:gd name="T35" fmla="*/ 8 h 25"/>
                  <a:gd name="T36" fmla="*/ 24 w 24"/>
                  <a:gd name="T37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5">
                    <a:moveTo>
                      <a:pt x="24" y="13"/>
                    </a:moveTo>
                    <a:lnTo>
                      <a:pt x="24" y="13"/>
                    </a:lnTo>
                    <a:lnTo>
                      <a:pt x="22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2" y="8"/>
                    </a:lnTo>
                    <a:lnTo>
                      <a:pt x="24" y="13"/>
                    </a:lnTo>
                  </a:path>
                </a:pathLst>
              </a:custGeom>
              <a:noFill/>
              <a:ln w="9525">
                <a:solidFill>
                  <a:srgbClr val="B0306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31" name="Freeform 137">
                <a:extLst>
                  <a:ext uri="{FF2B5EF4-FFF2-40B4-BE49-F238E27FC236}">
                    <a16:creationId xmlns:a16="http://schemas.microsoft.com/office/drawing/2014/main" id="{C3FE4F1A-8D23-0247-129F-105ECD4EA6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" y="968"/>
                <a:ext cx="24" cy="24"/>
              </a:xfrm>
              <a:custGeom>
                <a:avLst/>
                <a:gdLst>
                  <a:gd name="T0" fmla="*/ 24 w 24"/>
                  <a:gd name="T1" fmla="*/ 13 h 24"/>
                  <a:gd name="T2" fmla="*/ 24 w 24"/>
                  <a:gd name="T3" fmla="*/ 13 h 24"/>
                  <a:gd name="T4" fmla="*/ 22 w 24"/>
                  <a:gd name="T5" fmla="*/ 17 h 24"/>
                  <a:gd name="T6" fmla="*/ 20 w 24"/>
                  <a:gd name="T7" fmla="*/ 20 h 24"/>
                  <a:gd name="T8" fmla="*/ 17 w 24"/>
                  <a:gd name="T9" fmla="*/ 22 h 24"/>
                  <a:gd name="T10" fmla="*/ 11 w 24"/>
                  <a:gd name="T11" fmla="*/ 24 h 24"/>
                  <a:gd name="T12" fmla="*/ 7 w 24"/>
                  <a:gd name="T13" fmla="*/ 22 h 24"/>
                  <a:gd name="T14" fmla="*/ 3 w 24"/>
                  <a:gd name="T15" fmla="*/ 20 h 24"/>
                  <a:gd name="T16" fmla="*/ 2 w 24"/>
                  <a:gd name="T17" fmla="*/ 17 h 24"/>
                  <a:gd name="T18" fmla="*/ 0 w 24"/>
                  <a:gd name="T19" fmla="*/ 13 h 24"/>
                  <a:gd name="T20" fmla="*/ 0 w 24"/>
                  <a:gd name="T21" fmla="*/ 13 h 24"/>
                  <a:gd name="T22" fmla="*/ 2 w 24"/>
                  <a:gd name="T23" fmla="*/ 7 h 24"/>
                  <a:gd name="T24" fmla="*/ 3 w 24"/>
                  <a:gd name="T25" fmla="*/ 4 h 24"/>
                  <a:gd name="T26" fmla="*/ 7 w 24"/>
                  <a:gd name="T27" fmla="*/ 2 h 24"/>
                  <a:gd name="T28" fmla="*/ 11 w 24"/>
                  <a:gd name="T29" fmla="*/ 0 h 24"/>
                  <a:gd name="T30" fmla="*/ 17 w 24"/>
                  <a:gd name="T31" fmla="*/ 2 h 24"/>
                  <a:gd name="T32" fmla="*/ 20 w 24"/>
                  <a:gd name="T33" fmla="*/ 4 h 24"/>
                  <a:gd name="T34" fmla="*/ 22 w 24"/>
                  <a:gd name="T35" fmla="*/ 7 h 24"/>
                  <a:gd name="T36" fmla="*/ 24 w 24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4">
                    <a:moveTo>
                      <a:pt x="24" y="13"/>
                    </a:moveTo>
                    <a:lnTo>
                      <a:pt x="24" y="13"/>
                    </a:lnTo>
                    <a:lnTo>
                      <a:pt x="22" y="17"/>
                    </a:lnTo>
                    <a:lnTo>
                      <a:pt x="20" y="20"/>
                    </a:lnTo>
                    <a:lnTo>
                      <a:pt x="17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2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7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0" y="4"/>
                    </a:lnTo>
                    <a:lnTo>
                      <a:pt x="22" y="7"/>
                    </a:lnTo>
                    <a:lnTo>
                      <a:pt x="24" y="13"/>
                    </a:lnTo>
                    <a:close/>
                  </a:path>
                </a:pathLst>
              </a:custGeom>
              <a:solidFill>
                <a:srgbClr val="B03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32" name="Freeform 138">
                <a:extLst>
                  <a:ext uri="{FF2B5EF4-FFF2-40B4-BE49-F238E27FC236}">
                    <a16:creationId xmlns:a16="http://schemas.microsoft.com/office/drawing/2014/main" id="{2D326A29-13BD-DB6C-5BF1-0AB4ADCFA2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" y="968"/>
                <a:ext cx="24" cy="24"/>
              </a:xfrm>
              <a:custGeom>
                <a:avLst/>
                <a:gdLst>
                  <a:gd name="T0" fmla="*/ 24 w 24"/>
                  <a:gd name="T1" fmla="*/ 13 h 24"/>
                  <a:gd name="T2" fmla="*/ 24 w 24"/>
                  <a:gd name="T3" fmla="*/ 13 h 24"/>
                  <a:gd name="T4" fmla="*/ 22 w 24"/>
                  <a:gd name="T5" fmla="*/ 17 h 24"/>
                  <a:gd name="T6" fmla="*/ 20 w 24"/>
                  <a:gd name="T7" fmla="*/ 20 h 24"/>
                  <a:gd name="T8" fmla="*/ 17 w 24"/>
                  <a:gd name="T9" fmla="*/ 22 h 24"/>
                  <a:gd name="T10" fmla="*/ 11 w 24"/>
                  <a:gd name="T11" fmla="*/ 24 h 24"/>
                  <a:gd name="T12" fmla="*/ 7 w 24"/>
                  <a:gd name="T13" fmla="*/ 22 h 24"/>
                  <a:gd name="T14" fmla="*/ 3 w 24"/>
                  <a:gd name="T15" fmla="*/ 20 h 24"/>
                  <a:gd name="T16" fmla="*/ 2 w 24"/>
                  <a:gd name="T17" fmla="*/ 17 h 24"/>
                  <a:gd name="T18" fmla="*/ 0 w 24"/>
                  <a:gd name="T19" fmla="*/ 13 h 24"/>
                  <a:gd name="T20" fmla="*/ 0 w 24"/>
                  <a:gd name="T21" fmla="*/ 13 h 24"/>
                  <a:gd name="T22" fmla="*/ 2 w 24"/>
                  <a:gd name="T23" fmla="*/ 7 h 24"/>
                  <a:gd name="T24" fmla="*/ 3 w 24"/>
                  <a:gd name="T25" fmla="*/ 4 h 24"/>
                  <a:gd name="T26" fmla="*/ 7 w 24"/>
                  <a:gd name="T27" fmla="*/ 2 h 24"/>
                  <a:gd name="T28" fmla="*/ 11 w 24"/>
                  <a:gd name="T29" fmla="*/ 0 h 24"/>
                  <a:gd name="T30" fmla="*/ 17 w 24"/>
                  <a:gd name="T31" fmla="*/ 2 h 24"/>
                  <a:gd name="T32" fmla="*/ 20 w 24"/>
                  <a:gd name="T33" fmla="*/ 4 h 24"/>
                  <a:gd name="T34" fmla="*/ 22 w 24"/>
                  <a:gd name="T35" fmla="*/ 7 h 24"/>
                  <a:gd name="T36" fmla="*/ 24 w 24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4">
                    <a:moveTo>
                      <a:pt x="24" y="13"/>
                    </a:moveTo>
                    <a:lnTo>
                      <a:pt x="24" y="13"/>
                    </a:lnTo>
                    <a:lnTo>
                      <a:pt x="22" y="17"/>
                    </a:lnTo>
                    <a:lnTo>
                      <a:pt x="20" y="20"/>
                    </a:lnTo>
                    <a:lnTo>
                      <a:pt x="17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2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7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0" y="4"/>
                    </a:lnTo>
                    <a:lnTo>
                      <a:pt x="22" y="7"/>
                    </a:lnTo>
                    <a:lnTo>
                      <a:pt x="24" y="13"/>
                    </a:lnTo>
                  </a:path>
                </a:pathLst>
              </a:custGeom>
              <a:noFill/>
              <a:ln w="9525">
                <a:solidFill>
                  <a:srgbClr val="B0306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33" name="Freeform 139">
                <a:extLst>
                  <a:ext uri="{FF2B5EF4-FFF2-40B4-BE49-F238E27FC236}">
                    <a16:creationId xmlns:a16="http://schemas.microsoft.com/office/drawing/2014/main" id="{48831F10-C3B6-11B5-D882-5A7558AC81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966"/>
                <a:ext cx="23" cy="22"/>
              </a:xfrm>
              <a:custGeom>
                <a:avLst/>
                <a:gdLst>
                  <a:gd name="T0" fmla="*/ 23 w 23"/>
                  <a:gd name="T1" fmla="*/ 11 h 22"/>
                  <a:gd name="T2" fmla="*/ 23 w 23"/>
                  <a:gd name="T3" fmla="*/ 11 h 22"/>
                  <a:gd name="T4" fmla="*/ 23 w 23"/>
                  <a:gd name="T5" fmla="*/ 17 h 22"/>
                  <a:gd name="T6" fmla="*/ 19 w 23"/>
                  <a:gd name="T7" fmla="*/ 21 h 22"/>
                  <a:gd name="T8" fmla="*/ 15 w 23"/>
                  <a:gd name="T9" fmla="*/ 22 h 22"/>
                  <a:gd name="T10" fmla="*/ 12 w 23"/>
                  <a:gd name="T11" fmla="*/ 22 h 22"/>
                  <a:gd name="T12" fmla="*/ 8 w 23"/>
                  <a:gd name="T13" fmla="*/ 22 h 22"/>
                  <a:gd name="T14" fmla="*/ 4 w 23"/>
                  <a:gd name="T15" fmla="*/ 21 h 22"/>
                  <a:gd name="T16" fmla="*/ 0 w 23"/>
                  <a:gd name="T17" fmla="*/ 17 h 22"/>
                  <a:gd name="T18" fmla="*/ 0 w 23"/>
                  <a:gd name="T19" fmla="*/ 11 h 22"/>
                  <a:gd name="T20" fmla="*/ 0 w 23"/>
                  <a:gd name="T21" fmla="*/ 11 h 22"/>
                  <a:gd name="T22" fmla="*/ 0 w 23"/>
                  <a:gd name="T23" fmla="*/ 6 h 22"/>
                  <a:gd name="T24" fmla="*/ 4 w 23"/>
                  <a:gd name="T25" fmla="*/ 4 h 22"/>
                  <a:gd name="T26" fmla="*/ 8 w 23"/>
                  <a:gd name="T27" fmla="*/ 0 h 22"/>
                  <a:gd name="T28" fmla="*/ 12 w 23"/>
                  <a:gd name="T29" fmla="*/ 0 h 22"/>
                  <a:gd name="T30" fmla="*/ 15 w 23"/>
                  <a:gd name="T31" fmla="*/ 0 h 22"/>
                  <a:gd name="T32" fmla="*/ 19 w 23"/>
                  <a:gd name="T33" fmla="*/ 4 h 22"/>
                  <a:gd name="T34" fmla="*/ 23 w 23"/>
                  <a:gd name="T35" fmla="*/ 6 h 22"/>
                  <a:gd name="T36" fmla="*/ 23 w 23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2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4"/>
                    </a:lnTo>
                    <a:lnTo>
                      <a:pt x="23" y="6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B03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34" name="Freeform 140">
                <a:extLst>
                  <a:ext uri="{FF2B5EF4-FFF2-40B4-BE49-F238E27FC236}">
                    <a16:creationId xmlns:a16="http://schemas.microsoft.com/office/drawing/2014/main" id="{45E2870F-5E7C-4126-007D-4E8E2B197B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966"/>
                <a:ext cx="23" cy="22"/>
              </a:xfrm>
              <a:custGeom>
                <a:avLst/>
                <a:gdLst>
                  <a:gd name="T0" fmla="*/ 23 w 23"/>
                  <a:gd name="T1" fmla="*/ 11 h 22"/>
                  <a:gd name="T2" fmla="*/ 23 w 23"/>
                  <a:gd name="T3" fmla="*/ 11 h 22"/>
                  <a:gd name="T4" fmla="*/ 23 w 23"/>
                  <a:gd name="T5" fmla="*/ 17 h 22"/>
                  <a:gd name="T6" fmla="*/ 19 w 23"/>
                  <a:gd name="T7" fmla="*/ 21 h 22"/>
                  <a:gd name="T8" fmla="*/ 15 w 23"/>
                  <a:gd name="T9" fmla="*/ 22 h 22"/>
                  <a:gd name="T10" fmla="*/ 12 w 23"/>
                  <a:gd name="T11" fmla="*/ 22 h 22"/>
                  <a:gd name="T12" fmla="*/ 8 w 23"/>
                  <a:gd name="T13" fmla="*/ 22 h 22"/>
                  <a:gd name="T14" fmla="*/ 4 w 23"/>
                  <a:gd name="T15" fmla="*/ 21 h 22"/>
                  <a:gd name="T16" fmla="*/ 0 w 23"/>
                  <a:gd name="T17" fmla="*/ 17 h 22"/>
                  <a:gd name="T18" fmla="*/ 0 w 23"/>
                  <a:gd name="T19" fmla="*/ 11 h 22"/>
                  <a:gd name="T20" fmla="*/ 0 w 23"/>
                  <a:gd name="T21" fmla="*/ 11 h 22"/>
                  <a:gd name="T22" fmla="*/ 0 w 23"/>
                  <a:gd name="T23" fmla="*/ 6 h 22"/>
                  <a:gd name="T24" fmla="*/ 4 w 23"/>
                  <a:gd name="T25" fmla="*/ 4 h 22"/>
                  <a:gd name="T26" fmla="*/ 8 w 23"/>
                  <a:gd name="T27" fmla="*/ 0 h 22"/>
                  <a:gd name="T28" fmla="*/ 12 w 23"/>
                  <a:gd name="T29" fmla="*/ 0 h 22"/>
                  <a:gd name="T30" fmla="*/ 15 w 23"/>
                  <a:gd name="T31" fmla="*/ 0 h 22"/>
                  <a:gd name="T32" fmla="*/ 19 w 23"/>
                  <a:gd name="T33" fmla="*/ 4 h 22"/>
                  <a:gd name="T34" fmla="*/ 23 w 23"/>
                  <a:gd name="T35" fmla="*/ 6 h 22"/>
                  <a:gd name="T36" fmla="*/ 23 w 23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2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4"/>
                    </a:lnTo>
                    <a:lnTo>
                      <a:pt x="23" y="6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B0306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35" name="Freeform 141">
                <a:extLst>
                  <a:ext uri="{FF2B5EF4-FFF2-40B4-BE49-F238E27FC236}">
                    <a16:creationId xmlns:a16="http://schemas.microsoft.com/office/drawing/2014/main" id="{9C6B86DA-5F5E-F267-49AF-8102259AD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9" y="979"/>
                <a:ext cx="22" cy="25"/>
              </a:xfrm>
              <a:custGeom>
                <a:avLst/>
                <a:gdLst>
                  <a:gd name="T0" fmla="*/ 22 w 22"/>
                  <a:gd name="T1" fmla="*/ 13 h 25"/>
                  <a:gd name="T2" fmla="*/ 22 w 22"/>
                  <a:gd name="T3" fmla="*/ 13 h 25"/>
                  <a:gd name="T4" fmla="*/ 20 w 22"/>
                  <a:gd name="T5" fmla="*/ 17 h 25"/>
                  <a:gd name="T6" fmla="*/ 19 w 22"/>
                  <a:gd name="T7" fmla="*/ 21 h 25"/>
                  <a:gd name="T8" fmla="*/ 15 w 22"/>
                  <a:gd name="T9" fmla="*/ 23 h 25"/>
                  <a:gd name="T10" fmla="*/ 11 w 22"/>
                  <a:gd name="T11" fmla="*/ 25 h 25"/>
                  <a:gd name="T12" fmla="*/ 7 w 22"/>
                  <a:gd name="T13" fmla="*/ 23 h 25"/>
                  <a:gd name="T14" fmla="*/ 3 w 22"/>
                  <a:gd name="T15" fmla="*/ 21 h 25"/>
                  <a:gd name="T16" fmla="*/ 0 w 22"/>
                  <a:gd name="T17" fmla="*/ 17 h 25"/>
                  <a:gd name="T18" fmla="*/ 0 w 22"/>
                  <a:gd name="T19" fmla="*/ 13 h 25"/>
                  <a:gd name="T20" fmla="*/ 0 w 22"/>
                  <a:gd name="T21" fmla="*/ 13 h 25"/>
                  <a:gd name="T22" fmla="*/ 0 w 22"/>
                  <a:gd name="T23" fmla="*/ 8 h 25"/>
                  <a:gd name="T24" fmla="*/ 3 w 22"/>
                  <a:gd name="T25" fmla="*/ 4 h 25"/>
                  <a:gd name="T26" fmla="*/ 7 w 22"/>
                  <a:gd name="T27" fmla="*/ 2 h 25"/>
                  <a:gd name="T28" fmla="*/ 11 w 22"/>
                  <a:gd name="T29" fmla="*/ 0 h 25"/>
                  <a:gd name="T30" fmla="*/ 15 w 22"/>
                  <a:gd name="T31" fmla="*/ 2 h 25"/>
                  <a:gd name="T32" fmla="*/ 19 w 22"/>
                  <a:gd name="T33" fmla="*/ 4 h 25"/>
                  <a:gd name="T34" fmla="*/ 20 w 22"/>
                  <a:gd name="T35" fmla="*/ 8 h 25"/>
                  <a:gd name="T36" fmla="*/ 22 w 22"/>
                  <a:gd name="T37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5">
                    <a:moveTo>
                      <a:pt x="22" y="13"/>
                    </a:moveTo>
                    <a:lnTo>
                      <a:pt x="22" y="13"/>
                    </a:lnTo>
                    <a:lnTo>
                      <a:pt x="20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5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0" y="8"/>
                    </a:lnTo>
                    <a:lnTo>
                      <a:pt x="22" y="13"/>
                    </a:lnTo>
                    <a:close/>
                  </a:path>
                </a:pathLst>
              </a:custGeom>
              <a:solidFill>
                <a:srgbClr val="B03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36" name="Freeform 142">
                <a:extLst>
                  <a:ext uri="{FF2B5EF4-FFF2-40B4-BE49-F238E27FC236}">
                    <a16:creationId xmlns:a16="http://schemas.microsoft.com/office/drawing/2014/main" id="{C92657C1-F505-55B3-2796-931BB037A9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9" y="979"/>
                <a:ext cx="22" cy="25"/>
              </a:xfrm>
              <a:custGeom>
                <a:avLst/>
                <a:gdLst>
                  <a:gd name="T0" fmla="*/ 22 w 22"/>
                  <a:gd name="T1" fmla="*/ 13 h 25"/>
                  <a:gd name="T2" fmla="*/ 22 w 22"/>
                  <a:gd name="T3" fmla="*/ 13 h 25"/>
                  <a:gd name="T4" fmla="*/ 20 w 22"/>
                  <a:gd name="T5" fmla="*/ 17 h 25"/>
                  <a:gd name="T6" fmla="*/ 19 w 22"/>
                  <a:gd name="T7" fmla="*/ 21 h 25"/>
                  <a:gd name="T8" fmla="*/ 15 w 22"/>
                  <a:gd name="T9" fmla="*/ 23 h 25"/>
                  <a:gd name="T10" fmla="*/ 11 w 22"/>
                  <a:gd name="T11" fmla="*/ 25 h 25"/>
                  <a:gd name="T12" fmla="*/ 7 w 22"/>
                  <a:gd name="T13" fmla="*/ 23 h 25"/>
                  <a:gd name="T14" fmla="*/ 3 w 22"/>
                  <a:gd name="T15" fmla="*/ 21 h 25"/>
                  <a:gd name="T16" fmla="*/ 0 w 22"/>
                  <a:gd name="T17" fmla="*/ 17 h 25"/>
                  <a:gd name="T18" fmla="*/ 0 w 22"/>
                  <a:gd name="T19" fmla="*/ 13 h 25"/>
                  <a:gd name="T20" fmla="*/ 0 w 22"/>
                  <a:gd name="T21" fmla="*/ 13 h 25"/>
                  <a:gd name="T22" fmla="*/ 0 w 22"/>
                  <a:gd name="T23" fmla="*/ 8 h 25"/>
                  <a:gd name="T24" fmla="*/ 3 w 22"/>
                  <a:gd name="T25" fmla="*/ 4 h 25"/>
                  <a:gd name="T26" fmla="*/ 7 w 22"/>
                  <a:gd name="T27" fmla="*/ 2 h 25"/>
                  <a:gd name="T28" fmla="*/ 11 w 22"/>
                  <a:gd name="T29" fmla="*/ 0 h 25"/>
                  <a:gd name="T30" fmla="*/ 15 w 22"/>
                  <a:gd name="T31" fmla="*/ 2 h 25"/>
                  <a:gd name="T32" fmla="*/ 19 w 22"/>
                  <a:gd name="T33" fmla="*/ 4 h 25"/>
                  <a:gd name="T34" fmla="*/ 20 w 22"/>
                  <a:gd name="T35" fmla="*/ 8 h 25"/>
                  <a:gd name="T36" fmla="*/ 22 w 22"/>
                  <a:gd name="T37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5">
                    <a:moveTo>
                      <a:pt x="22" y="13"/>
                    </a:moveTo>
                    <a:lnTo>
                      <a:pt x="22" y="13"/>
                    </a:lnTo>
                    <a:lnTo>
                      <a:pt x="20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5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0" y="8"/>
                    </a:lnTo>
                    <a:lnTo>
                      <a:pt x="22" y="13"/>
                    </a:lnTo>
                  </a:path>
                </a:pathLst>
              </a:custGeom>
              <a:noFill/>
              <a:ln w="9525">
                <a:solidFill>
                  <a:srgbClr val="B0306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37" name="Freeform 143">
                <a:extLst>
                  <a:ext uri="{FF2B5EF4-FFF2-40B4-BE49-F238E27FC236}">
                    <a16:creationId xmlns:a16="http://schemas.microsoft.com/office/drawing/2014/main" id="{915E6602-0943-8B3B-8975-FDE38EB98D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  <a:close/>
                  </a:path>
                </a:pathLst>
              </a:custGeom>
              <a:solidFill>
                <a:srgbClr val="FF83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38" name="Freeform 144">
                <a:extLst>
                  <a:ext uri="{FF2B5EF4-FFF2-40B4-BE49-F238E27FC236}">
                    <a16:creationId xmlns:a16="http://schemas.microsoft.com/office/drawing/2014/main" id="{E18B52A1-6120-0CE3-0097-06A4166C44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</a:path>
                </a:pathLst>
              </a:custGeom>
              <a:noFill/>
              <a:ln w="9525">
                <a:solidFill>
                  <a:srgbClr val="FF83F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39" name="Freeform 145">
                <a:extLst>
                  <a:ext uri="{FF2B5EF4-FFF2-40B4-BE49-F238E27FC236}">
                    <a16:creationId xmlns:a16="http://schemas.microsoft.com/office/drawing/2014/main" id="{5D588EED-D8B6-9F1F-238F-402B87D6F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  <a:close/>
                  </a:path>
                </a:pathLst>
              </a:custGeom>
              <a:solidFill>
                <a:srgbClr val="FF83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40" name="Freeform 146">
                <a:extLst>
                  <a:ext uri="{FF2B5EF4-FFF2-40B4-BE49-F238E27FC236}">
                    <a16:creationId xmlns:a16="http://schemas.microsoft.com/office/drawing/2014/main" id="{463F4D79-AD42-D0A5-60AE-F407553031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</a:path>
                </a:pathLst>
              </a:custGeom>
              <a:noFill/>
              <a:ln w="9525">
                <a:solidFill>
                  <a:srgbClr val="FF83F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41" name="Freeform 147">
                <a:extLst>
                  <a:ext uri="{FF2B5EF4-FFF2-40B4-BE49-F238E27FC236}">
                    <a16:creationId xmlns:a16="http://schemas.microsoft.com/office/drawing/2014/main" id="{7CA0AF9B-EC5C-675B-A1FE-82F6339F1E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1331"/>
                <a:ext cx="22" cy="24"/>
              </a:xfrm>
              <a:custGeom>
                <a:avLst/>
                <a:gdLst>
                  <a:gd name="T0" fmla="*/ 22 w 22"/>
                  <a:gd name="T1" fmla="*/ 13 h 24"/>
                  <a:gd name="T2" fmla="*/ 22 w 22"/>
                  <a:gd name="T3" fmla="*/ 13 h 24"/>
                  <a:gd name="T4" fmla="*/ 22 w 22"/>
                  <a:gd name="T5" fmla="*/ 17 h 24"/>
                  <a:gd name="T6" fmla="*/ 18 w 22"/>
                  <a:gd name="T7" fmla="*/ 20 h 24"/>
                  <a:gd name="T8" fmla="*/ 15 w 22"/>
                  <a:gd name="T9" fmla="*/ 22 h 24"/>
                  <a:gd name="T10" fmla="*/ 11 w 22"/>
                  <a:gd name="T11" fmla="*/ 24 h 24"/>
                  <a:gd name="T12" fmla="*/ 7 w 22"/>
                  <a:gd name="T13" fmla="*/ 22 h 24"/>
                  <a:gd name="T14" fmla="*/ 3 w 22"/>
                  <a:gd name="T15" fmla="*/ 20 h 24"/>
                  <a:gd name="T16" fmla="*/ 0 w 22"/>
                  <a:gd name="T17" fmla="*/ 17 h 24"/>
                  <a:gd name="T18" fmla="*/ 0 w 22"/>
                  <a:gd name="T19" fmla="*/ 13 h 24"/>
                  <a:gd name="T20" fmla="*/ 0 w 22"/>
                  <a:gd name="T21" fmla="*/ 13 h 24"/>
                  <a:gd name="T22" fmla="*/ 0 w 22"/>
                  <a:gd name="T23" fmla="*/ 7 h 24"/>
                  <a:gd name="T24" fmla="*/ 3 w 22"/>
                  <a:gd name="T25" fmla="*/ 3 h 24"/>
                  <a:gd name="T26" fmla="*/ 7 w 22"/>
                  <a:gd name="T27" fmla="*/ 1 h 24"/>
                  <a:gd name="T28" fmla="*/ 11 w 22"/>
                  <a:gd name="T29" fmla="*/ 0 h 24"/>
                  <a:gd name="T30" fmla="*/ 15 w 22"/>
                  <a:gd name="T31" fmla="*/ 1 h 24"/>
                  <a:gd name="T32" fmla="*/ 18 w 22"/>
                  <a:gd name="T33" fmla="*/ 3 h 24"/>
                  <a:gd name="T34" fmla="*/ 22 w 22"/>
                  <a:gd name="T35" fmla="*/ 7 h 24"/>
                  <a:gd name="T36" fmla="*/ 22 w 22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3"/>
                    </a:moveTo>
                    <a:lnTo>
                      <a:pt x="22" y="13"/>
                    </a:lnTo>
                    <a:lnTo>
                      <a:pt x="22" y="17"/>
                    </a:lnTo>
                    <a:lnTo>
                      <a:pt x="18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15" y="1"/>
                    </a:lnTo>
                    <a:lnTo>
                      <a:pt x="18" y="3"/>
                    </a:lnTo>
                    <a:lnTo>
                      <a:pt x="22" y="7"/>
                    </a:lnTo>
                    <a:lnTo>
                      <a:pt x="22" y="13"/>
                    </a:lnTo>
                    <a:close/>
                  </a:path>
                </a:pathLst>
              </a:custGeom>
              <a:solidFill>
                <a:srgbClr val="FF83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42" name="Freeform 148">
                <a:extLst>
                  <a:ext uri="{FF2B5EF4-FFF2-40B4-BE49-F238E27FC236}">
                    <a16:creationId xmlns:a16="http://schemas.microsoft.com/office/drawing/2014/main" id="{3BAD978D-F30C-1AB7-3519-EE1695C54F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1331"/>
                <a:ext cx="22" cy="24"/>
              </a:xfrm>
              <a:custGeom>
                <a:avLst/>
                <a:gdLst>
                  <a:gd name="T0" fmla="*/ 22 w 22"/>
                  <a:gd name="T1" fmla="*/ 13 h 24"/>
                  <a:gd name="T2" fmla="*/ 22 w 22"/>
                  <a:gd name="T3" fmla="*/ 13 h 24"/>
                  <a:gd name="T4" fmla="*/ 22 w 22"/>
                  <a:gd name="T5" fmla="*/ 17 h 24"/>
                  <a:gd name="T6" fmla="*/ 18 w 22"/>
                  <a:gd name="T7" fmla="*/ 20 h 24"/>
                  <a:gd name="T8" fmla="*/ 15 w 22"/>
                  <a:gd name="T9" fmla="*/ 22 h 24"/>
                  <a:gd name="T10" fmla="*/ 11 w 22"/>
                  <a:gd name="T11" fmla="*/ 24 h 24"/>
                  <a:gd name="T12" fmla="*/ 7 w 22"/>
                  <a:gd name="T13" fmla="*/ 22 h 24"/>
                  <a:gd name="T14" fmla="*/ 3 w 22"/>
                  <a:gd name="T15" fmla="*/ 20 h 24"/>
                  <a:gd name="T16" fmla="*/ 0 w 22"/>
                  <a:gd name="T17" fmla="*/ 17 h 24"/>
                  <a:gd name="T18" fmla="*/ 0 w 22"/>
                  <a:gd name="T19" fmla="*/ 13 h 24"/>
                  <a:gd name="T20" fmla="*/ 0 w 22"/>
                  <a:gd name="T21" fmla="*/ 13 h 24"/>
                  <a:gd name="T22" fmla="*/ 0 w 22"/>
                  <a:gd name="T23" fmla="*/ 7 h 24"/>
                  <a:gd name="T24" fmla="*/ 3 w 22"/>
                  <a:gd name="T25" fmla="*/ 3 h 24"/>
                  <a:gd name="T26" fmla="*/ 7 w 22"/>
                  <a:gd name="T27" fmla="*/ 1 h 24"/>
                  <a:gd name="T28" fmla="*/ 11 w 22"/>
                  <a:gd name="T29" fmla="*/ 0 h 24"/>
                  <a:gd name="T30" fmla="*/ 15 w 22"/>
                  <a:gd name="T31" fmla="*/ 1 h 24"/>
                  <a:gd name="T32" fmla="*/ 18 w 22"/>
                  <a:gd name="T33" fmla="*/ 3 h 24"/>
                  <a:gd name="T34" fmla="*/ 22 w 22"/>
                  <a:gd name="T35" fmla="*/ 7 h 24"/>
                  <a:gd name="T36" fmla="*/ 22 w 22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3"/>
                    </a:moveTo>
                    <a:lnTo>
                      <a:pt x="22" y="13"/>
                    </a:lnTo>
                    <a:lnTo>
                      <a:pt x="22" y="17"/>
                    </a:lnTo>
                    <a:lnTo>
                      <a:pt x="18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15" y="1"/>
                    </a:lnTo>
                    <a:lnTo>
                      <a:pt x="18" y="3"/>
                    </a:lnTo>
                    <a:lnTo>
                      <a:pt x="22" y="7"/>
                    </a:lnTo>
                    <a:lnTo>
                      <a:pt x="22" y="13"/>
                    </a:lnTo>
                  </a:path>
                </a:pathLst>
              </a:custGeom>
              <a:noFill/>
              <a:ln w="9525">
                <a:solidFill>
                  <a:srgbClr val="FF83F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43" name="Freeform 149">
                <a:extLst>
                  <a:ext uri="{FF2B5EF4-FFF2-40B4-BE49-F238E27FC236}">
                    <a16:creationId xmlns:a16="http://schemas.microsoft.com/office/drawing/2014/main" id="{8ACC86E8-B334-AAE5-A49F-37DE8E586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1101"/>
                <a:ext cx="23" cy="25"/>
              </a:xfrm>
              <a:custGeom>
                <a:avLst/>
                <a:gdLst>
                  <a:gd name="T0" fmla="*/ 23 w 23"/>
                  <a:gd name="T1" fmla="*/ 12 h 25"/>
                  <a:gd name="T2" fmla="*/ 23 w 23"/>
                  <a:gd name="T3" fmla="*/ 12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2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2 h 25"/>
                  <a:gd name="T20" fmla="*/ 0 w 23"/>
                  <a:gd name="T21" fmla="*/ 12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2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FF83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44" name="Freeform 150">
                <a:extLst>
                  <a:ext uri="{FF2B5EF4-FFF2-40B4-BE49-F238E27FC236}">
                    <a16:creationId xmlns:a16="http://schemas.microsoft.com/office/drawing/2014/main" id="{5C24935D-C2CA-3699-5272-63CD94C42F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1101"/>
                <a:ext cx="23" cy="25"/>
              </a:xfrm>
              <a:custGeom>
                <a:avLst/>
                <a:gdLst>
                  <a:gd name="T0" fmla="*/ 23 w 23"/>
                  <a:gd name="T1" fmla="*/ 12 h 25"/>
                  <a:gd name="T2" fmla="*/ 23 w 23"/>
                  <a:gd name="T3" fmla="*/ 12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2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2 h 25"/>
                  <a:gd name="T20" fmla="*/ 0 w 23"/>
                  <a:gd name="T21" fmla="*/ 12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2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FF83F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45" name="Freeform 151">
                <a:extLst>
                  <a:ext uri="{FF2B5EF4-FFF2-40B4-BE49-F238E27FC236}">
                    <a16:creationId xmlns:a16="http://schemas.microsoft.com/office/drawing/2014/main" id="{A1772ED4-DB63-546A-EE6E-971A9DEDBE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1022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1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6 w 23"/>
                  <a:gd name="T13" fmla="*/ 23 h 23"/>
                  <a:gd name="T14" fmla="*/ 2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2 w 23"/>
                  <a:gd name="T25" fmla="*/ 2 h 23"/>
                  <a:gd name="T26" fmla="*/ 6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1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1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FF83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46" name="Freeform 152">
                <a:extLst>
                  <a:ext uri="{FF2B5EF4-FFF2-40B4-BE49-F238E27FC236}">
                    <a16:creationId xmlns:a16="http://schemas.microsoft.com/office/drawing/2014/main" id="{FDD77D2C-B546-9E59-0B4C-6EAA8795E6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1022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1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6 w 23"/>
                  <a:gd name="T13" fmla="*/ 23 h 23"/>
                  <a:gd name="T14" fmla="*/ 2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2 w 23"/>
                  <a:gd name="T25" fmla="*/ 2 h 23"/>
                  <a:gd name="T26" fmla="*/ 6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1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1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FF83F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47" name="Freeform 153">
                <a:extLst>
                  <a:ext uri="{FF2B5EF4-FFF2-40B4-BE49-F238E27FC236}">
                    <a16:creationId xmlns:a16="http://schemas.microsoft.com/office/drawing/2014/main" id="{4F0579DA-6248-0971-FE68-41D403634F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1022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1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6 w 23"/>
                  <a:gd name="T13" fmla="*/ 23 h 23"/>
                  <a:gd name="T14" fmla="*/ 2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2 w 23"/>
                  <a:gd name="T25" fmla="*/ 2 h 23"/>
                  <a:gd name="T26" fmla="*/ 6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1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1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FF83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48" name="Freeform 154">
                <a:extLst>
                  <a:ext uri="{FF2B5EF4-FFF2-40B4-BE49-F238E27FC236}">
                    <a16:creationId xmlns:a16="http://schemas.microsoft.com/office/drawing/2014/main" id="{F2EA75A0-F711-6556-EECB-2C104B6E46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1022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1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6 w 23"/>
                  <a:gd name="T13" fmla="*/ 23 h 23"/>
                  <a:gd name="T14" fmla="*/ 2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2 w 23"/>
                  <a:gd name="T25" fmla="*/ 2 h 23"/>
                  <a:gd name="T26" fmla="*/ 6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1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1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FF83F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49" name="Freeform 155">
                <a:extLst>
                  <a:ext uri="{FF2B5EF4-FFF2-40B4-BE49-F238E27FC236}">
                    <a16:creationId xmlns:a16="http://schemas.microsoft.com/office/drawing/2014/main" id="{D0E78F80-E3EF-4833-D0E8-08303C77A7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" y="1079"/>
                <a:ext cx="25" cy="24"/>
              </a:xfrm>
              <a:custGeom>
                <a:avLst/>
                <a:gdLst>
                  <a:gd name="T0" fmla="*/ 25 w 25"/>
                  <a:gd name="T1" fmla="*/ 13 h 24"/>
                  <a:gd name="T2" fmla="*/ 25 w 25"/>
                  <a:gd name="T3" fmla="*/ 13 h 24"/>
                  <a:gd name="T4" fmla="*/ 23 w 25"/>
                  <a:gd name="T5" fmla="*/ 17 h 24"/>
                  <a:gd name="T6" fmla="*/ 21 w 25"/>
                  <a:gd name="T7" fmla="*/ 20 h 24"/>
                  <a:gd name="T8" fmla="*/ 17 w 25"/>
                  <a:gd name="T9" fmla="*/ 22 h 24"/>
                  <a:gd name="T10" fmla="*/ 13 w 25"/>
                  <a:gd name="T11" fmla="*/ 24 h 24"/>
                  <a:gd name="T12" fmla="*/ 8 w 25"/>
                  <a:gd name="T13" fmla="*/ 22 h 24"/>
                  <a:gd name="T14" fmla="*/ 4 w 25"/>
                  <a:gd name="T15" fmla="*/ 20 h 24"/>
                  <a:gd name="T16" fmla="*/ 2 w 25"/>
                  <a:gd name="T17" fmla="*/ 17 h 24"/>
                  <a:gd name="T18" fmla="*/ 0 w 25"/>
                  <a:gd name="T19" fmla="*/ 13 h 24"/>
                  <a:gd name="T20" fmla="*/ 0 w 25"/>
                  <a:gd name="T21" fmla="*/ 13 h 24"/>
                  <a:gd name="T22" fmla="*/ 2 w 25"/>
                  <a:gd name="T23" fmla="*/ 7 h 24"/>
                  <a:gd name="T24" fmla="*/ 4 w 25"/>
                  <a:gd name="T25" fmla="*/ 3 h 24"/>
                  <a:gd name="T26" fmla="*/ 8 w 25"/>
                  <a:gd name="T27" fmla="*/ 2 h 24"/>
                  <a:gd name="T28" fmla="*/ 13 w 25"/>
                  <a:gd name="T29" fmla="*/ 0 h 24"/>
                  <a:gd name="T30" fmla="*/ 17 w 25"/>
                  <a:gd name="T31" fmla="*/ 2 h 24"/>
                  <a:gd name="T32" fmla="*/ 21 w 25"/>
                  <a:gd name="T33" fmla="*/ 3 h 24"/>
                  <a:gd name="T34" fmla="*/ 23 w 25"/>
                  <a:gd name="T35" fmla="*/ 7 h 24"/>
                  <a:gd name="T36" fmla="*/ 25 w 25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4">
                    <a:moveTo>
                      <a:pt x="25" y="13"/>
                    </a:moveTo>
                    <a:lnTo>
                      <a:pt x="25" y="13"/>
                    </a:lnTo>
                    <a:lnTo>
                      <a:pt x="23" y="17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3" y="24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7"/>
                    </a:lnTo>
                    <a:lnTo>
                      <a:pt x="4" y="3"/>
                    </a:lnTo>
                    <a:lnTo>
                      <a:pt x="8" y="2"/>
                    </a:lnTo>
                    <a:lnTo>
                      <a:pt x="13" y="0"/>
                    </a:lnTo>
                    <a:lnTo>
                      <a:pt x="17" y="2"/>
                    </a:lnTo>
                    <a:lnTo>
                      <a:pt x="21" y="3"/>
                    </a:lnTo>
                    <a:lnTo>
                      <a:pt x="23" y="7"/>
                    </a:lnTo>
                    <a:lnTo>
                      <a:pt x="25" y="13"/>
                    </a:lnTo>
                    <a:close/>
                  </a:path>
                </a:pathLst>
              </a:custGeom>
              <a:solidFill>
                <a:srgbClr val="FF83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50" name="Freeform 156">
                <a:extLst>
                  <a:ext uri="{FF2B5EF4-FFF2-40B4-BE49-F238E27FC236}">
                    <a16:creationId xmlns:a16="http://schemas.microsoft.com/office/drawing/2014/main" id="{476CAA71-1749-68CE-BC91-438B713BDB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" y="1079"/>
                <a:ext cx="25" cy="24"/>
              </a:xfrm>
              <a:custGeom>
                <a:avLst/>
                <a:gdLst>
                  <a:gd name="T0" fmla="*/ 25 w 25"/>
                  <a:gd name="T1" fmla="*/ 13 h 24"/>
                  <a:gd name="T2" fmla="*/ 25 w 25"/>
                  <a:gd name="T3" fmla="*/ 13 h 24"/>
                  <a:gd name="T4" fmla="*/ 23 w 25"/>
                  <a:gd name="T5" fmla="*/ 17 h 24"/>
                  <a:gd name="T6" fmla="*/ 21 w 25"/>
                  <a:gd name="T7" fmla="*/ 20 h 24"/>
                  <a:gd name="T8" fmla="*/ 17 w 25"/>
                  <a:gd name="T9" fmla="*/ 22 h 24"/>
                  <a:gd name="T10" fmla="*/ 13 w 25"/>
                  <a:gd name="T11" fmla="*/ 24 h 24"/>
                  <a:gd name="T12" fmla="*/ 8 w 25"/>
                  <a:gd name="T13" fmla="*/ 22 h 24"/>
                  <a:gd name="T14" fmla="*/ 4 w 25"/>
                  <a:gd name="T15" fmla="*/ 20 h 24"/>
                  <a:gd name="T16" fmla="*/ 2 w 25"/>
                  <a:gd name="T17" fmla="*/ 17 h 24"/>
                  <a:gd name="T18" fmla="*/ 0 w 25"/>
                  <a:gd name="T19" fmla="*/ 13 h 24"/>
                  <a:gd name="T20" fmla="*/ 0 w 25"/>
                  <a:gd name="T21" fmla="*/ 13 h 24"/>
                  <a:gd name="T22" fmla="*/ 2 w 25"/>
                  <a:gd name="T23" fmla="*/ 7 h 24"/>
                  <a:gd name="T24" fmla="*/ 4 w 25"/>
                  <a:gd name="T25" fmla="*/ 3 h 24"/>
                  <a:gd name="T26" fmla="*/ 8 w 25"/>
                  <a:gd name="T27" fmla="*/ 2 h 24"/>
                  <a:gd name="T28" fmla="*/ 13 w 25"/>
                  <a:gd name="T29" fmla="*/ 0 h 24"/>
                  <a:gd name="T30" fmla="*/ 17 w 25"/>
                  <a:gd name="T31" fmla="*/ 2 h 24"/>
                  <a:gd name="T32" fmla="*/ 21 w 25"/>
                  <a:gd name="T33" fmla="*/ 3 h 24"/>
                  <a:gd name="T34" fmla="*/ 23 w 25"/>
                  <a:gd name="T35" fmla="*/ 7 h 24"/>
                  <a:gd name="T36" fmla="*/ 25 w 25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4">
                    <a:moveTo>
                      <a:pt x="25" y="13"/>
                    </a:moveTo>
                    <a:lnTo>
                      <a:pt x="25" y="13"/>
                    </a:lnTo>
                    <a:lnTo>
                      <a:pt x="23" y="17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3" y="24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7"/>
                    </a:lnTo>
                    <a:lnTo>
                      <a:pt x="4" y="3"/>
                    </a:lnTo>
                    <a:lnTo>
                      <a:pt x="8" y="2"/>
                    </a:lnTo>
                    <a:lnTo>
                      <a:pt x="13" y="0"/>
                    </a:lnTo>
                    <a:lnTo>
                      <a:pt x="17" y="2"/>
                    </a:lnTo>
                    <a:lnTo>
                      <a:pt x="21" y="3"/>
                    </a:lnTo>
                    <a:lnTo>
                      <a:pt x="23" y="7"/>
                    </a:lnTo>
                    <a:lnTo>
                      <a:pt x="25" y="13"/>
                    </a:lnTo>
                  </a:path>
                </a:pathLst>
              </a:custGeom>
              <a:noFill/>
              <a:ln w="9525">
                <a:solidFill>
                  <a:srgbClr val="FF83F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51" name="Freeform 157">
                <a:extLst>
                  <a:ext uri="{FF2B5EF4-FFF2-40B4-BE49-F238E27FC236}">
                    <a16:creationId xmlns:a16="http://schemas.microsoft.com/office/drawing/2014/main" id="{BC846859-7AD8-1A9C-594E-51DDAE146C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1081"/>
                <a:ext cx="24" cy="22"/>
              </a:xfrm>
              <a:custGeom>
                <a:avLst/>
                <a:gdLst>
                  <a:gd name="T0" fmla="*/ 24 w 24"/>
                  <a:gd name="T1" fmla="*/ 11 h 22"/>
                  <a:gd name="T2" fmla="*/ 24 w 24"/>
                  <a:gd name="T3" fmla="*/ 11 h 22"/>
                  <a:gd name="T4" fmla="*/ 22 w 24"/>
                  <a:gd name="T5" fmla="*/ 17 h 22"/>
                  <a:gd name="T6" fmla="*/ 21 w 24"/>
                  <a:gd name="T7" fmla="*/ 20 h 22"/>
                  <a:gd name="T8" fmla="*/ 17 w 24"/>
                  <a:gd name="T9" fmla="*/ 22 h 22"/>
                  <a:gd name="T10" fmla="*/ 11 w 24"/>
                  <a:gd name="T11" fmla="*/ 22 h 22"/>
                  <a:gd name="T12" fmla="*/ 7 w 24"/>
                  <a:gd name="T13" fmla="*/ 22 h 22"/>
                  <a:gd name="T14" fmla="*/ 4 w 24"/>
                  <a:gd name="T15" fmla="*/ 20 h 22"/>
                  <a:gd name="T16" fmla="*/ 2 w 24"/>
                  <a:gd name="T17" fmla="*/ 17 h 22"/>
                  <a:gd name="T18" fmla="*/ 0 w 24"/>
                  <a:gd name="T19" fmla="*/ 11 h 22"/>
                  <a:gd name="T20" fmla="*/ 0 w 24"/>
                  <a:gd name="T21" fmla="*/ 11 h 22"/>
                  <a:gd name="T22" fmla="*/ 2 w 24"/>
                  <a:gd name="T23" fmla="*/ 5 h 22"/>
                  <a:gd name="T24" fmla="*/ 4 w 24"/>
                  <a:gd name="T25" fmla="*/ 1 h 22"/>
                  <a:gd name="T26" fmla="*/ 7 w 24"/>
                  <a:gd name="T27" fmla="*/ 0 h 22"/>
                  <a:gd name="T28" fmla="*/ 11 w 24"/>
                  <a:gd name="T29" fmla="*/ 0 h 22"/>
                  <a:gd name="T30" fmla="*/ 17 w 24"/>
                  <a:gd name="T31" fmla="*/ 0 h 22"/>
                  <a:gd name="T32" fmla="*/ 21 w 24"/>
                  <a:gd name="T33" fmla="*/ 1 h 22"/>
                  <a:gd name="T34" fmla="*/ 22 w 24"/>
                  <a:gd name="T35" fmla="*/ 5 h 22"/>
                  <a:gd name="T36" fmla="*/ 24 w 24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2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7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7" y="22"/>
                    </a:lnTo>
                    <a:lnTo>
                      <a:pt x="4" y="20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2" y="5"/>
                    </a:lnTo>
                    <a:lnTo>
                      <a:pt x="24" y="11"/>
                    </a:lnTo>
                    <a:close/>
                  </a:path>
                </a:pathLst>
              </a:custGeom>
              <a:solidFill>
                <a:srgbClr val="FF83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52" name="Freeform 158">
                <a:extLst>
                  <a:ext uri="{FF2B5EF4-FFF2-40B4-BE49-F238E27FC236}">
                    <a16:creationId xmlns:a16="http://schemas.microsoft.com/office/drawing/2014/main" id="{3212B83D-9A6B-407E-51FA-FE3A121B5B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1081"/>
                <a:ext cx="24" cy="22"/>
              </a:xfrm>
              <a:custGeom>
                <a:avLst/>
                <a:gdLst>
                  <a:gd name="T0" fmla="*/ 24 w 24"/>
                  <a:gd name="T1" fmla="*/ 11 h 22"/>
                  <a:gd name="T2" fmla="*/ 24 w 24"/>
                  <a:gd name="T3" fmla="*/ 11 h 22"/>
                  <a:gd name="T4" fmla="*/ 22 w 24"/>
                  <a:gd name="T5" fmla="*/ 17 h 22"/>
                  <a:gd name="T6" fmla="*/ 21 w 24"/>
                  <a:gd name="T7" fmla="*/ 20 h 22"/>
                  <a:gd name="T8" fmla="*/ 17 w 24"/>
                  <a:gd name="T9" fmla="*/ 22 h 22"/>
                  <a:gd name="T10" fmla="*/ 11 w 24"/>
                  <a:gd name="T11" fmla="*/ 22 h 22"/>
                  <a:gd name="T12" fmla="*/ 7 w 24"/>
                  <a:gd name="T13" fmla="*/ 22 h 22"/>
                  <a:gd name="T14" fmla="*/ 4 w 24"/>
                  <a:gd name="T15" fmla="*/ 20 h 22"/>
                  <a:gd name="T16" fmla="*/ 2 w 24"/>
                  <a:gd name="T17" fmla="*/ 17 h 22"/>
                  <a:gd name="T18" fmla="*/ 0 w 24"/>
                  <a:gd name="T19" fmla="*/ 11 h 22"/>
                  <a:gd name="T20" fmla="*/ 0 w 24"/>
                  <a:gd name="T21" fmla="*/ 11 h 22"/>
                  <a:gd name="T22" fmla="*/ 2 w 24"/>
                  <a:gd name="T23" fmla="*/ 5 h 22"/>
                  <a:gd name="T24" fmla="*/ 4 w 24"/>
                  <a:gd name="T25" fmla="*/ 1 h 22"/>
                  <a:gd name="T26" fmla="*/ 7 w 24"/>
                  <a:gd name="T27" fmla="*/ 0 h 22"/>
                  <a:gd name="T28" fmla="*/ 11 w 24"/>
                  <a:gd name="T29" fmla="*/ 0 h 22"/>
                  <a:gd name="T30" fmla="*/ 17 w 24"/>
                  <a:gd name="T31" fmla="*/ 0 h 22"/>
                  <a:gd name="T32" fmla="*/ 21 w 24"/>
                  <a:gd name="T33" fmla="*/ 1 h 22"/>
                  <a:gd name="T34" fmla="*/ 22 w 24"/>
                  <a:gd name="T35" fmla="*/ 5 h 22"/>
                  <a:gd name="T36" fmla="*/ 24 w 24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2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7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7" y="22"/>
                    </a:lnTo>
                    <a:lnTo>
                      <a:pt x="4" y="20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2" y="5"/>
                    </a:lnTo>
                    <a:lnTo>
                      <a:pt x="24" y="11"/>
                    </a:lnTo>
                  </a:path>
                </a:pathLst>
              </a:custGeom>
              <a:noFill/>
              <a:ln w="9525">
                <a:solidFill>
                  <a:srgbClr val="FF83F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53" name="Freeform 159">
                <a:extLst>
                  <a:ext uri="{FF2B5EF4-FFF2-40B4-BE49-F238E27FC236}">
                    <a16:creationId xmlns:a16="http://schemas.microsoft.com/office/drawing/2014/main" id="{432341AC-F3D0-8ECB-A334-E34DFD8184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" y="1069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0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3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3 w 24"/>
                  <a:gd name="T25" fmla="*/ 2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0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2" y="6"/>
                    </a:lnTo>
                    <a:lnTo>
                      <a:pt x="24" y="12"/>
                    </a:lnTo>
                    <a:close/>
                  </a:path>
                </a:pathLst>
              </a:custGeom>
              <a:solidFill>
                <a:srgbClr val="FF83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54" name="Freeform 160">
                <a:extLst>
                  <a:ext uri="{FF2B5EF4-FFF2-40B4-BE49-F238E27FC236}">
                    <a16:creationId xmlns:a16="http://schemas.microsoft.com/office/drawing/2014/main" id="{012EDD5C-D841-42A5-DFEE-DF1F1734FE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" y="1069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0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3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3 w 24"/>
                  <a:gd name="T25" fmla="*/ 2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0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2" y="6"/>
                    </a:lnTo>
                    <a:lnTo>
                      <a:pt x="24" y="12"/>
                    </a:lnTo>
                  </a:path>
                </a:pathLst>
              </a:custGeom>
              <a:noFill/>
              <a:ln w="9525">
                <a:solidFill>
                  <a:srgbClr val="FF83F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55" name="Freeform 161">
                <a:extLst>
                  <a:ext uri="{FF2B5EF4-FFF2-40B4-BE49-F238E27FC236}">
                    <a16:creationId xmlns:a16="http://schemas.microsoft.com/office/drawing/2014/main" id="{34F6F249-68BF-6FB4-4E80-D14B8ACEF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1114"/>
                <a:ext cx="23" cy="25"/>
              </a:xfrm>
              <a:custGeom>
                <a:avLst/>
                <a:gdLst>
                  <a:gd name="T0" fmla="*/ 23 w 23"/>
                  <a:gd name="T1" fmla="*/ 12 h 25"/>
                  <a:gd name="T2" fmla="*/ 23 w 23"/>
                  <a:gd name="T3" fmla="*/ 12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2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2 h 25"/>
                  <a:gd name="T20" fmla="*/ 0 w 23"/>
                  <a:gd name="T21" fmla="*/ 12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0 h 25"/>
                  <a:gd name="T28" fmla="*/ 12 w 23"/>
                  <a:gd name="T29" fmla="*/ 0 h 25"/>
                  <a:gd name="T30" fmla="*/ 15 w 23"/>
                  <a:gd name="T31" fmla="*/ 0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FF83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56" name="Freeform 162">
                <a:extLst>
                  <a:ext uri="{FF2B5EF4-FFF2-40B4-BE49-F238E27FC236}">
                    <a16:creationId xmlns:a16="http://schemas.microsoft.com/office/drawing/2014/main" id="{7DD676BF-7442-7123-D6DA-665DB92A22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1114"/>
                <a:ext cx="23" cy="25"/>
              </a:xfrm>
              <a:custGeom>
                <a:avLst/>
                <a:gdLst>
                  <a:gd name="T0" fmla="*/ 23 w 23"/>
                  <a:gd name="T1" fmla="*/ 12 h 25"/>
                  <a:gd name="T2" fmla="*/ 23 w 23"/>
                  <a:gd name="T3" fmla="*/ 12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2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2 h 25"/>
                  <a:gd name="T20" fmla="*/ 0 w 23"/>
                  <a:gd name="T21" fmla="*/ 12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0 h 25"/>
                  <a:gd name="T28" fmla="*/ 12 w 23"/>
                  <a:gd name="T29" fmla="*/ 0 h 25"/>
                  <a:gd name="T30" fmla="*/ 15 w 23"/>
                  <a:gd name="T31" fmla="*/ 0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FF83F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57" name="Freeform 163">
                <a:extLst>
                  <a:ext uri="{FF2B5EF4-FFF2-40B4-BE49-F238E27FC236}">
                    <a16:creationId xmlns:a16="http://schemas.microsoft.com/office/drawing/2014/main" id="{1CE7AA38-7DA0-6342-55AD-7CD34F1A99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120"/>
                <a:ext cx="23" cy="25"/>
              </a:xfrm>
              <a:custGeom>
                <a:avLst/>
                <a:gdLst>
                  <a:gd name="T0" fmla="*/ 23 w 23"/>
                  <a:gd name="T1" fmla="*/ 13 h 25"/>
                  <a:gd name="T2" fmla="*/ 23 w 23"/>
                  <a:gd name="T3" fmla="*/ 13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1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3 h 25"/>
                  <a:gd name="T20" fmla="*/ 0 w 23"/>
                  <a:gd name="T21" fmla="*/ 13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1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3"/>
                    </a:move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3"/>
                    </a:lnTo>
                    <a:close/>
                  </a:path>
                </a:pathLst>
              </a:custGeom>
              <a:solidFill>
                <a:srgbClr val="FF83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58" name="Freeform 164">
                <a:extLst>
                  <a:ext uri="{FF2B5EF4-FFF2-40B4-BE49-F238E27FC236}">
                    <a16:creationId xmlns:a16="http://schemas.microsoft.com/office/drawing/2014/main" id="{2020C845-798C-2840-E39F-238A3498B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120"/>
                <a:ext cx="23" cy="25"/>
              </a:xfrm>
              <a:custGeom>
                <a:avLst/>
                <a:gdLst>
                  <a:gd name="T0" fmla="*/ 23 w 23"/>
                  <a:gd name="T1" fmla="*/ 13 h 25"/>
                  <a:gd name="T2" fmla="*/ 23 w 23"/>
                  <a:gd name="T3" fmla="*/ 13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1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3 h 25"/>
                  <a:gd name="T20" fmla="*/ 0 w 23"/>
                  <a:gd name="T21" fmla="*/ 13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1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3"/>
                    </a:move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3"/>
                    </a:lnTo>
                  </a:path>
                </a:pathLst>
              </a:custGeom>
              <a:noFill/>
              <a:ln w="9525">
                <a:solidFill>
                  <a:srgbClr val="FF83F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59" name="Freeform 165">
                <a:extLst>
                  <a:ext uri="{FF2B5EF4-FFF2-40B4-BE49-F238E27FC236}">
                    <a16:creationId xmlns:a16="http://schemas.microsoft.com/office/drawing/2014/main" id="{0F2AD48E-3145-72B6-53B4-E63B23F5D5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2" y="1190"/>
                <a:ext cx="23" cy="24"/>
              </a:xfrm>
              <a:custGeom>
                <a:avLst/>
                <a:gdLst>
                  <a:gd name="T0" fmla="*/ 23 w 23"/>
                  <a:gd name="T1" fmla="*/ 13 h 24"/>
                  <a:gd name="T2" fmla="*/ 23 w 23"/>
                  <a:gd name="T3" fmla="*/ 13 h 24"/>
                  <a:gd name="T4" fmla="*/ 23 w 23"/>
                  <a:gd name="T5" fmla="*/ 17 h 24"/>
                  <a:gd name="T6" fmla="*/ 19 w 23"/>
                  <a:gd name="T7" fmla="*/ 20 h 24"/>
                  <a:gd name="T8" fmla="*/ 15 w 23"/>
                  <a:gd name="T9" fmla="*/ 22 h 24"/>
                  <a:gd name="T10" fmla="*/ 11 w 23"/>
                  <a:gd name="T11" fmla="*/ 24 h 24"/>
                  <a:gd name="T12" fmla="*/ 7 w 23"/>
                  <a:gd name="T13" fmla="*/ 22 h 24"/>
                  <a:gd name="T14" fmla="*/ 4 w 23"/>
                  <a:gd name="T15" fmla="*/ 20 h 24"/>
                  <a:gd name="T16" fmla="*/ 0 w 23"/>
                  <a:gd name="T17" fmla="*/ 17 h 24"/>
                  <a:gd name="T18" fmla="*/ 0 w 23"/>
                  <a:gd name="T19" fmla="*/ 13 h 24"/>
                  <a:gd name="T20" fmla="*/ 0 w 23"/>
                  <a:gd name="T21" fmla="*/ 13 h 24"/>
                  <a:gd name="T22" fmla="*/ 0 w 23"/>
                  <a:gd name="T23" fmla="*/ 7 h 24"/>
                  <a:gd name="T24" fmla="*/ 4 w 23"/>
                  <a:gd name="T25" fmla="*/ 3 h 24"/>
                  <a:gd name="T26" fmla="*/ 7 w 23"/>
                  <a:gd name="T27" fmla="*/ 2 h 24"/>
                  <a:gd name="T28" fmla="*/ 11 w 23"/>
                  <a:gd name="T29" fmla="*/ 0 h 24"/>
                  <a:gd name="T30" fmla="*/ 15 w 23"/>
                  <a:gd name="T31" fmla="*/ 2 h 24"/>
                  <a:gd name="T32" fmla="*/ 19 w 23"/>
                  <a:gd name="T33" fmla="*/ 3 h 24"/>
                  <a:gd name="T34" fmla="*/ 23 w 23"/>
                  <a:gd name="T35" fmla="*/ 7 h 24"/>
                  <a:gd name="T36" fmla="*/ 23 w 23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3"/>
                    </a:moveTo>
                    <a:lnTo>
                      <a:pt x="23" y="13"/>
                    </a:lnTo>
                    <a:lnTo>
                      <a:pt x="23" y="17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4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4" y="3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3"/>
                    </a:lnTo>
                    <a:lnTo>
                      <a:pt x="23" y="7"/>
                    </a:lnTo>
                    <a:lnTo>
                      <a:pt x="23" y="13"/>
                    </a:lnTo>
                    <a:close/>
                  </a:path>
                </a:pathLst>
              </a:custGeom>
              <a:solidFill>
                <a:srgbClr val="FF83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60" name="Freeform 166">
                <a:extLst>
                  <a:ext uri="{FF2B5EF4-FFF2-40B4-BE49-F238E27FC236}">
                    <a16:creationId xmlns:a16="http://schemas.microsoft.com/office/drawing/2014/main" id="{070407ED-4C08-2E4D-9393-1FE4AD6F73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2" y="1190"/>
                <a:ext cx="23" cy="24"/>
              </a:xfrm>
              <a:custGeom>
                <a:avLst/>
                <a:gdLst>
                  <a:gd name="T0" fmla="*/ 23 w 23"/>
                  <a:gd name="T1" fmla="*/ 13 h 24"/>
                  <a:gd name="T2" fmla="*/ 23 w 23"/>
                  <a:gd name="T3" fmla="*/ 13 h 24"/>
                  <a:gd name="T4" fmla="*/ 23 w 23"/>
                  <a:gd name="T5" fmla="*/ 17 h 24"/>
                  <a:gd name="T6" fmla="*/ 19 w 23"/>
                  <a:gd name="T7" fmla="*/ 20 h 24"/>
                  <a:gd name="T8" fmla="*/ 15 w 23"/>
                  <a:gd name="T9" fmla="*/ 22 h 24"/>
                  <a:gd name="T10" fmla="*/ 11 w 23"/>
                  <a:gd name="T11" fmla="*/ 24 h 24"/>
                  <a:gd name="T12" fmla="*/ 7 w 23"/>
                  <a:gd name="T13" fmla="*/ 22 h 24"/>
                  <a:gd name="T14" fmla="*/ 4 w 23"/>
                  <a:gd name="T15" fmla="*/ 20 h 24"/>
                  <a:gd name="T16" fmla="*/ 0 w 23"/>
                  <a:gd name="T17" fmla="*/ 17 h 24"/>
                  <a:gd name="T18" fmla="*/ 0 w 23"/>
                  <a:gd name="T19" fmla="*/ 13 h 24"/>
                  <a:gd name="T20" fmla="*/ 0 w 23"/>
                  <a:gd name="T21" fmla="*/ 13 h 24"/>
                  <a:gd name="T22" fmla="*/ 0 w 23"/>
                  <a:gd name="T23" fmla="*/ 7 h 24"/>
                  <a:gd name="T24" fmla="*/ 4 w 23"/>
                  <a:gd name="T25" fmla="*/ 3 h 24"/>
                  <a:gd name="T26" fmla="*/ 7 w 23"/>
                  <a:gd name="T27" fmla="*/ 2 h 24"/>
                  <a:gd name="T28" fmla="*/ 11 w 23"/>
                  <a:gd name="T29" fmla="*/ 0 h 24"/>
                  <a:gd name="T30" fmla="*/ 15 w 23"/>
                  <a:gd name="T31" fmla="*/ 2 h 24"/>
                  <a:gd name="T32" fmla="*/ 19 w 23"/>
                  <a:gd name="T33" fmla="*/ 3 h 24"/>
                  <a:gd name="T34" fmla="*/ 23 w 23"/>
                  <a:gd name="T35" fmla="*/ 7 h 24"/>
                  <a:gd name="T36" fmla="*/ 23 w 23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3"/>
                    </a:moveTo>
                    <a:lnTo>
                      <a:pt x="23" y="13"/>
                    </a:lnTo>
                    <a:lnTo>
                      <a:pt x="23" y="17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4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4" y="3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3"/>
                    </a:lnTo>
                    <a:lnTo>
                      <a:pt x="23" y="7"/>
                    </a:lnTo>
                    <a:lnTo>
                      <a:pt x="23" y="13"/>
                    </a:lnTo>
                  </a:path>
                </a:pathLst>
              </a:custGeom>
              <a:noFill/>
              <a:ln w="9525">
                <a:solidFill>
                  <a:srgbClr val="FF83F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61" name="Freeform 167">
                <a:extLst>
                  <a:ext uri="{FF2B5EF4-FFF2-40B4-BE49-F238E27FC236}">
                    <a16:creationId xmlns:a16="http://schemas.microsoft.com/office/drawing/2014/main" id="{5F67D932-EBAF-6AC6-DCEB-C305F99C33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8" y="1207"/>
                <a:ext cx="24" cy="24"/>
              </a:xfrm>
              <a:custGeom>
                <a:avLst/>
                <a:gdLst>
                  <a:gd name="T0" fmla="*/ 24 w 24"/>
                  <a:gd name="T1" fmla="*/ 11 h 24"/>
                  <a:gd name="T2" fmla="*/ 24 w 24"/>
                  <a:gd name="T3" fmla="*/ 11 h 24"/>
                  <a:gd name="T4" fmla="*/ 22 w 24"/>
                  <a:gd name="T5" fmla="*/ 16 h 24"/>
                  <a:gd name="T6" fmla="*/ 20 w 24"/>
                  <a:gd name="T7" fmla="*/ 20 h 24"/>
                  <a:gd name="T8" fmla="*/ 17 w 24"/>
                  <a:gd name="T9" fmla="*/ 22 h 24"/>
                  <a:gd name="T10" fmla="*/ 13 w 24"/>
                  <a:gd name="T11" fmla="*/ 24 h 24"/>
                  <a:gd name="T12" fmla="*/ 7 w 24"/>
                  <a:gd name="T13" fmla="*/ 22 h 24"/>
                  <a:gd name="T14" fmla="*/ 3 w 24"/>
                  <a:gd name="T15" fmla="*/ 20 h 24"/>
                  <a:gd name="T16" fmla="*/ 1 w 24"/>
                  <a:gd name="T17" fmla="*/ 16 h 24"/>
                  <a:gd name="T18" fmla="*/ 0 w 24"/>
                  <a:gd name="T19" fmla="*/ 11 h 24"/>
                  <a:gd name="T20" fmla="*/ 0 w 24"/>
                  <a:gd name="T21" fmla="*/ 11 h 24"/>
                  <a:gd name="T22" fmla="*/ 1 w 24"/>
                  <a:gd name="T23" fmla="*/ 7 h 24"/>
                  <a:gd name="T24" fmla="*/ 3 w 24"/>
                  <a:gd name="T25" fmla="*/ 3 h 24"/>
                  <a:gd name="T26" fmla="*/ 7 w 24"/>
                  <a:gd name="T27" fmla="*/ 0 h 24"/>
                  <a:gd name="T28" fmla="*/ 13 w 24"/>
                  <a:gd name="T29" fmla="*/ 0 h 24"/>
                  <a:gd name="T30" fmla="*/ 17 w 24"/>
                  <a:gd name="T31" fmla="*/ 0 h 24"/>
                  <a:gd name="T32" fmla="*/ 20 w 24"/>
                  <a:gd name="T33" fmla="*/ 3 h 24"/>
                  <a:gd name="T34" fmla="*/ 22 w 24"/>
                  <a:gd name="T35" fmla="*/ 7 h 24"/>
                  <a:gd name="T36" fmla="*/ 24 w 24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4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6"/>
                    </a:lnTo>
                    <a:lnTo>
                      <a:pt x="20" y="20"/>
                    </a:lnTo>
                    <a:lnTo>
                      <a:pt x="17" y="22"/>
                    </a:lnTo>
                    <a:lnTo>
                      <a:pt x="13" y="24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1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0" y="3"/>
                    </a:lnTo>
                    <a:lnTo>
                      <a:pt x="22" y="7"/>
                    </a:lnTo>
                    <a:lnTo>
                      <a:pt x="24" y="11"/>
                    </a:lnTo>
                    <a:close/>
                  </a:path>
                </a:pathLst>
              </a:custGeom>
              <a:solidFill>
                <a:srgbClr val="FF83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62" name="Freeform 168">
                <a:extLst>
                  <a:ext uri="{FF2B5EF4-FFF2-40B4-BE49-F238E27FC236}">
                    <a16:creationId xmlns:a16="http://schemas.microsoft.com/office/drawing/2014/main" id="{52E5A9B7-9419-72EB-0434-13E75184FB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8" y="1207"/>
                <a:ext cx="24" cy="24"/>
              </a:xfrm>
              <a:custGeom>
                <a:avLst/>
                <a:gdLst>
                  <a:gd name="T0" fmla="*/ 24 w 24"/>
                  <a:gd name="T1" fmla="*/ 11 h 24"/>
                  <a:gd name="T2" fmla="*/ 24 w 24"/>
                  <a:gd name="T3" fmla="*/ 11 h 24"/>
                  <a:gd name="T4" fmla="*/ 22 w 24"/>
                  <a:gd name="T5" fmla="*/ 16 h 24"/>
                  <a:gd name="T6" fmla="*/ 20 w 24"/>
                  <a:gd name="T7" fmla="*/ 20 h 24"/>
                  <a:gd name="T8" fmla="*/ 17 w 24"/>
                  <a:gd name="T9" fmla="*/ 22 h 24"/>
                  <a:gd name="T10" fmla="*/ 13 w 24"/>
                  <a:gd name="T11" fmla="*/ 24 h 24"/>
                  <a:gd name="T12" fmla="*/ 7 w 24"/>
                  <a:gd name="T13" fmla="*/ 22 h 24"/>
                  <a:gd name="T14" fmla="*/ 3 w 24"/>
                  <a:gd name="T15" fmla="*/ 20 h 24"/>
                  <a:gd name="T16" fmla="*/ 1 w 24"/>
                  <a:gd name="T17" fmla="*/ 16 h 24"/>
                  <a:gd name="T18" fmla="*/ 0 w 24"/>
                  <a:gd name="T19" fmla="*/ 11 h 24"/>
                  <a:gd name="T20" fmla="*/ 0 w 24"/>
                  <a:gd name="T21" fmla="*/ 11 h 24"/>
                  <a:gd name="T22" fmla="*/ 1 w 24"/>
                  <a:gd name="T23" fmla="*/ 7 h 24"/>
                  <a:gd name="T24" fmla="*/ 3 w 24"/>
                  <a:gd name="T25" fmla="*/ 3 h 24"/>
                  <a:gd name="T26" fmla="*/ 7 w 24"/>
                  <a:gd name="T27" fmla="*/ 0 h 24"/>
                  <a:gd name="T28" fmla="*/ 13 w 24"/>
                  <a:gd name="T29" fmla="*/ 0 h 24"/>
                  <a:gd name="T30" fmla="*/ 17 w 24"/>
                  <a:gd name="T31" fmla="*/ 0 h 24"/>
                  <a:gd name="T32" fmla="*/ 20 w 24"/>
                  <a:gd name="T33" fmla="*/ 3 h 24"/>
                  <a:gd name="T34" fmla="*/ 22 w 24"/>
                  <a:gd name="T35" fmla="*/ 7 h 24"/>
                  <a:gd name="T36" fmla="*/ 24 w 24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4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6"/>
                    </a:lnTo>
                    <a:lnTo>
                      <a:pt x="20" y="20"/>
                    </a:lnTo>
                    <a:lnTo>
                      <a:pt x="17" y="22"/>
                    </a:lnTo>
                    <a:lnTo>
                      <a:pt x="13" y="24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1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0" y="3"/>
                    </a:lnTo>
                    <a:lnTo>
                      <a:pt x="22" y="7"/>
                    </a:lnTo>
                    <a:lnTo>
                      <a:pt x="24" y="11"/>
                    </a:lnTo>
                  </a:path>
                </a:pathLst>
              </a:custGeom>
              <a:noFill/>
              <a:ln w="9525">
                <a:solidFill>
                  <a:srgbClr val="FF83F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63" name="Freeform 169">
                <a:extLst>
                  <a:ext uri="{FF2B5EF4-FFF2-40B4-BE49-F238E27FC236}">
                    <a16:creationId xmlns:a16="http://schemas.microsoft.com/office/drawing/2014/main" id="{D1FF95A7-831B-6AFD-02EA-35E906294D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  <a:close/>
                  </a:path>
                </a:pathLst>
              </a:custGeom>
              <a:solidFill>
                <a:srgbClr val="FF14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64" name="Freeform 170">
                <a:extLst>
                  <a:ext uri="{FF2B5EF4-FFF2-40B4-BE49-F238E27FC236}">
                    <a16:creationId xmlns:a16="http://schemas.microsoft.com/office/drawing/2014/main" id="{7D521926-1297-EB7C-1D06-2BE26FD8E4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</a:path>
                </a:pathLst>
              </a:custGeom>
              <a:noFill/>
              <a:ln w="9525">
                <a:solidFill>
                  <a:srgbClr val="FF14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65" name="Freeform 171">
                <a:extLst>
                  <a:ext uri="{FF2B5EF4-FFF2-40B4-BE49-F238E27FC236}">
                    <a16:creationId xmlns:a16="http://schemas.microsoft.com/office/drawing/2014/main" id="{4ECCC860-5117-17CD-99A7-35B69C09EB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1310"/>
                <a:ext cx="22" cy="22"/>
              </a:xfrm>
              <a:custGeom>
                <a:avLst/>
                <a:gdLst>
                  <a:gd name="T0" fmla="*/ 22 w 22"/>
                  <a:gd name="T1" fmla="*/ 11 h 22"/>
                  <a:gd name="T2" fmla="*/ 22 w 22"/>
                  <a:gd name="T3" fmla="*/ 11 h 22"/>
                  <a:gd name="T4" fmla="*/ 22 w 22"/>
                  <a:gd name="T5" fmla="*/ 17 h 22"/>
                  <a:gd name="T6" fmla="*/ 18 w 22"/>
                  <a:gd name="T7" fmla="*/ 21 h 22"/>
                  <a:gd name="T8" fmla="*/ 15 w 22"/>
                  <a:gd name="T9" fmla="*/ 22 h 22"/>
                  <a:gd name="T10" fmla="*/ 11 w 22"/>
                  <a:gd name="T11" fmla="*/ 22 h 22"/>
                  <a:gd name="T12" fmla="*/ 7 w 22"/>
                  <a:gd name="T13" fmla="*/ 22 h 22"/>
                  <a:gd name="T14" fmla="*/ 3 w 22"/>
                  <a:gd name="T15" fmla="*/ 21 h 22"/>
                  <a:gd name="T16" fmla="*/ 0 w 22"/>
                  <a:gd name="T17" fmla="*/ 17 h 22"/>
                  <a:gd name="T18" fmla="*/ 0 w 22"/>
                  <a:gd name="T19" fmla="*/ 11 h 22"/>
                  <a:gd name="T20" fmla="*/ 0 w 22"/>
                  <a:gd name="T21" fmla="*/ 11 h 22"/>
                  <a:gd name="T22" fmla="*/ 0 w 22"/>
                  <a:gd name="T23" fmla="*/ 6 h 22"/>
                  <a:gd name="T24" fmla="*/ 3 w 22"/>
                  <a:gd name="T25" fmla="*/ 2 h 22"/>
                  <a:gd name="T26" fmla="*/ 7 w 22"/>
                  <a:gd name="T27" fmla="*/ 0 h 22"/>
                  <a:gd name="T28" fmla="*/ 11 w 22"/>
                  <a:gd name="T29" fmla="*/ 0 h 22"/>
                  <a:gd name="T30" fmla="*/ 15 w 22"/>
                  <a:gd name="T31" fmla="*/ 0 h 22"/>
                  <a:gd name="T32" fmla="*/ 18 w 22"/>
                  <a:gd name="T33" fmla="*/ 2 h 22"/>
                  <a:gd name="T34" fmla="*/ 22 w 22"/>
                  <a:gd name="T35" fmla="*/ 6 h 22"/>
                  <a:gd name="T36" fmla="*/ 22 w 22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2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2"/>
                    </a:lnTo>
                    <a:lnTo>
                      <a:pt x="11" y="22"/>
                    </a:lnTo>
                    <a:lnTo>
                      <a:pt x="7" y="22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1"/>
                    </a:lnTo>
                    <a:close/>
                  </a:path>
                </a:pathLst>
              </a:custGeom>
              <a:solidFill>
                <a:srgbClr val="FF14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66" name="Freeform 172">
                <a:extLst>
                  <a:ext uri="{FF2B5EF4-FFF2-40B4-BE49-F238E27FC236}">
                    <a16:creationId xmlns:a16="http://schemas.microsoft.com/office/drawing/2014/main" id="{602A43F5-E24E-3609-D105-C7F6C730B6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1310"/>
                <a:ext cx="22" cy="22"/>
              </a:xfrm>
              <a:custGeom>
                <a:avLst/>
                <a:gdLst>
                  <a:gd name="T0" fmla="*/ 22 w 22"/>
                  <a:gd name="T1" fmla="*/ 11 h 22"/>
                  <a:gd name="T2" fmla="*/ 22 w 22"/>
                  <a:gd name="T3" fmla="*/ 11 h 22"/>
                  <a:gd name="T4" fmla="*/ 22 w 22"/>
                  <a:gd name="T5" fmla="*/ 17 h 22"/>
                  <a:gd name="T6" fmla="*/ 18 w 22"/>
                  <a:gd name="T7" fmla="*/ 21 h 22"/>
                  <a:gd name="T8" fmla="*/ 15 w 22"/>
                  <a:gd name="T9" fmla="*/ 22 h 22"/>
                  <a:gd name="T10" fmla="*/ 11 w 22"/>
                  <a:gd name="T11" fmla="*/ 22 h 22"/>
                  <a:gd name="T12" fmla="*/ 7 w 22"/>
                  <a:gd name="T13" fmla="*/ 22 h 22"/>
                  <a:gd name="T14" fmla="*/ 3 w 22"/>
                  <a:gd name="T15" fmla="*/ 21 h 22"/>
                  <a:gd name="T16" fmla="*/ 0 w 22"/>
                  <a:gd name="T17" fmla="*/ 17 h 22"/>
                  <a:gd name="T18" fmla="*/ 0 w 22"/>
                  <a:gd name="T19" fmla="*/ 11 h 22"/>
                  <a:gd name="T20" fmla="*/ 0 w 22"/>
                  <a:gd name="T21" fmla="*/ 11 h 22"/>
                  <a:gd name="T22" fmla="*/ 0 w 22"/>
                  <a:gd name="T23" fmla="*/ 6 h 22"/>
                  <a:gd name="T24" fmla="*/ 3 w 22"/>
                  <a:gd name="T25" fmla="*/ 2 h 22"/>
                  <a:gd name="T26" fmla="*/ 7 w 22"/>
                  <a:gd name="T27" fmla="*/ 0 h 22"/>
                  <a:gd name="T28" fmla="*/ 11 w 22"/>
                  <a:gd name="T29" fmla="*/ 0 h 22"/>
                  <a:gd name="T30" fmla="*/ 15 w 22"/>
                  <a:gd name="T31" fmla="*/ 0 h 22"/>
                  <a:gd name="T32" fmla="*/ 18 w 22"/>
                  <a:gd name="T33" fmla="*/ 2 h 22"/>
                  <a:gd name="T34" fmla="*/ 22 w 22"/>
                  <a:gd name="T35" fmla="*/ 6 h 22"/>
                  <a:gd name="T36" fmla="*/ 22 w 22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2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2"/>
                    </a:lnTo>
                    <a:lnTo>
                      <a:pt x="11" y="22"/>
                    </a:lnTo>
                    <a:lnTo>
                      <a:pt x="7" y="22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1"/>
                    </a:lnTo>
                  </a:path>
                </a:pathLst>
              </a:custGeom>
              <a:noFill/>
              <a:ln w="9525">
                <a:solidFill>
                  <a:srgbClr val="FF14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67" name="Freeform 173">
                <a:extLst>
                  <a:ext uri="{FF2B5EF4-FFF2-40B4-BE49-F238E27FC236}">
                    <a16:creationId xmlns:a16="http://schemas.microsoft.com/office/drawing/2014/main" id="{B5F30348-859E-3CD2-6E36-DF5C9BB6CF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1225"/>
                <a:ext cx="23" cy="25"/>
              </a:xfrm>
              <a:custGeom>
                <a:avLst/>
                <a:gdLst>
                  <a:gd name="T0" fmla="*/ 23 w 23"/>
                  <a:gd name="T1" fmla="*/ 12 h 25"/>
                  <a:gd name="T2" fmla="*/ 23 w 23"/>
                  <a:gd name="T3" fmla="*/ 12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2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2 h 25"/>
                  <a:gd name="T20" fmla="*/ 0 w 23"/>
                  <a:gd name="T21" fmla="*/ 12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2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FF14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68" name="Freeform 174">
                <a:extLst>
                  <a:ext uri="{FF2B5EF4-FFF2-40B4-BE49-F238E27FC236}">
                    <a16:creationId xmlns:a16="http://schemas.microsoft.com/office/drawing/2014/main" id="{E02A7CD6-F755-B931-B464-B44D3FE65A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1225"/>
                <a:ext cx="23" cy="25"/>
              </a:xfrm>
              <a:custGeom>
                <a:avLst/>
                <a:gdLst>
                  <a:gd name="T0" fmla="*/ 23 w 23"/>
                  <a:gd name="T1" fmla="*/ 12 h 25"/>
                  <a:gd name="T2" fmla="*/ 23 w 23"/>
                  <a:gd name="T3" fmla="*/ 12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2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2 h 25"/>
                  <a:gd name="T20" fmla="*/ 0 w 23"/>
                  <a:gd name="T21" fmla="*/ 12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2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FF14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69" name="Freeform 175">
                <a:extLst>
                  <a:ext uri="{FF2B5EF4-FFF2-40B4-BE49-F238E27FC236}">
                    <a16:creationId xmlns:a16="http://schemas.microsoft.com/office/drawing/2014/main" id="{277DA026-C33C-D711-3D5B-BF591BB26E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1113"/>
                <a:ext cx="23" cy="24"/>
              </a:xfrm>
              <a:custGeom>
                <a:avLst/>
                <a:gdLst>
                  <a:gd name="T0" fmla="*/ 23 w 23"/>
                  <a:gd name="T1" fmla="*/ 11 h 24"/>
                  <a:gd name="T2" fmla="*/ 23 w 23"/>
                  <a:gd name="T3" fmla="*/ 11 h 24"/>
                  <a:gd name="T4" fmla="*/ 21 w 23"/>
                  <a:gd name="T5" fmla="*/ 16 h 24"/>
                  <a:gd name="T6" fmla="*/ 19 w 23"/>
                  <a:gd name="T7" fmla="*/ 20 h 24"/>
                  <a:gd name="T8" fmla="*/ 15 w 23"/>
                  <a:gd name="T9" fmla="*/ 22 h 24"/>
                  <a:gd name="T10" fmla="*/ 11 w 23"/>
                  <a:gd name="T11" fmla="*/ 24 h 24"/>
                  <a:gd name="T12" fmla="*/ 6 w 23"/>
                  <a:gd name="T13" fmla="*/ 22 h 24"/>
                  <a:gd name="T14" fmla="*/ 2 w 23"/>
                  <a:gd name="T15" fmla="*/ 20 h 24"/>
                  <a:gd name="T16" fmla="*/ 0 w 23"/>
                  <a:gd name="T17" fmla="*/ 16 h 24"/>
                  <a:gd name="T18" fmla="*/ 0 w 23"/>
                  <a:gd name="T19" fmla="*/ 11 h 24"/>
                  <a:gd name="T20" fmla="*/ 0 w 23"/>
                  <a:gd name="T21" fmla="*/ 11 h 24"/>
                  <a:gd name="T22" fmla="*/ 0 w 23"/>
                  <a:gd name="T23" fmla="*/ 7 h 24"/>
                  <a:gd name="T24" fmla="*/ 2 w 23"/>
                  <a:gd name="T25" fmla="*/ 3 h 24"/>
                  <a:gd name="T26" fmla="*/ 6 w 23"/>
                  <a:gd name="T27" fmla="*/ 1 h 24"/>
                  <a:gd name="T28" fmla="*/ 11 w 23"/>
                  <a:gd name="T29" fmla="*/ 0 h 24"/>
                  <a:gd name="T30" fmla="*/ 15 w 23"/>
                  <a:gd name="T31" fmla="*/ 1 h 24"/>
                  <a:gd name="T32" fmla="*/ 19 w 23"/>
                  <a:gd name="T33" fmla="*/ 3 h 24"/>
                  <a:gd name="T34" fmla="*/ 21 w 23"/>
                  <a:gd name="T35" fmla="*/ 7 h 24"/>
                  <a:gd name="T36" fmla="*/ 23 w 23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1"/>
                    </a:moveTo>
                    <a:lnTo>
                      <a:pt x="23" y="11"/>
                    </a:lnTo>
                    <a:lnTo>
                      <a:pt x="21" y="16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6" y="22"/>
                    </a:lnTo>
                    <a:lnTo>
                      <a:pt x="2" y="20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6" y="1"/>
                    </a:lnTo>
                    <a:lnTo>
                      <a:pt x="11" y="0"/>
                    </a:lnTo>
                    <a:lnTo>
                      <a:pt x="15" y="1"/>
                    </a:lnTo>
                    <a:lnTo>
                      <a:pt x="19" y="3"/>
                    </a:lnTo>
                    <a:lnTo>
                      <a:pt x="21" y="7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FF14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70" name="Freeform 176">
                <a:extLst>
                  <a:ext uri="{FF2B5EF4-FFF2-40B4-BE49-F238E27FC236}">
                    <a16:creationId xmlns:a16="http://schemas.microsoft.com/office/drawing/2014/main" id="{7215CF9F-0FA3-4DBD-CD72-3D6EBC0E8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1113"/>
                <a:ext cx="23" cy="24"/>
              </a:xfrm>
              <a:custGeom>
                <a:avLst/>
                <a:gdLst>
                  <a:gd name="T0" fmla="*/ 23 w 23"/>
                  <a:gd name="T1" fmla="*/ 11 h 24"/>
                  <a:gd name="T2" fmla="*/ 23 w 23"/>
                  <a:gd name="T3" fmla="*/ 11 h 24"/>
                  <a:gd name="T4" fmla="*/ 21 w 23"/>
                  <a:gd name="T5" fmla="*/ 16 h 24"/>
                  <a:gd name="T6" fmla="*/ 19 w 23"/>
                  <a:gd name="T7" fmla="*/ 20 h 24"/>
                  <a:gd name="T8" fmla="*/ 15 w 23"/>
                  <a:gd name="T9" fmla="*/ 22 h 24"/>
                  <a:gd name="T10" fmla="*/ 11 w 23"/>
                  <a:gd name="T11" fmla="*/ 24 h 24"/>
                  <a:gd name="T12" fmla="*/ 6 w 23"/>
                  <a:gd name="T13" fmla="*/ 22 h 24"/>
                  <a:gd name="T14" fmla="*/ 2 w 23"/>
                  <a:gd name="T15" fmla="*/ 20 h 24"/>
                  <a:gd name="T16" fmla="*/ 0 w 23"/>
                  <a:gd name="T17" fmla="*/ 16 h 24"/>
                  <a:gd name="T18" fmla="*/ 0 w 23"/>
                  <a:gd name="T19" fmla="*/ 11 h 24"/>
                  <a:gd name="T20" fmla="*/ 0 w 23"/>
                  <a:gd name="T21" fmla="*/ 11 h 24"/>
                  <a:gd name="T22" fmla="*/ 0 w 23"/>
                  <a:gd name="T23" fmla="*/ 7 h 24"/>
                  <a:gd name="T24" fmla="*/ 2 w 23"/>
                  <a:gd name="T25" fmla="*/ 3 h 24"/>
                  <a:gd name="T26" fmla="*/ 6 w 23"/>
                  <a:gd name="T27" fmla="*/ 1 h 24"/>
                  <a:gd name="T28" fmla="*/ 11 w 23"/>
                  <a:gd name="T29" fmla="*/ 0 h 24"/>
                  <a:gd name="T30" fmla="*/ 15 w 23"/>
                  <a:gd name="T31" fmla="*/ 1 h 24"/>
                  <a:gd name="T32" fmla="*/ 19 w 23"/>
                  <a:gd name="T33" fmla="*/ 3 h 24"/>
                  <a:gd name="T34" fmla="*/ 21 w 23"/>
                  <a:gd name="T35" fmla="*/ 7 h 24"/>
                  <a:gd name="T36" fmla="*/ 23 w 23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1"/>
                    </a:moveTo>
                    <a:lnTo>
                      <a:pt x="23" y="11"/>
                    </a:lnTo>
                    <a:lnTo>
                      <a:pt x="21" y="16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6" y="22"/>
                    </a:lnTo>
                    <a:lnTo>
                      <a:pt x="2" y="20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6" y="1"/>
                    </a:lnTo>
                    <a:lnTo>
                      <a:pt x="11" y="0"/>
                    </a:lnTo>
                    <a:lnTo>
                      <a:pt x="15" y="1"/>
                    </a:lnTo>
                    <a:lnTo>
                      <a:pt x="19" y="3"/>
                    </a:lnTo>
                    <a:lnTo>
                      <a:pt x="21" y="7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FF14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71" name="Freeform 177">
                <a:extLst>
                  <a:ext uri="{FF2B5EF4-FFF2-40B4-BE49-F238E27FC236}">
                    <a16:creationId xmlns:a16="http://schemas.microsoft.com/office/drawing/2014/main" id="{41CDD24E-1012-FF76-CF64-AA9015E62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" y="1131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3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3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  <a:close/>
                  </a:path>
                </a:pathLst>
              </a:custGeom>
              <a:solidFill>
                <a:srgbClr val="FF14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72" name="Freeform 178">
                <a:extLst>
                  <a:ext uri="{FF2B5EF4-FFF2-40B4-BE49-F238E27FC236}">
                    <a16:creationId xmlns:a16="http://schemas.microsoft.com/office/drawing/2014/main" id="{5EE873FA-CD4B-0F81-FFD5-77FD09B8A1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" y="1131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3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3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</a:path>
                </a:pathLst>
              </a:custGeom>
              <a:noFill/>
              <a:ln w="9525">
                <a:solidFill>
                  <a:srgbClr val="FF14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73" name="Freeform 179">
                <a:extLst>
                  <a:ext uri="{FF2B5EF4-FFF2-40B4-BE49-F238E27FC236}">
                    <a16:creationId xmlns:a16="http://schemas.microsoft.com/office/drawing/2014/main" id="{E2AA454F-775F-BAC8-5A51-52936BCCD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" y="1131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3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3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  <a:close/>
                  </a:path>
                </a:pathLst>
              </a:custGeom>
              <a:solidFill>
                <a:srgbClr val="FF14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74" name="Freeform 180">
                <a:extLst>
                  <a:ext uri="{FF2B5EF4-FFF2-40B4-BE49-F238E27FC236}">
                    <a16:creationId xmlns:a16="http://schemas.microsoft.com/office/drawing/2014/main" id="{79498AA9-8AF0-8595-1C04-53E905DF7D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" y="1131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3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3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</a:path>
                </a:pathLst>
              </a:custGeom>
              <a:noFill/>
              <a:ln w="9525">
                <a:solidFill>
                  <a:srgbClr val="FF14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75" name="Freeform 181">
                <a:extLst>
                  <a:ext uri="{FF2B5EF4-FFF2-40B4-BE49-F238E27FC236}">
                    <a16:creationId xmlns:a16="http://schemas.microsoft.com/office/drawing/2014/main" id="{AB005523-1ED2-78EA-0D61-138730E442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947"/>
                <a:ext cx="24" cy="25"/>
              </a:xfrm>
              <a:custGeom>
                <a:avLst/>
                <a:gdLst>
                  <a:gd name="T0" fmla="*/ 24 w 24"/>
                  <a:gd name="T1" fmla="*/ 11 h 25"/>
                  <a:gd name="T2" fmla="*/ 24 w 24"/>
                  <a:gd name="T3" fmla="*/ 11 h 25"/>
                  <a:gd name="T4" fmla="*/ 22 w 24"/>
                  <a:gd name="T5" fmla="*/ 17 h 25"/>
                  <a:gd name="T6" fmla="*/ 21 w 24"/>
                  <a:gd name="T7" fmla="*/ 21 h 25"/>
                  <a:gd name="T8" fmla="*/ 17 w 24"/>
                  <a:gd name="T9" fmla="*/ 23 h 25"/>
                  <a:gd name="T10" fmla="*/ 11 w 24"/>
                  <a:gd name="T11" fmla="*/ 25 h 25"/>
                  <a:gd name="T12" fmla="*/ 7 w 24"/>
                  <a:gd name="T13" fmla="*/ 23 h 25"/>
                  <a:gd name="T14" fmla="*/ 4 w 24"/>
                  <a:gd name="T15" fmla="*/ 21 h 25"/>
                  <a:gd name="T16" fmla="*/ 2 w 24"/>
                  <a:gd name="T17" fmla="*/ 17 h 25"/>
                  <a:gd name="T18" fmla="*/ 0 w 24"/>
                  <a:gd name="T19" fmla="*/ 11 h 25"/>
                  <a:gd name="T20" fmla="*/ 0 w 24"/>
                  <a:gd name="T21" fmla="*/ 11 h 25"/>
                  <a:gd name="T22" fmla="*/ 2 w 24"/>
                  <a:gd name="T23" fmla="*/ 8 h 25"/>
                  <a:gd name="T24" fmla="*/ 4 w 24"/>
                  <a:gd name="T25" fmla="*/ 4 h 25"/>
                  <a:gd name="T26" fmla="*/ 7 w 24"/>
                  <a:gd name="T27" fmla="*/ 0 h 25"/>
                  <a:gd name="T28" fmla="*/ 11 w 24"/>
                  <a:gd name="T29" fmla="*/ 0 h 25"/>
                  <a:gd name="T30" fmla="*/ 17 w 24"/>
                  <a:gd name="T31" fmla="*/ 0 h 25"/>
                  <a:gd name="T32" fmla="*/ 21 w 24"/>
                  <a:gd name="T33" fmla="*/ 4 h 25"/>
                  <a:gd name="T34" fmla="*/ 22 w 24"/>
                  <a:gd name="T35" fmla="*/ 8 h 25"/>
                  <a:gd name="T36" fmla="*/ 24 w 24"/>
                  <a:gd name="T37" fmla="*/ 1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5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4"/>
                    </a:lnTo>
                    <a:lnTo>
                      <a:pt x="22" y="8"/>
                    </a:lnTo>
                    <a:lnTo>
                      <a:pt x="24" y="11"/>
                    </a:lnTo>
                    <a:close/>
                  </a:path>
                </a:pathLst>
              </a:custGeom>
              <a:solidFill>
                <a:srgbClr val="FF14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76" name="Freeform 182">
                <a:extLst>
                  <a:ext uri="{FF2B5EF4-FFF2-40B4-BE49-F238E27FC236}">
                    <a16:creationId xmlns:a16="http://schemas.microsoft.com/office/drawing/2014/main" id="{DAE4C4EE-E37A-66BF-D835-9D22A0B51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947"/>
                <a:ext cx="24" cy="25"/>
              </a:xfrm>
              <a:custGeom>
                <a:avLst/>
                <a:gdLst>
                  <a:gd name="T0" fmla="*/ 24 w 24"/>
                  <a:gd name="T1" fmla="*/ 11 h 25"/>
                  <a:gd name="T2" fmla="*/ 24 w 24"/>
                  <a:gd name="T3" fmla="*/ 11 h 25"/>
                  <a:gd name="T4" fmla="*/ 22 w 24"/>
                  <a:gd name="T5" fmla="*/ 17 h 25"/>
                  <a:gd name="T6" fmla="*/ 21 w 24"/>
                  <a:gd name="T7" fmla="*/ 21 h 25"/>
                  <a:gd name="T8" fmla="*/ 17 w 24"/>
                  <a:gd name="T9" fmla="*/ 23 h 25"/>
                  <a:gd name="T10" fmla="*/ 11 w 24"/>
                  <a:gd name="T11" fmla="*/ 25 h 25"/>
                  <a:gd name="T12" fmla="*/ 7 w 24"/>
                  <a:gd name="T13" fmla="*/ 23 h 25"/>
                  <a:gd name="T14" fmla="*/ 4 w 24"/>
                  <a:gd name="T15" fmla="*/ 21 h 25"/>
                  <a:gd name="T16" fmla="*/ 2 w 24"/>
                  <a:gd name="T17" fmla="*/ 17 h 25"/>
                  <a:gd name="T18" fmla="*/ 0 w 24"/>
                  <a:gd name="T19" fmla="*/ 11 h 25"/>
                  <a:gd name="T20" fmla="*/ 0 w 24"/>
                  <a:gd name="T21" fmla="*/ 11 h 25"/>
                  <a:gd name="T22" fmla="*/ 2 w 24"/>
                  <a:gd name="T23" fmla="*/ 8 h 25"/>
                  <a:gd name="T24" fmla="*/ 4 w 24"/>
                  <a:gd name="T25" fmla="*/ 4 h 25"/>
                  <a:gd name="T26" fmla="*/ 7 w 24"/>
                  <a:gd name="T27" fmla="*/ 0 h 25"/>
                  <a:gd name="T28" fmla="*/ 11 w 24"/>
                  <a:gd name="T29" fmla="*/ 0 h 25"/>
                  <a:gd name="T30" fmla="*/ 17 w 24"/>
                  <a:gd name="T31" fmla="*/ 0 h 25"/>
                  <a:gd name="T32" fmla="*/ 21 w 24"/>
                  <a:gd name="T33" fmla="*/ 4 h 25"/>
                  <a:gd name="T34" fmla="*/ 22 w 24"/>
                  <a:gd name="T35" fmla="*/ 8 h 25"/>
                  <a:gd name="T36" fmla="*/ 24 w 24"/>
                  <a:gd name="T37" fmla="*/ 1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5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4"/>
                    </a:lnTo>
                    <a:lnTo>
                      <a:pt x="22" y="8"/>
                    </a:lnTo>
                    <a:lnTo>
                      <a:pt x="24" y="11"/>
                    </a:lnTo>
                  </a:path>
                </a:pathLst>
              </a:custGeom>
              <a:noFill/>
              <a:ln w="9525">
                <a:solidFill>
                  <a:srgbClr val="FF14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77" name="Freeform 183">
                <a:extLst>
                  <a:ext uri="{FF2B5EF4-FFF2-40B4-BE49-F238E27FC236}">
                    <a16:creationId xmlns:a16="http://schemas.microsoft.com/office/drawing/2014/main" id="{3CE70A76-370F-AAA7-5118-6B98511E3F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" y="1020"/>
                <a:ext cx="24" cy="25"/>
              </a:xfrm>
              <a:custGeom>
                <a:avLst/>
                <a:gdLst>
                  <a:gd name="T0" fmla="*/ 24 w 24"/>
                  <a:gd name="T1" fmla="*/ 14 h 25"/>
                  <a:gd name="T2" fmla="*/ 24 w 24"/>
                  <a:gd name="T3" fmla="*/ 14 h 25"/>
                  <a:gd name="T4" fmla="*/ 22 w 24"/>
                  <a:gd name="T5" fmla="*/ 17 h 25"/>
                  <a:gd name="T6" fmla="*/ 20 w 24"/>
                  <a:gd name="T7" fmla="*/ 21 h 25"/>
                  <a:gd name="T8" fmla="*/ 17 w 24"/>
                  <a:gd name="T9" fmla="*/ 23 h 25"/>
                  <a:gd name="T10" fmla="*/ 11 w 24"/>
                  <a:gd name="T11" fmla="*/ 25 h 25"/>
                  <a:gd name="T12" fmla="*/ 7 w 24"/>
                  <a:gd name="T13" fmla="*/ 23 h 25"/>
                  <a:gd name="T14" fmla="*/ 3 w 24"/>
                  <a:gd name="T15" fmla="*/ 21 h 25"/>
                  <a:gd name="T16" fmla="*/ 2 w 24"/>
                  <a:gd name="T17" fmla="*/ 17 h 25"/>
                  <a:gd name="T18" fmla="*/ 0 w 24"/>
                  <a:gd name="T19" fmla="*/ 14 h 25"/>
                  <a:gd name="T20" fmla="*/ 0 w 24"/>
                  <a:gd name="T21" fmla="*/ 14 h 25"/>
                  <a:gd name="T22" fmla="*/ 2 w 24"/>
                  <a:gd name="T23" fmla="*/ 8 h 25"/>
                  <a:gd name="T24" fmla="*/ 3 w 24"/>
                  <a:gd name="T25" fmla="*/ 4 h 25"/>
                  <a:gd name="T26" fmla="*/ 7 w 24"/>
                  <a:gd name="T27" fmla="*/ 2 h 25"/>
                  <a:gd name="T28" fmla="*/ 11 w 24"/>
                  <a:gd name="T29" fmla="*/ 0 h 25"/>
                  <a:gd name="T30" fmla="*/ 17 w 24"/>
                  <a:gd name="T31" fmla="*/ 2 h 25"/>
                  <a:gd name="T32" fmla="*/ 20 w 24"/>
                  <a:gd name="T33" fmla="*/ 4 h 25"/>
                  <a:gd name="T34" fmla="*/ 22 w 24"/>
                  <a:gd name="T35" fmla="*/ 8 h 25"/>
                  <a:gd name="T36" fmla="*/ 24 w 24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5">
                    <a:moveTo>
                      <a:pt x="24" y="14"/>
                    </a:moveTo>
                    <a:lnTo>
                      <a:pt x="24" y="14"/>
                    </a:lnTo>
                    <a:lnTo>
                      <a:pt x="22" y="17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0" y="4"/>
                    </a:lnTo>
                    <a:lnTo>
                      <a:pt x="22" y="8"/>
                    </a:lnTo>
                    <a:lnTo>
                      <a:pt x="24" y="14"/>
                    </a:lnTo>
                    <a:close/>
                  </a:path>
                </a:pathLst>
              </a:custGeom>
              <a:solidFill>
                <a:srgbClr val="FF14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78" name="Freeform 184">
                <a:extLst>
                  <a:ext uri="{FF2B5EF4-FFF2-40B4-BE49-F238E27FC236}">
                    <a16:creationId xmlns:a16="http://schemas.microsoft.com/office/drawing/2014/main" id="{DC751D62-FDA0-72A8-6ACD-A98134E1A5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" y="1020"/>
                <a:ext cx="24" cy="25"/>
              </a:xfrm>
              <a:custGeom>
                <a:avLst/>
                <a:gdLst>
                  <a:gd name="T0" fmla="*/ 24 w 24"/>
                  <a:gd name="T1" fmla="*/ 14 h 25"/>
                  <a:gd name="T2" fmla="*/ 24 w 24"/>
                  <a:gd name="T3" fmla="*/ 14 h 25"/>
                  <a:gd name="T4" fmla="*/ 22 w 24"/>
                  <a:gd name="T5" fmla="*/ 17 h 25"/>
                  <a:gd name="T6" fmla="*/ 20 w 24"/>
                  <a:gd name="T7" fmla="*/ 21 h 25"/>
                  <a:gd name="T8" fmla="*/ 17 w 24"/>
                  <a:gd name="T9" fmla="*/ 23 h 25"/>
                  <a:gd name="T10" fmla="*/ 11 w 24"/>
                  <a:gd name="T11" fmla="*/ 25 h 25"/>
                  <a:gd name="T12" fmla="*/ 7 w 24"/>
                  <a:gd name="T13" fmla="*/ 23 h 25"/>
                  <a:gd name="T14" fmla="*/ 3 w 24"/>
                  <a:gd name="T15" fmla="*/ 21 h 25"/>
                  <a:gd name="T16" fmla="*/ 2 w 24"/>
                  <a:gd name="T17" fmla="*/ 17 h 25"/>
                  <a:gd name="T18" fmla="*/ 0 w 24"/>
                  <a:gd name="T19" fmla="*/ 14 h 25"/>
                  <a:gd name="T20" fmla="*/ 0 w 24"/>
                  <a:gd name="T21" fmla="*/ 14 h 25"/>
                  <a:gd name="T22" fmla="*/ 2 w 24"/>
                  <a:gd name="T23" fmla="*/ 8 h 25"/>
                  <a:gd name="T24" fmla="*/ 3 w 24"/>
                  <a:gd name="T25" fmla="*/ 4 h 25"/>
                  <a:gd name="T26" fmla="*/ 7 w 24"/>
                  <a:gd name="T27" fmla="*/ 2 h 25"/>
                  <a:gd name="T28" fmla="*/ 11 w 24"/>
                  <a:gd name="T29" fmla="*/ 0 h 25"/>
                  <a:gd name="T30" fmla="*/ 17 w 24"/>
                  <a:gd name="T31" fmla="*/ 2 h 25"/>
                  <a:gd name="T32" fmla="*/ 20 w 24"/>
                  <a:gd name="T33" fmla="*/ 4 h 25"/>
                  <a:gd name="T34" fmla="*/ 22 w 24"/>
                  <a:gd name="T35" fmla="*/ 8 h 25"/>
                  <a:gd name="T36" fmla="*/ 24 w 24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5">
                    <a:moveTo>
                      <a:pt x="24" y="14"/>
                    </a:moveTo>
                    <a:lnTo>
                      <a:pt x="24" y="14"/>
                    </a:lnTo>
                    <a:lnTo>
                      <a:pt x="22" y="17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0" y="4"/>
                    </a:lnTo>
                    <a:lnTo>
                      <a:pt x="22" y="8"/>
                    </a:lnTo>
                    <a:lnTo>
                      <a:pt x="24" y="14"/>
                    </a:lnTo>
                  </a:path>
                </a:pathLst>
              </a:custGeom>
              <a:noFill/>
              <a:ln w="9525">
                <a:solidFill>
                  <a:srgbClr val="FF14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79" name="Freeform 185">
                <a:extLst>
                  <a:ext uri="{FF2B5EF4-FFF2-40B4-BE49-F238E27FC236}">
                    <a16:creationId xmlns:a16="http://schemas.microsoft.com/office/drawing/2014/main" id="{73B236D1-DBC4-C149-B6DA-1DA81FE1EF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1019"/>
                <a:ext cx="23" cy="24"/>
              </a:xfrm>
              <a:custGeom>
                <a:avLst/>
                <a:gdLst>
                  <a:gd name="T0" fmla="*/ 23 w 23"/>
                  <a:gd name="T1" fmla="*/ 13 h 24"/>
                  <a:gd name="T2" fmla="*/ 23 w 23"/>
                  <a:gd name="T3" fmla="*/ 13 h 24"/>
                  <a:gd name="T4" fmla="*/ 23 w 23"/>
                  <a:gd name="T5" fmla="*/ 16 h 24"/>
                  <a:gd name="T6" fmla="*/ 19 w 23"/>
                  <a:gd name="T7" fmla="*/ 20 h 24"/>
                  <a:gd name="T8" fmla="*/ 15 w 23"/>
                  <a:gd name="T9" fmla="*/ 22 h 24"/>
                  <a:gd name="T10" fmla="*/ 12 w 23"/>
                  <a:gd name="T11" fmla="*/ 24 h 24"/>
                  <a:gd name="T12" fmla="*/ 8 w 23"/>
                  <a:gd name="T13" fmla="*/ 22 h 24"/>
                  <a:gd name="T14" fmla="*/ 4 w 23"/>
                  <a:gd name="T15" fmla="*/ 20 h 24"/>
                  <a:gd name="T16" fmla="*/ 0 w 23"/>
                  <a:gd name="T17" fmla="*/ 16 h 24"/>
                  <a:gd name="T18" fmla="*/ 0 w 23"/>
                  <a:gd name="T19" fmla="*/ 13 h 24"/>
                  <a:gd name="T20" fmla="*/ 0 w 23"/>
                  <a:gd name="T21" fmla="*/ 13 h 24"/>
                  <a:gd name="T22" fmla="*/ 0 w 23"/>
                  <a:gd name="T23" fmla="*/ 7 h 24"/>
                  <a:gd name="T24" fmla="*/ 4 w 23"/>
                  <a:gd name="T25" fmla="*/ 3 h 24"/>
                  <a:gd name="T26" fmla="*/ 8 w 23"/>
                  <a:gd name="T27" fmla="*/ 1 h 24"/>
                  <a:gd name="T28" fmla="*/ 12 w 23"/>
                  <a:gd name="T29" fmla="*/ 0 h 24"/>
                  <a:gd name="T30" fmla="*/ 15 w 23"/>
                  <a:gd name="T31" fmla="*/ 1 h 24"/>
                  <a:gd name="T32" fmla="*/ 19 w 23"/>
                  <a:gd name="T33" fmla="*/ 3 h 24"/>
                  <a:gd name="T34" fmla="*/ 23 w 23"/>
                  <a:gd name="T35" fmla="*/ 7 h 24"/>
                  <a:gd name="T36" fmla="*/ 23 w 23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3"/>
                    </a:moveTo>
                    <a:lnTo>
                      <a:pt x="23" y="13"/>
                    </a:lnTo>
                    <a:lnTo>
                      <a:pt x="23" y="16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2" y="24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4" y="3"/>
                    </a:lnTo>
                    <a:lnTo>
                      <a:pt x="8" y="1"/>
                    </a:lnTo>
                    <a:lnTo>
                      <a:pt x="12" y="0"/>
                    </a:lnTo>
                    <a:lnTo>
                      <a:pt x="15" y="1"/>
                    </a:lnTo>
                    <a:lnTo>
                      <a:pt x="19" y="3"/>
                    </a:lnTo>
                    <a:lnTo>
                      <a:pt x="23" y="7"/>
                    </a:lnTo>
                    <a:lnTo>
                      <a:pt x="23" y="13"/>
                    </a:lnTo>
                    <a:close/>
                  </a:path>
                </a:pathLst>
              </a:custGeom>
              <a:solidFill>
                <a:srgbClr val="FF14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80" name="Freeform 186">
                <a:extLst>
                  <a:ext uri="{FF2B5EF4-FFF2-40B4-BE49-F238E27FC236}">
                    <a16:creationId xmlns:a16="http://schemas.microsoft.com/office/drawing/2014/main" id="{FDC11C67-AD13-5014-BDAA-7131D5E495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1019"/>
                <a:ext cx="23" cy="24"/>
              </a:xfrm>
              <a:custGeom>
                <a:avLst/>
                <a:gdLst>
                  <a:gd name="T0" fmla="*/ 23 w 23"/>
                  <a:gd name="T1" fmla="*/ 13 h 24"/>
                  <a:gd name="T2" fmla="*/ 23 w 23"/>
                  <a:gd name="T3" fmla="*/ 13 h 24"/>
                  <a:gd name="T4" fmla="*/ 23 w 23"/>
                  <a:gd name="T5" fmla="*/ 16 h 24"/>
                  <a:gd name="T6" fmla="*/ 19 w 23"/>
                  <a:gd name="T7" fmla="*/ 20 h 24"/>
                  <a:gd name="T8" fmla="*/ 15 w 23"/>
                  <a:gd name="T9" fmla="*/ 22 h 24"/>
                  <a:gd name="T10" fmla="*/ 12 w 23"/>
                  <a:gd name="T11" fmla="*/ 24 h 24"/>
                  <a:gd name="T12" fmla="*/ 8 w 23"/>
                  <a:gd name="T13" fmla="*/ 22 h 24"/>
                  <a:gd name="T14" fmla="*/ 4 w 23"/>
                  <a:gd name="T15" fmla="*/ 20 h 24"/>
                  <a:gd name="T16" fmla="*/ 0 w 23"/>
                  <a:gd name="T17" fmla="*/ 16 h 24"/>
                  <a:gd name="T18" fmla="*/ 0 w 23"/>
                  <a:gd name="T19" fmla="*/ 13 h 24"/>
                  <a:gd name="T20" fmla="*/ 0 w 23"/>
                  <a:gd name="T21" fmla="*/ 13 h 24"/>
                  <a:gd name="T22" fmla="*/ 0 w 23"/>
                  <a:gd name="T23" fmla="*/ 7 h 24"/>
                  <a:gd name="T24" fmla="*/ 4 w 23"/>
                  <a:gd name="T25" fmla="*/ 3 h 24"/>
                  <a:gd name="T26" fmla="*/ 8 w 23"/>
                  <a:gd name="T27" fmla="*/ 1 h 24"/>
                  <a:gd name="T28" fmla="*/ 12 w 23"/>
                  <a:gd name="T29" fmla="*/ 0 h 24"/>
                  <a:gd name="T30" fmla="*/ 15 w 23"/>
                  <a:gd name="T31" fmla="*/ 1 h 24"/>
                  <a:gd name="T32" fmla="*/ 19 w 23"/>
                  <a:gd name="T33" fmla="*/ 3 h 24"/>
                  <a:gd name="T34" fmla="*/ 23 w 23"/>
                  <a:gd name="T35" fmla="*/ 7 h 24"/>
                  <a:gd name="T36" fmla="*/ 23 w 23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3"/>
                    </a:moveTo>
                    <a:lnTo>
                      <a:pt x="23" y="13"/>
                    </a:lnTo>
                    <a:lnTo>
                      <a:pt x="23" y="16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2" y="24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4" y="3"/>
                    </a:lnTo>
                    <a:lnTo>
                      <a:pt x="8" y="1"/>
                    </a:lnTo>
                    <a:lnTo>
                      <a:pt x="12" y="0"/>
                    </a:lnTo>
                    <a:lnTo>
                      <a:pt x="15" y="1"/>
                    </a:lnTo>
                    <a:lnTo>
                      <a:pt x="19" y="3"/>
                    </a:lnTo>
                    <a:lnTo>
                      <a:pt x="23" y="7"/>
                    </a:lnTo>
                    <a:lnTo>
                      <a:pt x="23" y="13"/>
                    </a:lnTo>
                  </a:path>
                </a:pathLst>
              </a:custGeom>
              <a:noFill/>
              <a:ln w="9525">
                <a:solidFill>
                  <a:srgbClr val="FF14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81" name="Freeform 187">
                <a:extLst>
                  <a:ext uri="{FF2B5EF4-FFF2-40B4-BE49-F238E27FC236}">
                    <a16:creationId xmlns:a16="http://schemas.microsoft.com/office/drawing/2014/main" id="{018C3874-EA5A-7B86-D8C9-F3E8AE0304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957"/>
                <a:ext cx="23" cy="22"/>
              </a:xfrm>
              <a:custGeom>
                <a:avLst/>
                <a:gdLst>
                  <a:gd name="T0" fmla="*/ 23 w 23"/>
                  <a:gd name="T1" fmla="*/ 11 h 22"/>
                  <a:gd name="T2" fmla="*/ 23 w 23"/>
                  <a:gd name="T3" fmla="*/ 11 h 22"/>
                  <a:gd name="T4" fmla="*/ 23 w 23"/>
                  <a:gd name="T5" fmla="*/ 16 h 22"/>
                  <a:gd name="T6" fmla="*/ 19 w 23"/>
                  <a:gd name="T7" fmla="*/ 20 h 22"/>
                  <a:gd name="T8" fmla="*/ 15 w 23"/>
                  <a:gd name="T9" fmla="*/ 22 h 22"/>
                  <a:gd name="T10" fmla="*/ 11 w 23"/>
                  <a:gd name="T11" fmla="*/ 22 h 22"/>
                  <a:gd name="T12" fmla="*/ 8 w 23"/>
                  <a:gd name="T13" fmla="*/ 22 h 22"/>
                  <a:gd name="T14" fmla="*/ 4 w 23"/>
                  <a:gd name="T15" fmla="*/ 20 h 22"/>
                  <a:gd name="T16" fmla="*/ 0 w 23"/>
                  <a:gd name="T17" fmla="*/ 16 h 22"/>
                  <a:gd name="T18" fmla="*/ 0 w 23"/>
                  <a:gd name="T19" fmla="*/ 11 h 22"/>
                  <a:gd name="T20" fmla="*/ 0 w 23"/>
                  <a:gd name="T21" fmla="*/ 11 h 22"/>
                  <a:gd name="T22" fmla="*/ 0 w 23"/>
                  <a:gd name="T23" fmla="*/ 5 h 22"/>
                  <a:gd name="T24" fmla="*/ 4 w 23"/>
                  <a:gd name="T25" fmla="*/ 1 h 22"/>
                  <a:gd name="T26" fmla="*/ 8 w 23"/>
                  <a:gd name="T27" fmla="*/ 0 h 22"/>
                  <a:gd name="T28" fmla="*/ 11 w 23"/>
                  <a:gd name="T29" fmla="*/ 0 h 22"/>
                  <a:gd name="T30" fmla="*/ 15 w 23"/>
                  <a:gd name="T31" fmla="*/ 0 h 22"/>
                  <a:gd name="T32" fmla="*/ 19 w 23"/>
                  <a:gd name="T33" fmla="*/ 1 h 22"/>
                  <a:gd name="T34" fmla="*/ 23 w 23"/>
                  <a:gd name="T35" fmla="*/ 5 h 22"/>
                  <a:gd name="T36" fmla="*/ 23 w 23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2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6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1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4" y="1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1"/>
                    </a:lnTo>
                    <a:lnTo>
                      <a:pt x="23" y="5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FF14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82" name="Freeform 188">
                <a:extLst>
                  <a:ext uri="{FF2B5EF4-FFF2-40B4-BE49-F238E27FC236}">
                    <a16:creationId xmlns:a16="http://schemas.microsoft.com/office/drawing/2014/main" id="{D27F3B46-B579-534E-7BC6-530007EDF4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957"/>
                <a:ext cx="23" cy="22"/>
              </a:xfrm>
              <a:custGeom>
                <a:avLst/>
                <a:gdLst>
                  <a:gd name="T0" fmla="*/ 23 w 23"/>
                  <a:gd name="T1" fmla="*/ 11 h 22"/>
                  <a:gd name="T2" fmla="*/ 23 w 23"/>
                  <a:gd name="T3" fmla="*/ 11 h 22"/>
                  <a:gd name="T4" fmla="*/ 23 w 23"/>
                  <a:gd name="T5" fmla="*/ 16 h 22"/>
                  <a:gd name="T6" fmla="*/ 19 w 23"/>
                  <a:gd name="T7" fmla="*/ 20 h 22"/>
                  <a:gd name="T8" fmla="*/ 15 w 23"/>
                  <a:gd name="T9" fmla="*/ 22 h 22"/>
                  <a:gd name="T10" fmla="*/ 11 w 23"/>
                  <a:gd name="T11" fmla="*/ 22 h 22"/>
                  <a:gd name="T12" fmla="*/ 8 w 23"/>
                  <a:gd name="T13" fmla="*/ 22 h 22"/>
                  <a:gd name="T14" fmla="*/ 4 w 23"/>
                  <a:gd name="T15" fmla="*/ 20 h 22"/>
                  <a:gd name="T16" fmla="*/ 0 w 23"/>
                  <a:gd name="T17" fmla="*/ 16 h 22"/>
                  <a:gd name="T18" fmla="*/ 0 w 23"/>
                  <a:gd name="T19" fmla="*/ 11 h 22"/>
                  <a:gd name="T20" fmla="*/ 0 w 23"/>
                  <a:gd name="T21" fmla="*/ 11 h 22"/>
                  <a:gd name="T22" fmla="*/ 0 w 23"/>
                  <a:gd name="T23" fmla="*/ 5 h 22"/>
                  <a:gd name="T24" fmla="*/ 4 w 23"/>
                  <a:gd name="T25" fmla="*/ 1 h 22"/>
                  <a:gd name="T26" fmla="*/ 8 w 23"/>
                  <a:gd name="T27" fmla="*/ 0 h 22"/>
                  <a:gd name="T28" fmla="*/ 11 w 23"/>
                  <a:gd name="T29" fmla="*/ 0 h 22"/>
                  <a:gd name="T30" fmla="*/ 15 w 23"/>
                  <a:gd name="T31" fmla="*/ 0 h 22"/>
                  <a:gd name="T32" fmla="*/ 19 w 23"/>
                  <a:gd name="T33" fmla="*/ 1 h 22"/>
                  <a:gd name="T34" fmla="*/ 23 w 23"/>
                  <a:gd name="T35" fmla="*/ 5 h 22"/>
                  <a:gd name="T36" fmla="*/ 23 w 23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2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6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1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4" y="1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1"/>
                    </a:lnTo>
                    <a:lnTo>
                      <a:pt x="23" y="5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FF14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83" name="Freeform 189">
                <a:extLst>
                  <a:ext uri="{FF2B5EF4-FFF2-40B4-BE49-F238E27FC236}">
                    <a16:creationId xmlns:a16="http://schemas.microsoft.com/office/drawing/2014/main" id="{6AF52C05-03EA-AAAA-3C44-C99D7D271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1" y="1000"/>
                <a:ext cx="24" cy="24"/>
              </a:xfrm>
              <a:custGeom>
                <a:avLst/>
                <a:gdLst>
                  <a:gd name="T0" fmla="*/ 24 w 24"/>
                  <a:gd name="T1" fmla="*/ 13 h 24"/>
                  <a:gd name="T2" fmla="*/ 24 w 24"/>
                  <a:gd name="T3" fmla="*/ 13 h 24"/>
                  <a:gd name="T4" fmla="*/ 22 w 24"/>
                  <a:gd name="T5" fmla="*/ 17 h 24"/>
                  <a:gd name="T6" fmla="*/ 21 w 24"/>
                  <a:gd name="T7" fmla="*/ 20 h 24"/>
                  <a:gd name="T8" fmla="*/ 17 w 24"/>
                  <a:gd name="T9" fmla="*/ 24 h 24"/>
                  <a:gd name="T10" fmla="*/ 13 w 24"/>
                  <a:gd name="T11" fmla="*/ 24 h 24"/>
                  <a:gd name="T12" fmla="*/ 7 w 24"/>
                  <a:gd name="T13" fmla="*/ 24 h 24"/>
                  <a:gd name="T14" fmla="*/ 4 w 24"/>
                  <a:gd name="T15" fmla="*/ 20 h 24"/>
                  <a:gd name="T16" fmla="*/ 2 w 24"/>
                  <a:gd name="T17" fmla="*/ 17 h 24"/>
                  <a:gd name="T18" fmla="*/ 0 w 24"/>
                  <a:gd name="T19" fmla="*/ 13 h 24"/>
                  <a:gd name="T20" fmla="*/ 0 w 24"/>
                  <a:gd name="T21" fmla="*/ 13 h 24"/>
                  <a:gd name="T22" fmla="*/ 2 w 24"/>
                  <a:gd name="T23" fmla="*/ 7 h 24"/>
                  <a:gd name="T24" fmla="*/ 4 w 24"/>
                  <a:gd name="T25" fmla="*/ 4 h 24"/>
                  <a:gd name="T26" fmla="*/ 7 w 24"/>
                  <a:gd name="T27" fmla="*/ 2 h 24"/>
                  <a:gd name="T28" fmla="*/ 13 w 24"/>
                  <a:gd name="T29" fmla="*/ 0 h 24"/>
                  <a:gd name="T30" fmla="*/ 17 w 24"/>
                  <a:gd name="T31" fmla="*/ 2 h 24"/>
                  <a:gd name="T32" fmla="*/ 21 w 24"/>
                  <a:gd name="T33" fmla="*/ 4 h 24"/>
                  <a:gd name="T34" fmla="*/ 22 w 24"/>
                  <a:gd name="T35" fmla="*/ 7 h 24"/>
                  <a:gd name="T36" fmla="*/ 24 w 24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4">
                    <a:moveTo>
                      <a:pt x="24" y="13"/>
                    </a:moveTo>
                    <a:lnTo>
                      <a:pt x="24" y="13"/>
                    </a:lnTo>
                    <a:lnTo>
                      <a:pt x="22" y="17"/>
                    </a:lnTo>
                    <a:lnTo>
                      <a:pt x="21" y="20"/>
                    </a:lnTo>
                    <a:lnTo>
                      <a:pt x="17" y="24"/>
                    </a:lnTo>
                    <a:lnTo>
                      <a:pt x="13" y="24"/>
                    </a:lnTo>
                    <a:lnTo>
                      <a:pt x="7" y="24"/>
                    </a:lnTo>
                    <a:lnTo>
                      <a:pt x="4" y="20"/>
                    </a:lnTo>
                    <a:lnTo>
                      <a:pt x="2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13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2" y="7"/>
                    </a:lnTo>
                    <a:lnTo>
                      <a:pt x="24" y="13"/>
                    </a:lnTo>
                    <a:close/>
                  </a:path>
                </a:pathLst>
              </a:custGeom>
              <a:solidFill>
                <a:srgbClr val="FF14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84" name="Freeform 190">
                <a:extLst>
                  <a:ext uri="{FF2B5EF4-FFF2-40B4-BE49-F238E27FC236}">
                    <a16:creationId xmlns:a16="http://schemas.microsoft.com/office/drawing/2014/main" id="{B484411F-A20D-3CD6-3AAE-CC88BB1196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1" y="1000"/>
                <a:ext cx="24" cy="24"/>
              </a:xfrm>
              <a:custGeom>
                <a:avLst/>
                <a:gdLst>
                  <a:gd name="T0" fmla="*/ 24 w 24"/>
                  <a:gd name="T1" fmla="*/ 13 h 24"/>
                  <a:gd name="T2" fmla="*/ 24 w 24"/>
                  <a:gd name="T3" fmla="*/ 13 h 24"/>
                  <a:gd name="T4" fmla="*/ 22 w 24"/>
                  <a:gd name="T5" fmla="*/ 17 h 24"/>
                  <a:gd name="T6" fmla="*/ 21 w 24"/>
                  <a:gd name="T7" fmla="*/ 20 h 24"/>
                  <a:gd name="T8" fmla="*/ 17 w 24"/>
                  <a:gd name="T9" fmla="*/ 24 h 24"/>
                  <a:gd name="T10" fmla="*/ 13 w 24"/>
                  <a:gd name="T11" fmla="*/ 24 h 24"/>
                  <a:gd name="T12" fmla="*/ 7 w 24"/>
                  <a:gd name="T13" fmla="*/ 24 h 24"/>
                  <a:gd name="T14" fmla="*/ 4 w 24"/>
                  <a:gd name="T15" fmla="*/ 20 h 24"/>
                  <a:gd name="T16" fmla="*/ 2 w 24"/>
                  <a:gd name="T17" fmla="*/ 17 h 24"/>
                  <a:gd name="T18" fmla="*/ 0 w 24"/>
                  <a:gd name="T19" fmla="*/ 13 h 24"/>
                  <a:gd name="T20" fmla="*/ 0 w 24"/>
                  <a:gd name="T21" fmla="*/ 13 h 24"/>
                  <a:gd name="T22" fmla="*/ 2 w 24"/>
                  <a:gd name="T23" fmla="*/ 7 h 24"/>
                  <a:gd name="T24" fmla="*/ 4 w 24"/>
                  <a:gd name="T25" fmla="*/ 4 h 24"/>
                  <a:gd name="T26" fmla="*/ 7 w 24"/>
                  <a:gd name="T27" fmla="*/ 2 h 24"/>
                  <a:gd name="T28" fmla="*/ 13 w 24"/>
                  <a:gd name="T29" fmla="*/ 0 h 24"/>
                  <a:gd name="T30" fmla="*/ 17 w 24"/>
                  <a:gd name="T31" fmla="*/ 2 h 24"/>
                  <a:gd name="T32" fmla="*/ 21 w 24"/>
                  <a:gd name="T33" fmla="*/ 4 h 24"/>
                  <a:gd name="T34" fmla="*/ 22 w 24"/>
                  <a:gd name="T35" fmla="*/ 7 h 24"/>
                  <a:gd name="T36" fmla="*/ 24 w 24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4">
                    <a:moveTo>
                      <a:pt x="24" y="13"/>
                    </a:moveTo>
                    <a:lnTo>
                      <a:pt x="24" y="13"/>
                    </a:lnTo>
                    <a:lnTo>
                      <a:pt x="22" y="17"/>
                    </a:lnTo>
                    <a:lnTo>
                      <a:pt x="21" y="20"/>
                    </a:lnTo>
                    <a:lnTo>
                      <a:pt x="17" y="24"/>
                    </a:lnTo>
                    <a:lnTo>
                      <a:pt x="13" y="24"/>
                    </a:lnTo>
                    <a:lnTo>
                      <a:pt x="7" y="24"/>
                    </a:lnTo>
                    <a:lnTo>
                      <a:pt x="4" y="20"/>
                    </a:lnTo>
                    <a:lnTo>
                      <a:pt x="2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13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2" y="7"/>
                    </a:lnTo>
                    <a:lnTo>
                      <a:pt x="24" y="13"/>
                    </a:lnTo>
                  </a:path>
                </a:pathLst>
              </a:custGeom>
              <a:noFill/>
              <a:ln w="9525">
                <a:solidFill>
                  <a:srgbClr val="FF14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85" name="Freeform 191">
                <a:extLst>
                  <a:ext uri="{FF2B5EF4-FFF2-40B4-BE49-F238E27FC236}">
                    <a16:creationId xmlns:a16="http://schemas.microsoft.com/office/drawing/2014/main" id="{CDB8D950-5AA7-1100-05A8-7ED0C23F99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2" y="996"/>
                <a:ext cx="25" cy="24"/>
              </a:xfrm>
              <a:custGeom>
                <a:avLst/>
                <a:gdLst>
                  <a:gd name="T0" fmla="*/ 25 w 25"/>
                  <a:gd name="T1" fmla="*/ 11 h 24"/>
                  <a:gd name="T2" fmla="*/ 25 w 25"/>
                  <a:gd name="T3" fmla="*/ 11 h 24"/>
                  <a:gd name="T4" fmla="*/ 23 w 25"/>
                  <a:gd name="T5" fmla="*/ 17 h 24"/>
                  <a:gd name="T6" fmla="*/ 21 w 25"/>
                  <a:gd name="T7" fmla="*/ 21 h 24"/>
                  <a:gd name="T8" fmla="*/ 17 w 25"/>
                  <a:gd name="T9" fmla="*/ 23 h 24"/>
                  <a:gd name="T10" fmla="*/ 12 w 25"/>
                  <a:gd name="T11" fmla="*/ 24 h 24"/>
                  <a:gd name="T12" fmla="*/ 8 w 25"/>
                  <a:gd name="T13" fmla="*/ 23 h 24"/>
                  <a:gd name="T14" fmla="*/ 4 w 25"/>
                  <a:gd name="T15" fmla="*/ 21 h 24"/>
                  <a:gd name="T16" fmla="*/ 2 w 25"/>
                  <a:gd name="T17" fmla="*/ 17 h 24"/>
                  <a:gd name="T18" fmla="*/ 0 w 25"/>
                  <a:gd name="T19" fmla="*/ 11 h 24"/>
                  <a:gd name="T20" fmla="*/ 0 w 25"/>
                  <a:gd name="T21" fmla="*/ 11 h 24"/>
                  <a:gd name="T22" fmla="*/ 2 w 25"/>
                  <a:gd name="T23" fmla="*/ 8 h 24"/>
                  <a:gd name="T24" fmla="*/ 4 w 25"/>
                  <a:gd name="T25" fmla="*/ 4 h 24"/>
                  <a:gd name="T26" fmla="*/ 8 w 25"/>
                  <a:gd name="T27" fmla="*/ 2 h 24"/>
                  <a:gd name="T28" fmla="*/ 12 w 25"/>
                  <a:gd name="T29" fmla="*/ 0 h 24"/>
                  <a:gd name="T30" fmla="*/ 17 w 25"/>
                  <a:gd name="T31" fmla="*/ 2 h 24"/>
                  <a:gd name="T32" fmla="*/ 21 w 25"/>
                  <a:gd name="T33" fmla="*/ 4 h 24"/>
                  <a:gd name="T34" fmla="*/ 23 w 25"/>
                  <a:gd name="T35" fmla="*/ 8 h 24"/>
                  <a:gd name="T36" fmla="*/ 25 w 25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4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2" y="24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1"/>
                    </a:lnTo>
                    <a:close/>
                  </a:path>
                </a:pathLst>
              </a:custGeom>
              <a:solidFill>
                <a:srgbClr val="FF14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86" name="Freeform 192">
                <a:extLst>
                  <a:ext uri="{FF2B5EF4-FFF2-40B4-BE49-F238E27FC236}">
                    <a16:creationId xmlns:a16="http://schemas.microsoft.com/office/drawing/2014/main" id="{6CFDD400-292F-642B-AA3D-8DA1A8271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2" y="996"/>
                <a:ext cx="25" cy="24"/>
              </a:xfrm>
              <a:custGeom>
                <a:avLst/>
                <a:gdLst>
                  <a:gd name="T0" fmla="*/ 25 w 25"/>
                  <a:gd name="T1" fmla="*/ 11 h 24"/>
                  <a:gd name="T2" fmla="*/ 25 w 25"/>
                  <a:gd name="T3" fmla="*/ 11 h 24"/>
                  <a:gd name="T4" fmla="*/ 23 w 25"/>
                  <a:gd name="T5" fmla="*/ 17 h 24"/>
                  <a:gd name="T6" fmla="*/ 21 w 25"/>
                  <a:gd name="T7" fmla="*/ 21 h 24"/>
                  <a:gd name="T8" fmla="*/ 17 w 25"/>
                  <a:gd name="T9" fmla="*/ 23 h 24"/>
                  <a:gd name="T10" fmla="*/ 12 w 25"/>
                  <a:gd name="T11" fmla="*/ 24 h 24"/>
                  <a:gd name="T12" fmla="*/ 8 w 25"/>
                  <a:gd name="T13" fmla="*/ 23 h 24"/>
                  <a:gd name="T14" fmla="*/ 4 w 25"/>
                  <a:gd name="T15" fmla="*/ 21 h 24"/>
                  <a:gd name="T16" fmla="*/ 2 w 25"/>
                  <a:gd name="T17" fmla="*/ 17 h 24"/>
                  <a:gd name="T18" fmla="*/ 0 w 25"/>
                  <a:gd name="T19" fmla="*/ 11 h 24"/>
                  <a:gd name="T20" fmla="*/ 0 w 25"/>
                  <a:gd name="T21" fmla="*/ 11 h 24"/>
                  <a:gd name="T22" fmla="*/ 2 w 25"/>
                  <a:gd name="T23" fmla="*/ 8 h 24"/>
                  <a:gd name="T24" fmla="*/ 4 w 25"/>
                  <a:gd name="T25" fmla="*/ 4 h 24"/>
                  <a:gd name="T26" fmla="*/ 8 w 25"/>
                  <a:gd name="T27" fmla="*/ 2 h 24"/>
                  <a:gd name="T28" fmla="*/ 12 w 25"/>
                  <a:gd name="T29" fmla="*/ 0 h 24"/>
                  <a:gd name="T30" fmla="*/ 17 w 25"/>
                  <a:gd name="T31" fmla="*/ 2 h 24"/>
                  <a:gd name="T32" fmla="*/ 21 w 25"/>
                  <a:gd name="T33" fmla="*/ 4 h 24"/>
                  <a:gd name="T34" fmla="*/ 23 w 25"/>
                  <a:gd name="T35" fmla="*/ 8 h 24"/>
                  <a:gd name="T36" fmla="*/ 25 w 25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4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2" y="24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1"/>
                    </a:lnTo>
                  </a:path>
                </a:pathLst>
              </a:custGeom>
              <a:noFill/>
              <a:ln w="9525">
                <a:solidFill>
                  <a:srgbClr val="FF14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87" name="Freeform 193">
                <a:extLst>
                  <a:ext uri="{FF2B5EF4-FFF2-40B4-BE49-F238E27FC236}">
                    <a16:creationId xmlns:a16="http://schemas.microsoft.com/office/drawing/2014/main" id="{135B6E95-D38C-88BD-D148-3CCA9578D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2" y="1043"/>
                <a:ext cx="22" cy="24"/>
              </a:xfrm>
              <a:custGeom>
                <a:avLst/>
                <a:gdLst>
                  <a:gd name="T0" fmla="*/ 22 w 22"/>
                  <a:gd name="T1" fmla="*/ 11 h 24"/>
                  <a:gd name="T2" fmla="*/ 22 w 22"/>
                  <a:gd name="T3" fmla="*/ 11 h 24"/>
                  <a:gd name="T4" fmla="*/ 22 w 22"/>
                  <a:gd name="T5" fmla="*/ 17 h 24"/>
                  <a:gd name="T6" fmla="*/ 18 w 22"/>
                  <a:gd name="T7" fmla="*/ 21 h 24"/>
                  <a:gd name="T8" fmla="*/ 15 w 22"/>
                  <a:gd name="T9" fmla="*/ 23 h 24"/>
                  <a:gd name="T10" fmla="*/ 11 w 22"/>
                  <a:gd name="T11" fmla="*/ 24 h 24"/>
                  <a:gd name="T12" fmla="*/ 7 w 22"/>
                  <a:gd name="T13" fmla="*/ 23 h 24"/>
                  <a:gd name="T14" fmla="*/ 3 w 22"/>
                  <a:gd name="T15" fmla="*/ 21 h 24"/>
                  <a:gd name="T16" fmla="*/ 0 w 22"/>
                  <a:gd name="T17" fmla="*/ 17 h 24"/>
                  <a:gd name="T18" fmla="*/ 0 w 22"/>
                  <a:gd name="T19" fmla="*/ 11 h 24"/>
                  <a:gd name="T20" fmla="*/ 0 w 22"/>
                  <a:gd name="T21" fmla="*/ 11 h 24"/>
                  <a:gd name="T22" fmla="*/ 0 w 22"/>
                  <a:gd name="T23" fmla="*/ 8 h 24"/>
                  <a:gd name="T24" fmla="*/ 3 w 22"/>
                  <a:gd name="T25" fmla="*/ 4 h 24"/>
                  <a:gd name="T26" fmla="*/ 7 w 22"/>
                  <a:gd name="T27" fmla="*/ 2 h 24"/>
                  <a:gd name="T28" fmla="*/ 11 w 22"/>
                  <a:gd name="T29" fmla="*/ 0 h 24"/>
                  <a:gd name="T30" fmla="*/ 15 w 22"/>
                  <a:gd name="T31" fmla="*/ 2 h 24"/>
                  <a:gd name="T32" fmla="*/ 18 w 22"/>
                  <a:gd name="T33" fmla="*/ 4 h 24"/>
                  <a:gd name="T34" fmla="*/ 22 w 22"/>
                  <a:gd name="T35" fmla="*/ 8 h 24"/>
                  <a:gd name="T36" fmla="*/ 22 w 22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4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2" y="11"/>
                    </a:lnTo>
                    <a:close/>
                  </a:path>
                </a:pathLst>
              </a:custGeom>
              <a:solidFill>
                <a:srgbClr val="FF14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88" name="Freeform 194">
                <a:extLst>
                  <a:ext uri="{FF2B5EF4-FFF2-40B4-BE49-F238E27FC236}">
                    <a16:creationId xmlns:a16="http://schemas.microsoft.com/office/drawing/2014/main" id="{62532D93-8EF6-B39E-2D66-5394C793B1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2" y="1043"/>
                <a:ext cx="22" cy="24"/>
              </a:xfrm>
              <a:custGeom>
                <a:avLst/>
                <a:gdLst>
                  <a:gd name="T0" fmla="*/ 22 w 22"/>
                  <a:gd name="T1" fmla="*/ 11 h 24"/>
                  <a:gd name="T2" fmla="*/ 22 w 22"/>
                  <a:gd name="T3" fmla="*/ 11 h 24"/>
                  <a:gd name="T4" fmla="*/ 22 w 22"/>
                  <a:gd name="T5" fmla="*/ 17 h 24"/>
                  <a:gd name="T6" fmla="*/ 18 w 22"/>
                  <a:gd name="T7" fmla="*/ 21 h 24"/>
                  <a:gd name="T8" fmla="*/ 15 w 22"/>
                  <a:gd name="T9" fmla="*/ 23 h 24"/>
                  <a:gd name="T10" fmla="*/ 11 w 22"/>
                  <a:gd name="T11" fmla="*/ 24 h 24"/>
                  <a:gd name="T12" fmla="*/ 7 w 22"/>
                  <a:gd name="T13" fmla="*/ 23 h 24"/>
                  <a:gd name="T14" fmla="*/ 3 w 22"/>
                  <a:gd name="T15" fmla="*/ 21 h 24"/>
                  <a:gd name="T16" fmla="*/ 0 w 22"/>
                  <a:gd name="T17" fmla="*/ 17 h 24"/>
                  <a:gd name="T18" fmla="*/ 0 w 22"/>
                  <a:gd name="T19" fmla="*/ 11 h 24"/>
                  <a:gd name="T20" fmla="*/ 0 w 22"/>
                  <a:gd name="T21" fmla="*/ 11 h 24"/>
                  <a:gd name="T22" fmla="*/ 0 w 22"/>
                  <a:gd name="T23" fmla="*/ 8 h 24"/>
                  <a:gd name="T24" fmla="*/ 3 w 22"/>
                  <a:gd name="T25" fmla="*/ 4 h 24"/>
                  <a:gd name="T26" fmla="*/ 7 w 22"/>
                  <a:gd name="T27" fmla="*/ 2 h 24"/>
                  <a:gd name="T28" fmla="*/ 11 w 22"/>
                  <a:gd name="T29" fmla="*/ 0 h 24"/>
                  <a:gd name="T30" fmla="*/ 15 w 22"/>
                  <a:gd name="T31" fmla="*/ 2 h 24"/>
                  <a:gd name="T32" fmla="*/ 18 w 22"/>
                  <a:gd name="T33" fmla="*/ 4 h 24"/>
                  <a:gd name="T34" fmla="*/ 22 w 22"/>
                  <a:gd name="T35" fmla="*/ 8 h 24"/>
                  <a:gd name="T36" fmla="*/ 22 w 22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4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2" y="11"/>
                    </a:lnTo>
                  </a:path>
                </a:pathLst>
              </a:custGeom>
              <a:noFill/>
              <a:ln w="9525">
                <a:solidFill>
                  <a:srgbClr val="FF14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89" name="Freeform 195">
                <a:extLst>
                  <a:ext uri="{FF2B5EF4-FFF2-40B4-BE49-F238E27FC236}">
                    <a16:creationId xmlns:a16="http://schemas.microsoft.com/office/drawing/2014/main" id="{3BCE0D55-89D6-5206-2C3B-4EED0B7E9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" y="1022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5 h 23"/>
                  <a:gd name="T6" fmla="*/ 20 w 24"/>
                  <a:gd name="T7" fmla="*/ 19 h 23"/>
                  <a:gd name="T8" fmla="*/ 17 w 24"/>
                  <a:gd name="T9" fmla="*/ 23 h 23"/>
                  <a:gd name="T10" fmla="*/ 13 w 24"/>
                  <a:gd name="T11" fmla="*/ 23 h 23"/>
                  <a:gd name="T12" fmla="*/ 7 w 24"/>
                  <a:gd name="T13" fmla="*/ 23 h 23"/>
                  <a:gd name="T14" fmla="*/ 3 w 24"/>
                  <a:gd name="T15" fmla="*/ 19 h 23"/>
                  <a:gd name="T16" fmla="*/ 2 w 24"/>
                  <a:gd name="T17" fmla="*/ 15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3 w 24"/>
                  <a:gd name="T25" fmla="*/ 2 h 23"/>
                  <a:gd name="T26" fmla="*/ 7 w 24"/>
                  <a:gd name="T27" fmla="*/ 0 h 23"/>
                  <a:gd name="T28" fmla="*/ 13 w 24"/>
                  <a:gd name="T29" fmla="*/ 0 h 23"/>
                  <a:gd name="T30" fmla="*/ 17 w 24"/>
                  <a:gd name="T31" fmla="*/ 0 h 23"/>
                  <a:gd name="T32" fmla="*/ 20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5"/>
                    </a:lnTo>
                    <a:lnTo>
                      <a:pt x="20" y="19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3" y="19"/>
                    </a:lnTo>
                    <a:lnTo>
                      <a:pt x="2" y="15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2" y="6"/>
                    </a:lnTo>
                    <a:lnTo>
                      <a:pt x="24" y="12"/>
                    </a:lnTo>
                    <a:close/>
                  </a:path>
                </a:pathLst>
              </a:custGeom>
              <a:solidFill>
                <a:srgbClr val="FF14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90" name="Freeform 196">
                <a:extLst>
                  <a:ext uri="{FF2B5EF4-FFF2-40B4-BE49-F238E27FC236}">
                    <a16:creationId xmlns:a16="http://schemas.microsoft.com/office/drawing/2014/main" id="{F1547785-11F4-6551-2C60-3E182CA08E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" y="1022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5 h 23"/>
                  <a:gd name="T6" fmla="*/ 20 w 24"/>
                  <a:gd name="T7" fmla="*/ 19 h 23"/>
                  <a:gd name="T8" fmla="*/ 17 w 24"/>
                  <a:gd name="T9" fmla="*/ 23 h 23"/>
                  <a:gd name="T10" fmla="*/ 13 w 24"/>
                  <a:gd name="T11" fmla="*/ 23 h 23"/>
                  <a:gd name="T12" fmla="*/ 7 w 24"/>
                  <a:gd name="T13" fmla="*/ 23 h 23"/>
                  <a:gd name="T14" fmla="*/ 3 w 24"/>
                  <a:gd name="T15" fmla="*/ 19 h 23"/>
                  <a:gd name="T16" fmla="*/ 2 w 24"/>
                  <a:gd name="T17" fmla="*/ 15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3 w 24"/>
                  <a:gd name="T25" fmla="*/ 2 h 23"/>
                  <a:gd name="T26" fmla="*/ 7 w 24"/>
                  <a:gd name="T27" fmla="*/ 0 h 23"/>
                  <a:gd name="T28" fmla="*/ 13 w 24"/>
                  <a:gd name="T29" fmla="*/ 0 h 23"/>
                  <a:gd name="T30" fmla="*/ 17 w 24"/>
                  <a:gd name="T31" fmla="*/ 0 h 23"/>
                  <a:gd name="T32" fmla="*/ 20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5"/>
                    </a:lnTo>
                    <a:lnTo>
                      <a:pt x="20" y="19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3" y="19"/>
                    </a:lnTo>
                    <a:lnTo>
                      <a:pt x="2" y="15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2" y="6"/>
                    </a:lnTo>
                    <a:lnTo>
                      <a:pt x="24" y="12"/>
                    </a:lnTo>
                  </a:path>
                </a:pathLst>
              </a:custGeom>
              <a:noFill/>
              <a:ln w="9525">
                <a:solidFill>
                  <a:srgbClr val="FF14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91" name="Freeform 197">
                <a:extLst>
                  <a:ext uri="{FF2B5EF4-FFF2-40B4-BE49-F238E27FC236}">
                    <a16:creationId xmlns:a16="http://schemas.microsoft.com/office/drawing/2014/main" id="{BF641E3F-B1A6-4B11-615F-63FD1A627D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8" y="977"/>
                <a:ext cx="24" cy="23"/>
              </a:xfrm>
              <a:custGeom>
                <a:avLst/>
                <a:gdLst>
                  <a:gd name="T0" fmla="*/ 24 w 24"/>
                  <a:gd name="T1" fmla="*/ 11 h 23"/>
                  <a:gd name="T2" fmla="*/ 24 w 24"/>
                  <a:gd name="T3" fmla="*/ 11 h 23"/>
                  <a:gd name="T4" fmla="*/ 22 w 24"/>
                  <a:gd name="T5" fmla="*/ 17 h 23"/>
                  <a:gd name="T6" fmla="*/ 20 w 24"/>
                  <a:gd name="T7" fmla="*/ 21 h 23"/>
                  <a:gd name="T8" fmla="*/ 17 w 24"/>
                  <a:gd name="T9" fmla="*/ 23 h 23"/>
                  <a:gd name="T10" fmla="*/ 13 w 24"/>
                  <a:gd name="T11" fmla="*/ 23 h 23"/>
                  <a:gd name="T12" fmla="*/ 7 w 24"/>
                  <a:gd name="T13" fmla="*/ 23 h 23"/>
                  <a:gd name="T14" fmla="*/ 3 w 24"/>
                  <a:gd name="T15" fmla="*/ 21 h 23"/>
                  <a:gd name="T16" fmla="*/ 2 w 24"/>
                  <a:gd name="T17" fmla="*/ 17 h 23"/>
                  <a:gd name="T18" fmla="*/ 0 w 24"/>
                  <a:gd name="T19" fmla="*/ 11 h 23"/>
                  <a:gd name="T20" fmla="*/ 0 w 24"/>
                  <a:gd name="T21" fmla="*/ 11 h 23"/>
                  <a:gd name="T22" fmla="*/ 2 w 24"/>
                  <a:gd name="T23" fmla="*/ 6 h 23"/>
                  <a:gd name="T24" fmla="*/ 3 w 24"/>
                  <a:gd name="T25" fmla="*/ 2 h 23"/>
                  <a:gd name="T26" fmla="*/ 7 w 24"/>
                  <a:gd name="T27" fmla="*/ 0 h 23"/>
                  <a:gd name="T28" fmla="*/ 13 w 24"/>
                  <a:gd name="T29" fmla="*/ 0 h 23"/>
                  <a:gd name="T30" fmla="*/ 17 w 24"/>
                  <a:gd name="T31" fmla="*/ 0 h 23"/>
                  <a:gd name="T32" fmla="*/ 20 w 24"/>
                  <a:gd name="T33" fmla="*/ 2 h 23"/>
                  <a:gd name="T34" fmla="*/ 22 w 24"/>
                  <a:gd name="T35" fmla="*/ 6 h 23"/>
                  <a:gd name="T36" fmla="*/ 24 w 24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7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2" y="6"/>
                    </a:lnTo>
                    <a:lnTo>
                      <a:pt x="24" y="11"/>
                    </a:lnTo>
                    <a:close/>
                  </a:path>
                </a:pathLst>
              </a:custGeom>
              <a:solidFill>
                <a:srgbClr val="FF14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92" name="Freeform 198">
                <a:extLst>
                  <a:ext uri="{FF2B5EF4-FFF2-40B4-BE49-F238E27FC236}">
                    <a16:creationId xmlns:a16="http://schemas.microsoft.com/office/drawing/2014/main" id="{46044DC3-0BE7-8445-729F-C44E78F95B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8" y="977"/>
                <a:ext cx="24" cy="23"/>
              </a:xfrm>
              <a:custGeom>
                <a:avLst/>
                <a:gdLst>
                  <a:gd name="T0" fmla="*/ 24 w 24"/>
                  <a:gd name="T1" fmla="*/ 11 h 23"/>
                  <a:gd name="T2" fmla="*/ 24 w 24"/>
                  <a:gd name="T3" fmla="*/ 11 h 23"/>
                  <a:gd name="T4" fmla="*/ 22 w 24"/>
                  <a:gd name="T5" fmla="*/ 17 h 23"/>
                  <a:gd name="T6" fmla="*/ 20 w 24"/>
                  <a:gd name="T7" fmla="*/ 21 h 23"/>
                  <a:gd name="T8" fmla="*/ 17 w 24"/>
                  <a:gd name="T9" fmla="*/ 23 h 23"/>
                  <a:gd name="T10" fmla="*/ 13 w 24"/>
                  <a:gd name="T11" fmla="*/ 23 h 23"/>
                  <a:gd name="T12" fmla="*/ 7 w 24"/>
                  <a:gd name="T13" fmla="*/ 23 h 23"/>
                  <a:gd name="T14" fmla="*/ 3 w 24"/>
                  <a:gd name="T15" fmla="*/ 21 h 23"/>
                  <a:gd name="T16" fmla="*/ 2 w 24"/>
                  <a:gd name="T17" fmla="*/ 17 h 23"/>
                  <a:gd name="T18" fmla="*/ 0 w 24"/>
                  <a:gd name="T19" fmla="*/ 11 h 23"/>
                  <a:gd name="T20" fmla="*/ 0 w 24"/>
                  <a:gd name="T21" fmla="*/ 11 h 23"/>
                  <a:gd name="T22" fmla="*/ 2 w 24"/>
                  <a:gd name="T23" fmla="*/ 6 h 23"/>
                  <a:gd name="T24" fmla="*/ 3 w 24"/>
                  <a:gd name="T25" fmla="*/ 2 h 23"/>
                  <a:gd name="T26" fmla="*/ 7 w 24"/>
                  <a:gd name="T27" fmla="*/ 0 h 23"/>
                  <a:gd name="T28" fmla="*/ 13 w 24"/>
                  <a:gd name="T29" fmla="*/ 0 h 23"/>
                  <a:gd name="T30" fmla="*/ 17 w 24"/>
                  <a:gd name="T31" fmla="*/ 0 h 23"/>
                  <a:gd name="T32" fmla="*/ 20 w 24"/>
                  <a:gd name="T33" fmla="*/ 2 h 23"/>
                  <a:gd name="T34" fmla="*/ 22 w 24"/>
                  <a:gd name="T35" fmla="*/ 6 h 23"/>
                  <a:gd name="T36" fmla="*/ 24 w 24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7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2" y="6"/>
                    </a:lnTo>
                    <a:lnTo>
                      <a:pt x="24" y="11"/>
                    </a:lnTo>
                  </a:path>
                </a:pathLst>
              </a:custGeom>
              <a:noFill/>
              <a:ln w="9525">
                <a:solidFill>
                  <a:srgbClr val="FF14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93" name="Freeform 199">
                <a:extLst>
                  <a:ext uri="{FF2B5EF4-FFF2-40B4-BE49-F238E27FC236}">
                    <a16:creationId xmlns:a16="http://schemas.microsoft.com/office/drawing/2014/main" id="{1FDB7707-249E-E16F-CDBC-FFC5A67A7D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7" y="966"/>
                <a:ext cx="22" cy="22"/>
              </a:xfrm>
              <a:custGeom>
                <a:avLst/>
                <a:gdLst>
                  <a:gd name="T0" fmla="*/ 22 w 22"/>
                  <a:gd name="T1" fmla="*/ 11 h 22"/>
                  <a:gd name="T2" fmla="*/ 22 w 22"/>
                  <a:gd name="T3" fmla="*/ 11 h 22"/>
                  <a:gd name="T4" fmla="*/ 22 w 22"/>
                  <a:gd name="T5" fmla="*/ 17 h 22"/>
                  <a:gd name="T6" fmla="*/ 19 w 22"/>
                  <a:gd name="T7" fmla="*/ 21 h 22"/>
                  <a:gd name="T8" fmla="*/ 15 w 22"/>
                  <a:gd name="T9" fmla="*/ 22 h 22"/>
                  <a:gd name="T10" fmla="*/ 11 w 22"/>
                  <a:gd name="T11" fmla="*/ 22 h 22"/>
                  <a:gd name="T12" fmla="*/ 7 w 22"/>
                  <a:gd name="T13" fmla="*/ 22 h 22"/>
                  <a:gd name="T14" fmla="*/ 4 w 22"/>
                  <a:gd name="T15" fmla="*/ 21 h 22"/>
                  <a:gd name="T16" fmla="*/ 0 w 22"/>
                  <a:gd name="T17" fmla="*/ 17 h 22"/>
                  <a:gd name="T18" fmla="*/ 0 w 22"/>
                  <a:gd name="T19" fmla="*/ 11 h 22"/>
                  <a:gd name="T20" fmla="*/ 0 w 22"/>
                  <a:gd name="T21" fmla="*/ 11 h 22"/>
                  <a:gd name="T22" fmla="*/ 0 w 22"/>
                  <a:gd name="T23" fmla="*/ 6 h 22"/>
                  <a:gd name="T24" fmla="*/ 4 w 22"/>
                  <a:gd name="T25" fmla="*/ 4 h 22"/>
                  <a:gd name="T26" fmla="*/ 7 w 22"/>
                  <a:gd name="T27" fmla="*/ 0 h 22"/>
                  <a:gd name="T28" fmla="*/ 11 w 22"/>
                  <a:gd name="T29" fmla="*/ 0 h 22"/>
                  <a:gd name="T30" fmla="*/ 15 w 22"/>
                  <a:gd name="T31" fmla="*/ 0 h 22"/>
                  <a:gd name="T32" fmla="*/ 19 w 22"/>
                  <a:gd name="T33" fmla="*/ 4 h 22"/>
                  <a:gd name="T34" fmla="*/ 22 w 22"/>
                  <a:gd name="T35" fmla="*/ 6 h 22"/>
                  <a:gd name="T36" fmla="*/ 22 w 22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2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9" y="21"/>
                    </a:lnTo>
                    <a:lnTo>
                      <a:pt x="15" y="22"/>
                    </a:lnTo>
                    <a:lnTo>
                      <a:pt x="11" y="22"/>
                    </a:lnTo>
                    <a:lnTo>
                      <a:pt x="7" y="22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4"/>
                    </a:lnTo>
                    <a:lnTo>
                      <a:pt x="22" y="6"/>
                    </a:lnTo>
                    <a:lnTo>
                      <a:pt x="22" y="11"/>
                    </a:lnTo>
                    <a:close/>
                  </a:path>
                </a:pathLst>
              </a:custGeom>
              <a:solidFill>
                <a:srgbClr val="FF14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94" name="Freeform 200">
                <a:extLst>
                  <a:ext uri="{FF2B5EF4-FFF2-40B4-BE49-F238E27FC236}">
                    <a16:creationId xmlns:a16="http://schemas.microsoft.com/office/drawing/2014/main" id="{72AB0E6F-EA23-7E31-3E16-38DA2751EF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7" y="966"/>
                <a:ext cx="22" cy="22"/>
              </a:xfrm>
              <a:custGeom>
                <a:avLst/>
                <a:gdLst>
                  <a:gd name="T0" fmla="*/ 22 w 22"/>
                  <a:gd name="T1" fmla="*/ 11 h 22"/>
                  <a:gd name="T2" fmla="*/ 22 w 22"/>
                  <a:gd name="T3" fmla="*/ 11 h 22"/>
                  <a:gd name="T4" fmla="*/ 22 w 22"/>
                  <a:gd name="T5" fmla="*/ 17 h 22"/>
                  <a:gd name="T6" fmla="*/ 19 w 22"/>
                  <a:gd name="T7" fmla="*/ 21 h 22"/>
                  <a:gd name="T8" fmla="*/ 15 w 22"/>
                  <a:gd name="T9" fmla="*/ 22 h 22"/>
                  <a:gd name="T10" fmla="*/ 11 w 22"/>
                  <a:gd name="T11" fmla="*/ 22 h 22"/>
                  <a:gd name="T12" fmla="*/ 7 w 22"/>
                  <a:gd name="T13" fmla="*/ 22 h 22"/>
                  <a:gd name="T14" fmla="*/ 4 w 22"/>
                  <a:gd name="T15" fmla="*/ 21 h 22"/>
                  <a:gd name="T16" fmla="*/ 0 w 22"/>
                  <a:gd name="T17" fmla="*/ 17 h 22"/>
                  <a:gd name="T18" fmla="*/ 0 w 22"/>
                  <a:gd name="T19" fmla="*/ 11 h 22"/>
                  <a:gd name="T20" fmla="*/ 0 w 22"/>
                  <a:gd name="T21" fmla="*/ 11 h 22"/>
                  <a:gd name="T22" fmla="*/ 0 w 22"/>
                  <a:gd name="T23" fmla="*/ 6 h 22"/>
                  <a:gd name="T24" fmla="*/ 4 w 22"/>
                  <a:gd name="T25" fmla="*/ 4 h 22"/>
                  <a:gd name="T26" fmla="*/ 7 w 22"/>
                  <a:gd name="T27" fmla="*/ 0 h 22"/>
                  <a:gd name="T28" fmla="*/ 11 w 22"/>
                  <a:gd name="T29" fmla="*/ 0 h 22"/>
                  <a:gd name="T30" fmla="*/ 15 w 22"/>
                  <a:gd name="T31" fmla="*/ 0 h 22"/>
                  <a:gd name="T32" fmla="*/ 19 w 22"/>
                  <a:gd name="T33" fmla="*/ 4 h 22"/>
                  <a:gd name="T34" fmla="*/ 22 w 22"/>
                  <a:gd name="T35" fmla="*/ 6 h 22"/>
                  <a:gd name="T36" fmla="*/ 22 w 22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2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9" y="21"/>
                    </a:lnTo>
                    <a:lnTo>
                      <a:pt x="15" y="22"/>
                    </a:lnTo>
                    <a:lnTo>
                      <a:pt x="11" y="22"/>
                    </a:lnTo>
                    <a:lnTo>
                      <a:pt x="7" y="22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4"/>
                    </a:lnTo>
                    <a:lnTo>
                      <a:pt x="22" y="6"/>
                    </a:lnTo>
                    <a:lnTo>
                      <a:pt x="22" y="11"/>
                    </a:lnTo>
                  </a:path>
                </a:pathLst>
              </a:custGeom>
              <a:noFill/>
              <a:ln w="9525">
                <a:solidFill>
                  <a:srgbClr val="FF14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95" name="Freeform 201">
                <a:extLst>
                  <a:ext uri="{FF2B5EF4-FFF2-40B4-BE49-F238E27FC236}">
                    <a16:creationId xmlns:a16="http://schemas.microsoft.com/office/drawing/2014/main" id="{1B762AEA-6AC5-FC27-8B10-FC818D76F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3" y="960"/>
                <a:ext cx="25" cy="25"/>
              </a:xfrm>
              <a:custGeom>
                <a:avLst/>
                <a:gdLst>
                  <a:gd name="T0" fmla="*/ 25 w 25"/>
                  <a:gd name="T1" fmla="*/ 12 h 25"/>
                  <a:gd name="T2" fmla="*/ 25 w 25"/>
                  <a:gd name="T3" fmla="*/ 12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3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2 h 25"/>
                  <a:gd name="T20" fmla="*/ 0 w 25"/>
                  <a:gd name="T21" fmla="*/ 12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3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3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3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2"/>
                    </a:lnTo>
                    <a:close/>
                  </a:path>
                </a:pathLst>
              </a:custGeom>
              <a:solidFill>
                <a:srgbClr val="FF14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96" name="Freeform 202">
                <a:extLst>
                  <a:ext uri="{FF2B5EF4-FFF2-40B4-BE49-F238E27FC236}">
                    <a16:creationId xmlns:a16="http://schemas.microsoft.com/office/drawing/2014/main" id="{81D24493-7CFA-BA3C-ECCA-3719230D53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3" y="960"/>
                <a:ext cx="25" cy="25"/>
              </a:xfrm>
              <a:custGeom>
                <a:avLst/>
                <a:gdLst>
                  <a:gd name="T0" fmla="*/ 25 w 25"/>
                  <a:gd name="T1" fmla="*/ 12 h 25"/>
                  <a:gd name="T2" fmla="*/ 25 w 25"/>
                  <a:gd name="T3" fmla="*/ 12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3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2 h 25"/>
                  <a:gd name="T20" fmla="*/ 0 w 25"/>
                  <a:gd name="T21" fmla="*/ 12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3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3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3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2"/>
                    </a:lnTo>
                  </a:path>
                </a:pathLst>
              </a:custGeom>
              <a:noFill/>
              <a:ln w="9525">
                <a:solidFill>
                  <a:srgbClr val="FF149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97" name="Freeform 203">
                <a:extLst>
                  <a:ext uri="{FF2B5EF4-FFF2-40B4-BE49-F238E27FC236}">
                    <a16:creationId xmlns:a16="http://schemas.microsoft.com/office/drawing/2014/main" id="{CC036E96-1077-B1F3-8398-91F633C69B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  <a:close/>
                  </a:path>
                </a:pathLst>
              </a:custGeom>
              <a:solidFill>
                <a:srgbClr val="00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598" name="Freeform 204">
                <a:extLst>
                  <a:ext uri="{FF2B5EF4-FFF2-40B4-BE49-F238E27FC236}">
                    <a16:creationId xmlns:a16="http://schemas.microsoft.com/office/drawing/2014/main" id="{553A1A48-8AED-06ED-60E0-217F97B5CB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</a:path>
                </a:pathLst>
              </a:custGeom>
              <a:noFill/>
              <a:ln w="9525">
                <a:solidFill>
                  <a:srgbClr val="0000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grpSp>
          <p:nvGrpSpPr>
            <p:cNvPr id="21" name="Group 406">
              <a:extLst>
                <a:ext uri="{FF2B5EF4-FFF2-40B4-BE49-F238E27FC236}">
                  <a16:creationId xmlns:a16="http://schemas.microsoft.com/office/drawing/2014/main" id="{4BF65D2A-EB1D-5134-AEED-9A4B59CB1EC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06" y="795"/>
              <a:ext cx="2345" cy="1874"/>
              <a:chOff x="806" y="795"/>
              <a:chExt cx="2345" cy="1874"/>
            </a:xfrm>
          </p:grpSpPr>
          <p:sp>
            <p:nvSpPr>
              <p:cNvPr id="199" name="Freeform 206">
                <a:extLst>
                  <a:ext uri="{FF2B5EF4-FFF2-40B4-BE49-F238E27FC236}">
                    <a16:creationId xmlns:a16="http://schemas.microsoft.com/office/drawing/2014/main" id="{F976CEF0-7B44-923F-6F9F-60E8174C0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795"/>
                <a:ext cx="22" cy="24"/>
              </a:xfrm>
              <a:custGeom>
                <a:avLst/>
                <a:gdLst>
                  <a:gd name="T0" fmla="*/ 22 w 22"/>
                  <a:gd name="T1" fmla="*/ 11 h 24"/>
                  <a:gd name="T2" fmla="*/ 22 w 22"/>
                  <a:gd name="T3" fmla="*/ 11 h 24"/>
                  <a:gd name="T4" fmla="*/ 22 w 22"/>
                  <a:gd name="T5" fmla="*/ 17 h 24"/>
                  <a:gd name="T6" fmla="*/ 18 w 22"/>
                  <a:gd name="T7" fmla="*/ 21 h 24"/>
                  <a:gd name="T8" fmla="*/ 15 w 22"/>
                  <a:gd name="T9" fmla="*/ 22 h 24"/>
                  <a:gd name="T10" fmla="*/ 11 w 22"/>
                  <a:gd name="T11" fmla="*/ 24 h 24"/>
                  <a:gd name="T12" fmla="*/ 7 w 22"/>
                  <a:gd name="T13" fmla="*/ 22 h 24"/>
                  <a:gd name="T14" fmla="*/ 3 w 22"/>
                  <a:gd name="T15" fmla="*/ 21 h 24"/>
                  <a:gd name="T16" fmla="*/ 0 w 22"/>
                  <a:gd name="T17" fmla="*/ 17 h 24"/>
                  <a:gd name="T18" fmla="*/ 0 w 22"/>
                  <a:gd name="T19" fmla="*/ 11 h 24"/>
                  <a:gd name="T20" fmla="*/ 0 w 22"/>
                  <a:gd name="T21" fmla="*/ 11 h 24"/>
                  <a:gd name="T22" fmla="*/ 0 w 22"/>
                  <a:gd name="T23" fmla="*/ 7 h 24"/>
                  <a:gd name="T24" fmla="*/ 3 w 22"/>
                  <a:gd name="T25" fmla="*/ 4 h 24"/>
                  <a:gd name="T26" fmla="*/ 7 w 22"/>
                  <a:gd name="T27" fmla="*/ 2 h 24"/>
                  <a:gd name="T28" fmla="*/ 11 w 22"/>
                  <a:gd name="T29" fmla="*/ 0 h 24"/>
                  <a:gd name="T30" fmla="*/ 15 w 22"/>
                  <a:gd name="T31" fmla="*/ 2 h 24"/>
                  <a:gd name="T32" fmla="*/ 18 w 22"/>
                  <a:gd name="T33" fmla="*/ 4 h 24"/>
                  <a:gd name="T34" fmla="*/ 22 w 22"/>
                  <a:gd name="T35" fmla="*/ 7 h 24"/>
                  <a:gd name="T36" fmla="*/ 22 w 22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8" y="4"/>
                    </a:lnTo>
                    <a:lnTo>
                      <a:pt x="22" y="7"/>
                    </a:lnTo>
                    <a:lnTo>
                      <a:pt x="22" y="11"/>
                    </a:lnTo>
                    <a:close/>
                  </a:path>
                </a:pathLst>
              </a:custGeom>
              <a:solidFill>
                <a:srgbClr val="00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00" name="Freeform 207">
                <a:extLst>
                  <a:ext uri="{FF2B5EF4-FFF2-40B4-BE49-F238E27FC236}">
                    <a16:creationId xmlns:a16="http://schemas.microsoft.com/office/drawing/2014/main" id="{99CD220D-9F4D-E276-27B1-B3218FC27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795"/>
                <a:ext cx="22" cy="24"/>
              </a:xfrm>
              <a:custGeom>
                <a:avLst/>
                <a:gdLst>
                  <a:gd name="T0" fmla="*/ 22 w 22"/>
                  <a:gd name="T1" fmla="*/ 11 h 24"/>
                  <a:gd name="T2" fmla="*/ 22 w 22"/>
                  <a:gd name="T3" fmla="*/ 11 h 24"/>
                  <a:gd name="T4" fmla="*/ 22 w 22"/>
                  <a:gd name="T5" fmla="*/ 17 h 24"/>
                  <a:gd name="T6" fmla="*/ 18 w 22"/>
                  <a:gd name="T7" fmla="*/ 21 h 24"/>
                  <a:gd name="T8" fmla="*/ 15 w 22"/>
                  <a:gd name="T9" fmla="*/ 22 h 24"/>
                  <a:gd name="T10" fmla="*/ 11 w 22"/>
                  <a:gd name="T11" fmla="*/ 24 h 24"/>
                  <a:gd name="T12" fmla="*/ 7 w 22"/>
                  <a:gd name="T13" fmla="*/ 22 h 24"/>
                  <a:gd name="T14" fmla="*/ 3 w 22"/>
                  <a:gd name="T15" fmla="*/ 21 h 24"/>
                  <a:gd name="T16" fmla="*/ 0 w 22"/>
                  <a:gd name="T17" fmla="*/ 17 h 24"/>
                  <a:gd name="T18" fmla="*/ 0 w 22"/>
                  <a:gd name="T19" fmla="*/ 11 h 24"/>
                  <a:gd name="T20" fmla="*/ 0 w 22"/>
                  <a:gd name="T21" fmla="*/ 11 h 24"/>
                  <a:gd name="T22" fmla="*/ 0 w 22"/>
                  <a:gd name="T23" fmla="*/ 7 h 24"/>
                  <a:gd name="T24" fmla="*/ 3 w 22"/>
                  <a:gd name="T25" fmla="*/ 4 h 24"/>
                  <a:gd name="T26" fmla="*/ 7 w 22"/>
                  <a:gd name="T27" fmla="*/ 2 h 24"/>
                  <a:gd name="T28" fmla="*/ 11 w 22"/>
                  <a:gd name="T29" fmla="*/ 0 h 24"/>
                  <a:gd name="T30" fmla="*/ 15 w 22"/>
                  <a:gd name="T31" fmla="*/ 2 h 24"/>
                  <a:gd name="T32" fmla="*/ 18 w 22"/>
                  <a:gd name="T33" fmla="*/ 4 h 24"/>
                  <a:gd name="T34" fmla="*/ 22 w 22"/>
                  <a:gd name="T35" fmla="*/ 7 h 24"/>
                  <a:gd name="T36" fmla="*/ 22 w 22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8" y="4"/>
                    </a:lnTo>
                    <a:lnTo>
                      <a:pt x="22" y="7"/>
                    </a:lnTo>
                    <a:lnTo>
                      <a:pt x="22" y="11"/>
                    </a:lnTo>
                  </a:path>
                </a:pathLst>
              </a:custGeom>
              <a:noFill/>
              <a:ln w="9525">
                <a:solidFill>
                  <a:srgbClr val="0000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01" name="Freeform 208">
                <a:extLst>
                  <a:ext uri="{FF2B5EF4-FFF2-40B4-BE49-F238E27FC236}">
                    <a16:creationId xmlns:a16="http://schemas.microsoft.com/office/drawing/2014/main" id="{B1BCABCC-86F4-A327-9D39-58DF7C2167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6" y="863"/>
                <a:ext cx="22" cy="24"/>
              </a:xfrm>
              <a:custGeom>
                <a:avLst/>
                <a:gdLst>
                  <a:gd name="T0" fmla="*/ 22 w 22"/>
                  <a:gd name="T1" fmla="*/ 11 h 24"/>
                  <a:gd name="T2" fmla="*/ 22 w 22"/>
                  <a:gd name="T3" fmla="*/ 11 h 24"/>
                  <a:gd name="T4" fmla="*/ 21 w 22"/>
                  <a:gd name="T5" fmla="*/ 16 h 24"/>
                  <a:gd name="T6" fmla="*/ 19 w 22"/>
                  <a:gd name="T7" fmla="*/ 20 h 24"/>
                  <a:gd name="T8" fmla="*/ 15 w 22"/>
                  <a:gd name="T9" fmla="*/ 22 h 24"/>
                  <a:gd name="T10" fmla="*/ 11 w 22"/>
                  <a:gd name="T11" fmla="*/ 24 h 24"/>
                  <a:gd name="T12" fmla="*/ 6 w 22"/>
                  <a:gd name="T13" fmla="*/ 22 h 24"/>
                  <a:gd name="T14" fmla="*/ 2 w 22"/>
                  <a:gd name="T15" fmla="*/ 20 h 24"/>
                  <a:gd name="T16" fmla="*/ 0 w 22"/>
                  <a:gd name="T17" fmla="*/ 16 h 24"/>
                  <a:gd name="T18" fmla="*/ 0 w 22"/>
                  <a:gd name="T19" fmla="*/ 11 h 24"/>
                  <a:gd name="T20" fmla="*/ 0 w 22"/>
                  <a:gd name="T21" fmla="*/ 11 h 24"/>
                  <a:gd name="T22" fmla="*/ 0 w 22"/>
                  <a:gd name="T23" fmla="*/ 7 h 24"/>
                  <a:gd name="T24" fmla="*/ 2 w 22"/>
                  <a:gd name="T25" fmla="*/ 3 h 24"/>
                  <a:gd name="T26" fmla="*/ 6 w 22"/>
                  <a:gd name="T27" fmla="*/ 1 h 24"/>
                  <a:gd name="T28" fmla="*/ 11 w 22"/>
                  <a:gd name="T29" fmla="*/ 0 h 24"/>
                  <a:gd name="T30" fmla="*/ 15 w 22"/>
                  <a:gd name="T31" fmla="*/ 1 h 24"/>
                  <a:gd name="T32" fmla="*/ 19 w 22"/>
                  <a:gd name="T33" fmla="*/ 3 h 24"/>
                  <a:gd name="T34" fmla="*/ 21 w 22"/>
                  <a:gd name="T35" fmla="*/ 7 h 24"/>
                  <a:gd name="T36" fmla="*/ 22 w 22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1"/>
                    </a:moveTo>
                    <a:lnTo>
                      <a:pt x="22" y="11"/>
                    </a:lnTo>
                    <a:lnTo>
                      <a:pt x="21" y="16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6" y="22"/>
                    </a:lnTo>
                    <a:lnTo>
                      <a:pt x="2" y="20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6" y="1"/>
                    </a:lnTo>
                    <a:lnTo>
                      <a:pt x="11" y="0"/>
                    </a:lnTo>
                    <a:lnTo>
                      <a:pt x="15" y="1"/>
                    </a:lnTo>
                    <a:lnTo>
                      <a:pt x="19" y="3"/>
                    </a:lnTo>
                    <a:lnTo>
                      <a:pt x="21" y="7"/>
                    </a:lnTo>
                    <a:lnTo>
                      <a:pt x="22" y="11"/>
                    </a:lnTo>
                    <a:close/>
                  </a:path>
                </a:pathLst>
              </a:custGeom>
              <a:solidFill>
                <a:srgbClr val="00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02" name="Freeform 209">
                <a:extLst>
                  <a:ext uri="{FF2B5EF4-FFF2-40B4-BE49-F238E27FC236}">
                    <a16:creationId xmlns:a16="http://schemas.microsoft.com/office/drawing/2014/main" id="{5D996B7C-644A-142D-15BD-46EC4FB878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6" y="863"/>
                <a:ext cx="22" cy="24"/>
              </a:xfrm>
              <a:custGeom>
                <a:avLst/>
                <a:gdLst>
                  <a:gd name="T0" fmla="*/ 22 w 22"/>
                  <a:gd name="T1" fmla="*/ 11 h 24"/>
                  <a:gd name="T2" fmla="*/ 22 w 22"/>
                  <a:gd name="T3" fmla="*/ 11 h 24"/>
                  <a:gd name="T4" fmla="*/ 21 w 22"/>
                  <a:gd name="T5" fmla="*/ 16 h 24"/>
                  <a:gd name="T6" fmla="*/ 19 w 22"/>
                  <a:gd name="T7" fmla="*/ 20 h 24"/>
                  <a:gd name="T8" fmla="*/ 15 w 22"/>
                  <a:gd name="T9" fmla="*/ 22 h 24"/>
                  <a:gd name="T10" fmla="*/ 11 w 22"/>
                  <a:gd name="T11" fmla="*/ 24 h 24"/>
                  <a:gd name="T12" fmla="*/ 6 w 22"/>
                  <a:gd name="T13" fmla="*/ 22 h 24"/>
                  <a:gd name="T14" fmla="*/ 2 w 22"/>
                  <a:gd name="T15" fmla="*/ 20 h 24"/>
                  <a:gd name="T16" fmla="*/ 0 w 22"/>
                  <a:gd name="T17" fmla="*/ 16 h 24"/>
                  <a:gd name="T18" fmla="*/ 0 w 22"/>
                  <a:gd name="T19" fmla="*/ 11 h 24"/>
                  <a:gd name="T20" fmla="*/ 0 w 22"/>
                  <a:gd name="T21" fmla="*/ 11 h 24"/>
                  <a:gd name="T22" fmla="*/ 0 w 22"/>
                  <a:gd name="T23" fmla="*/ 7 h 24"/>
                  <a:gd name="T24" fmla="*/ 2 w 22"/>
                  <a:gd name="T25" fmla="*/ 3 h 24"/>
                  <a:gd name="T26" fmla="*/ 6 w 22"/>
                  <a:gd name="T27" fmla="*/ 1 h 24"/>
                  <a:gd name="T28" fmla="*/ 11 w 22"/>
                  <a:gd name="T29" fmla="*/ 0 h 24"/>
                  <a:gd name="T30" fmla="*/ 15 w 22"/>
                  <a:gd name="T31" fmla="*/ 1 h 24"/>
                  <a:gd name="T32" fmla="*/ 19 w 22"/>
                  <a:gd name="T33" fmla="*/ 3 h 24"/>
                  <a:gd name="T34" fmla="*/ 21 w 22"/>
                  <a:gd name="T35" fmla="*/ 7 h 24"/>
                  <a:gd name="T36" fmla="*/ 22 w 22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1"/>
                    </a:moveTo>
                    <a:lnTo>
                      <a:pt x="22" y="11"/>
                    </a:lnTo>
                    <a:lnTo>
                      <a:pt x="21" y="16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6" y="22"/>
                    </a:lnTo>
                    <a:lnTo>
                      <a:pt x="2" y="20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6" y="1"/>
                    </a:lnTo>
                    <a:lnTo>
                      <a:pt x="11" y="0"/>
                    </a:lnTo>
                    <a:lnTo>
                      <a:pt x="15" y="1"/>
                    </a:lnTo>
                    <a:lnTo>
                      <a:pt x="19" y="3"/>
                    </a:lnTo>
                    <a:lnTo>
                      <a:pt x="21" y="7"/>
                    </a:lnTo>
                    <a:lnTo>
                      <a:pt x="22" y="11"/>
                    </a:lnTo>
                  </a:path>
                </a:pathLst>
              </a:custGeom>
              <a:noFill/>
              <a:ln w="9525">
                <a:solidFill>
                  <a:srgbClr val="0000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03" name="Freeform 210">
                <a:extLst>
                  <a:ext uri="{FF2B5EF4-FFF2-40B4-BE49-F238E27FC236}">
                    <a16:creationId xmlns:a16="http://schemas.microsoft.com/office/drawing/2014/main" id="{C89002AD-74A4-81C6-B921-DCBB573C44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  <a:close/>
                  </a:path>
                </a:pathLst>
              </a:custGeom>
              <a:solidFill>
                <a:srgbClr val="3664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04" name="Freeform 211">
                <a:extLst>
                  <a:ext uri="{FF2B5EF4-FFF2-40B4-BE49-F238E27FC236}">
                    <a16:creationId xmlns:a16="http://schemas.microsoft.com/office/drawing/2014/main" id="{DFEE051B-8843-DF70-A10C-C58FC4B10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147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1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1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</a:path>
                </a:pathLst>
              </a:custGeom>
              <a:noFill/>
              <a:ln w="9525">
                <a:solidFill>
                  <a:srgbClr val="36648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05" name="Freeform 212">
                <a:extLst>
                  <a:ext uri="{FF2B5EF4-FFF2-40B4-BE49-F238E27FC236}">
                    <a16:creationId xmlns:a16="http://schemas.microsoft.com/office/drawing/2014/main" id="{E9FD19A6-8E19-CD6F-2E68-A55BB581BC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1082"/>
                <a:ext cx="22" cy="25"/>
              </a:xfrm>
              <a:custGeom>
                <a:avLst/>
                <a:gdLst>
                  <a:gd name="T0" fmla="*/ 22 w 22"/>
                  <a:gd name="T1" fmla="*/ 14 h 25"/>
                  <a:gd name="T2" fmla="*/ 22 w 22"/>
                  <a:gd name="T3" fmla="*/ 14 h 25"/>
                  <a:gd name="T4" fmla="*/ 22 w 22"/>
                  <a:gd name="T5" fmla="*/ 17 h 25"/>
                  <a:gd name="T6" fmla="*/ 18 w 22"/>
                  <a:gd name="T7" fmla="*/ 21 h 25"/>
                  <a:gd name="T8" fmla="*/ 15 w 22"/>
                  <a:gd name="T9" fmla="*/ 25 h 25"/>
                  <a:gd name="T10" fmla="*/ 11 w 22"/>
                  <a:gd name="T11" fmla="*/ 25 h 25"/>
                  <a:gd name="T12" fmla="*/ 7 w 22"/>
                  <a:gd name="T13" fmla="*/ 25 h 25"/>
                  <a:gd name="T14" fmla="*/ 3 w 22"/>
                  <a:gd name="T15" fmla="*/ 21 h 25"/>
                  <a:gd name="T16" fmla="*/ 0 w 22"/>
                  <a:gd name="T17" fmla="*/ 17 h 25"/>
                  <a:gd name="T18" fmla="*/ 0 w 22"/>
                  <a:gd name="T19" fmla="*/ 14 h 25"/>
                  <a:gd name="T20" fmla="*/ 0 w 22"/>
                  <a:gd name="T21" fmla="*/ 14 h 25"/>
                  <a:gd name="T22" fmla="*/ 0 w 22"/>
                  <a:gd name="T23" fmla="*/ 8 h 25"/>
                  <a:gd name="T24" fmla="*/ 3 w 22"/>
                  <a:gd name="T25" fmla="*/ 4 h 25"/>
                  <a:gd name="T26" fmla="*/ 7 w 22"/>
                  <a:gd name="T27" fmla="*/ 2 h 25"/>
                  <a:gd name="T28" fmla="*/ 11 w 22"/>
                  <a:gd name="T29" fmla="*/ 0 h 25"/>
                  <a:gd name="T30" fmla="*/ 15 w 22"/>
                  <a:gd name="T31" fmla="*/ 2 h 25"/>
                  <a:gd name="T32" fmla="*/ 18 w 22"/>
                  <a:gd name="T33" fmla="*/ 4 h 25"/>
                  <a:gd name="T34" fmla="*/ 22 w 22"/>
                  <a:gd name="T35" fmla="*/ 8 h 25"/>
                  <a:gd name="T36" fmla="*/ 22 w 22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5">
                    <a:moveTo>
                      <a:pt x="22" y="14"/>
                    </a:moveTo>
                    <a:lnTo>
                      <a:pt x="22" y="14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5"/>
                    </a:lnTo>
                    <a:lnTo>
                      <a:pt x="11" y="25"/>
                    </a:lnTo>
                    <a:lnTo>
                      <a:pt x="7" y="25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2" y="14"/>
                    </a:lnTo>
                    <a:close/>
                  </a:path>
                </a:pathLst>
              </a:custGeom>
              <a:solidFill>
                <a:srgbClr val="3664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06" name="Freeform 213">
                <a:extLst>
                  <a:ext uri="{FF2B5EF4-FFF2-40B4-BE49-F238E27FC236}">
                    <a16:creationId xmlns:a16="http://schemas.microsoft.com/office/drawing/2014/main" id="{0AEB4E91-6670-31DC-4A5C-7AE084DEE0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1082"/>
                <a:ext cx="22" cy="25"/>
              </a:xfrm>
              <a:custGeom>
                <a:avLst/>
                <a:gdLst>
                  <a:gd name="T0" fmla="*/ 22 w 22"/>
                  <a:gd name="T1" fmla="*/ 14 h 25"/>
                  <a:gd name="T2" fmla="*/ 22 w 22"/>
                  <a:gd name="T3" fmla="*/ 14 h 25"/>
                  <a:gd name="T4" fmla="*/ 22 w 22"/>
                  <a:gd name="T5" fmla="*/ 17 h 25"/>
                  <a:gd name="T6" fmla="*/ 18 w 22"/>
                  <a:gd name="T7" fmla="*/ 21 h 25"/>
                  <a:gd name="T8" fmla="*/ 15 w 22"/>
                  <a:gd name="T9" fmla="*/ 25 h 25"/>
                  <a:gd name="T10" fmla="*/ 11 w 22"/>
                  <a:gd name="T11" fmla="*/ 25 h 25"/>
                  <a:gd name="T12" fmla="*/ 7 w 22"/>
                  <a:gd name="T13" fmla="*/ 25 h 25"/>
                  <a:gd name="T14" fmla="*/ 3 w 22"/>
                  <a:gd name="T15" fmla="*/ 21 h 25"/>
                  <a:gd name="T16" fmla="*/ 0 w 22"/>
                  <a:gd name="T17" fmla="*/ 17 h 25"/>
                  <a:gd name="T18" fmla="*/ 0 w 22"/>
                  <a:gd name="T19" fmla="*/ 14 h 25"/>
                  <a:gd name="T20" fmla="*/ 0 w 22"/>
                  <a:gd name="T21" fmla="*/ 14 h 25"/>
                  <a:gd name="T22" fmla="*/ 0 w 22"/>
                  <a:gd name="T23" fmla="*/ 8 h 25"/>
                  <a:gd name="T24" fmla="*/ 3 w 22"/>
                  <a:gd name="T25" fmla="*/ 4 h 25"/>
                  <a:gd name="T26" fmla="*/ 7 w 22"/>
                  <a:gd name="T27" fmla="*/ 2 h 25"/>
                  <a:gd name="T28" fmla="*/ 11 w 22"/>
                  <a:gd name="T29" fmla="*/ 0 h 25"/>
                  <a:gd name="T30" fmla="*/ 15 w 22"/>
                  <a:gd name="T31" fmla="*/ 2 h 25"/>
                  <a:gd name="T32" fmla="*/ 18 w 22"/>
                  <a:gd name="T33" fmla="*/ 4 h 25"/>
                  <a:gd name="T34" fmla="*/ 22 w 22"/>
                  <a:gd name="T35" fmla="*/ 8 h 25"/>
                  <a:gd name="T36" fmla="*/ 22 w 22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5">
                    <a:moveTo>
                      <a:pt x="22" y="14"/>
                    </a:moveTo>
                    <a:lnTo>
                      <a:pt x="22" y="14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5"/>
                    </a:lnTo>
                    <a:lnTo>
                      <a:pt x="11" y="25"/>
                    </a:lnTo>
                    <a:lnTo>
                      <a:pt x="7" y="25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2" y="14"/>
                    </a:lnTo>
                  </a:path>
                </a:pathLst>
              </a:custGeom>
              <a:noFill/>
              <a:ln w="9525">
                <a:solidFill>
                  <a:srgbClr val="36648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07" name="Freeform 214">
                <a:extLst>
                  <a:ext uri="{FF2B5EF4-FFF2-40B4-BE49-F238E27FC236}">
                    <a16:creationId xmlns:a16="http://schemas.microsoft.com/office/drawing/2014/main" id="{4B786D7E-BF1B-7EB7-13F3-F05C2F8037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917"/>
                <a:ext cx="23" cy="24"/>
              </a:xfrm>
              <a:custGeom>
                <a:avLst/>
                <a:gdLst>
                  <a:gd name="T0" fmla="*/ 23 w 23"/>
                  <a:gd name="T1" fmla="*/ 13 h 24"/>
                  <a:gd name="T2" fmla="*/ 23 w 23"/>
                  <a:gd name="T3" fmla="*/ 13 h 24"/>
                  <a:gd name="T4" fmla="*/ 23 w 23"/>
                  <a:gd name="T5" fmla="*/ 17 h 24"/>
                  <a:gd name="T6" fmla="*/ 19 w 23"/>
                  <a:gd name="T7" fmla="*/ 21 h 24"/>
                  <a:gd name="T8" fmla="*/ 15 w 23"/>
                  <a:gd name="T9" fmla="*/ 24 h 24"/>
                  <a:gd name="T10" fmla="*/ 12 w 23"/>
                  <a:gd name="T11" fmla="*/ 24 h 24"/>
                  <a:gd name="T12" fmla="*/ 8 w 23"/>
                  <a:gd name="T13" fmla="*/ 24 h 24"/>
                  <a:gd name="T14" fmla="*/ 4 w 23"/>
                  <a:gd name="T15" fmla="*/ 21 h 24"/>
                  <a:gd name="T16" fmla="*/ 0 w 23"/>
                  <a:gd name="T17" fmla="*/ 17 h 24"/>
                  <a:gd name="T18" fmla="*/ 0 w 23"/>
                  <a:gd name="T19" fmla="*/ 13 h 24"/>
                  <a:gd name="T20" fmla="*/ 0 w 23"/>
                  <a:gd name="T21" fmla="*/ 13 h 24"/>
                  <a:gd name="T22" fmla="*/ 0 w 23"/>
                  <a:gd name="T23" fmla="*/ 8 h 24"/>
                  <a:gd name="T24" fmla="*/ 4 w 23"/>
                  <a:gd name="T25" fmla="*/ 4 h 24"/>
                  <a:gd name="T26" fmla="*/ 8 w 23"/>
                  <a:gd name="T27" fmla="*/ 2 h 24"/>
                  <a:gd name="T28" fmla="*/ 12 w 23"/>
                  <a:gd name="T29" fmla="*/ 0 h 24"/>
                  <a:gd name="T30" fmla="*/ 15 w 23"/>
                  <a:gd name="T31" fmla="*/ 2 h 24"/>
                  <a:gd name="T32" fmla="*/ 19 w 23"/>
                  <a:gd name="T33" fmla="*/ 4 h 24"/>
                  <a:gd name="T34" fmla="*/ 23 w 23"/>
                  <a:gd name="T35" fmla="*/ 8 h 24"/>
                  <a:gd name="T36" fmla="*/ 23 w 23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3"/>
                    </a:move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3"/>
                    </a:lnTo>
                    <a:close/>
                  </a:path>
                </a:pathLst>
              </a:custGeom>
              <a:solidFill>
                <a:srgbClr val="3664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08" name="Freeform 215">
                <a:extLst>
                  <a:ext uri="{FF2B5EF4-FFF2-40B4-BE49-F238E27FC236}">
                    <a16:creationId xmlns:a16="http://schemas.microsoft.com/office/drawing/2014/main" id="{4E04954F-86D8-1526-1D56-E5E8EEFBDC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917"/>
                <a:ext cx="23" cy="24"/>
              </a:xfrm>
              <a:custGeom>
                <a:avLst/>
                <a:gdLst>
                  <a:gd name="T0" fmla="*/ 23 w 23"/>
                  <a:gd name="T1" fmla="*/ 13 h 24"/>
                  <a:gd name="T2" fmla="*/ 23 w 23"/>
                  <a:gd name="T3" fmla="*/ 13 h 24"/>
                  <a:gd name="T4" fmla="*/ 23 w 23"/>
                  <a:gd name="T5" fmla="*/ 17 h 24"/>
                  <a:gd name="T6" fmla="*/ 19 w 23"/>
                  <a:gd name="T7" fmla="*/ 21 h 24"/>
                  <a:gd name="T8" fmla="*/ 15 w 23"/>
                  <a:gd name="T9" fmla="*/ 24 h 24"/>
                  <a:gd name="T10" fmla="*/ 12 w 23"/>
                  <a:gd name="T11" fmla="*/ 24 h 24"/>
                  <a:gd name="T12" fmla="*/ 8 w 23"/>
                  <a:gd name="T13" fmla="*/ 24 h 24"/>
                  <a:gd name="T14" fmla="*/ 4 w 23"/>
                  <a:gd name="T15" fmla="*/ 21 h 24"/>
                  <a:gd name="T16" fmla="*/ 0 w 23"/>
                  <a:gd name="T17" fmla="*/ 17 h 24"/>
                  <a:gd name="T18" fmla="*/ 0 w 23"/>
                  <a:gd name="T19" fmla="*/ 13 h 24"/>
                  <a:gd name="T20" fmla="*/ 0 w 23"/>
                  <a:gd name="T21" fmla="*/ 13 h 24"/>
                  <a:gd name="T22" fmla="*/ 0 w 23"/>
                  <a:gd name="T23" fmla="*/ 8 h 24"/>
                  <a:gd name="T24" fmla="*/ 4 w 23"/>
                  <a:gd name="T25" fmla="*/ 4 h 24"/>
                  <a:gd name="T26" fmla="*/ 8 w 23"/>
                  <a:gd name="T27" fmla="*/ 2 h 24"/>
                  <a:gd name="T28" fmla="*/ 12 w 23"/>
                  <a:gd name="T29" fmla="*/ 0 h 24"/>
                  <a:gd name="T30" fmla="*/ 15 w 23"/>
                  <a:gd name="T31" fmla="*/ 2 h 24"/>
                  <a:gd name="T32" fmla="*/ 19 w 23"/>
                  <a:gd name="T33" fmla="*/ 4 h 24"/>
                  <a:gd name="T34" fmla="*/ 23 w 23"/>
                  <a:gd name="T35" fmla="*/ 8 h 24"/>
                  <a:gd name="T36" fmla="*/ 23 w 23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3"/>
                    </a:move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3"/>
                    </a:lnTo>
                  </a:path>
                </a:pathLst>
              </a:custGeom>
              <a:noFill/>
              <a:ln w="9525">
                <a:solidFill>
                  <a:srgbClr val="36648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09" name="Freeform 216">
                <a:extLst>
                  <a:ext uri="{FF2B5EF4-FFF2-40B4-BE49-F238E27FC236}">
                    <a16:creationId xmlns:a16="http://schemas.microsoft.com/office/drawing/2014/main" id="{F52A7701-0CF0-8E7C-0DB3-3A5F24FEDF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1171"/>
                <a:ext cx="23" cy="24"/>
              </a:xfrm>
              <a:custGeom>
                <a:avLst/>
                <a:gdLst>
                  <a:gd name="T0" fmla="*/ 23 w 23"/>
                  <a:gd name="T1" fmla="*/ 13 h 24"/>
                  <a:gd name="T2" fmla="*/ 23 w 23"/>
                  <a:gd name="T3" fmla="*/ 13 h 24"/>
                  <a:gd name="T4" fmla="*/ 21 w 23"/>
                  <a:gd name="T5" fmla="*/ 17 h 24"/>
                  <a:gd name="T6" fmla="*/ 19 w 23"/>
                  <a:gd name="T7" fmla="*/ 21 h 24"/>
                  <a:gd name="T8" fmla="*/ 15 w 23"/>
                  <a:gd name="T9" fmla="*/ 22 h 24"/>
                  <a:gd name="T10" fmla="*/ 11 w 23"/>
                  <a:gd name="T11" fmla="*/ 24 h 24"/>
                  <a:gd name="T12" fmla="*/ 6 w 23"/>
                  <a:gd name="T13" fmla="*/ 22 h 24"/>
                  <a:gd name="T14" fmla="*/ 2 w 23"/>
                  <a:gd name="T15" fmla="*/ 21 h 24"/>
                  <a:gd name="T16" fmla="*/ 0 w 23"/>
                  <a:gd name="T17" fmla="*/ 17 h 24"/>
                  <a:gd name="T18" fmla="*/ 0 w 23"/>
                  <a:gd name="T19" fmla="*/ 13 h 24"/>
                  <a:gd name="T20" fmla="*/ 0 w 23"/>
                  <a:gd name="T21" fmla="*/ 13 h 24"/>
                  <a:gd name="T22" fmla="*/ 0 w 23"/>
                  <a:gd name="T23" fmla="*/ 7 h 24"/>
                  <a:gd name="T24" fmla="*/ 2 w 23"/>
                  <a:gd name="T25" fmla="*/ 4 h 24"/>
                  <a:gd name="T26" fmla="*/ 6 w 23"/>
                  <a:gd name="T27" fmla="*/ 2 h 24"/>
                  <a:gd name="T28" fmla="*/ 11 w 23"/>
                  <a:gd name="T29" fmla="*/ 0 h 24"/>
                  <a:gd name="T30" fmla="*/ 15 w 23"/>
                  <a:gd name="T31" fmla="*/ 2 h 24"/>
                  <a:gd name="T32" fmla="*/ 19 w 23"/>
                  <a:gd name="T33" fmla="*/ 4 h 24"/>
                  <a:gd name="T34" fmla="*/ 21 w 23"/>
                  <a:gd name="T35" fmla="*/ 7 h 24"/>
                  <a:gd name="T36" fmla="*/ 23 w 23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3"/>
                    </a:moveTo>
                    <a:lnTo>
                      <a:pt x="23" y="13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6" y="22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1" y="7"/>
                    </a:lnTo>
                    <a:lnTo>
                      <a:pt x="23" y="13"/>
                    </a:lnTo>
                    <a:close/>
                  </a:path>
                </a:pathLst>
              </a:custGeom>
              <a:solidFill>
                <a:srgbClr val="3664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10" name="Freeform 217">
                <a:extLst>
                  <a:ext uri="{FF2B5EF4-FFF2-40B4-BE49-F238E27FC236}">
                    <a16:creationId xmlns:a16="http://schemas.microsoft.com/office/drawing/2014/main" id="{2ABD0246-DD7C-62D7-DD97-C82134BFC8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1171"/>
                <a:ext cx="23" cy="24"/>
              </a:xfrm>
              <a:custGeom>
                <a:avLst/>
                <a:gdLst>
                  <a:gd name="T0" fmla="*/ 23 w 23"/>
                  <a:gd name="T1" fmla="*/ 13 h 24"/>
                  <a:gd name="T2" fmla="*/ 23 w 23"/>
                  <a:gd name="T3" fmla="*/ 13 h 24"/>
                  <a:gd name="T4" fmla="*/ 21 w 23"/>
                  <a:gd name="T5" fmla="*/ 17 h 24"/>
                  <a:gd name="T6" fmla="*/ 19 w 23"/>
                  <a:gd name="T7" fmla="*/ 21 h 24"/>
                  <a:gd name="T8" fmla="*/ 15 w 23"/>
                  <a:gd name="T9" fmla="*/ 22 h 24"/>
                  <a:gd name="T10" fmla="*/ 11 w 23"/>
                  <a:gd name="T11" fmla="*/ 24 h 24"/>
                  <a:gd name="T12" fmla="*/ 6 w 23"/>
                  <a:gd name="T13" fmla="*/ 22 h 24"/>
                  <a:gd name="T14" fmla="*/ 2 w 23"/>
                  <a:gd name="T15" fmla="*/ 21 h 24"/>
                  <a:gd name="T16" fmla="*/ 0 w 23"/>
                  <a:gd name="T17" fmla="*/ 17 h 24"/>
                  <a:gd name="T18" fmla="*/ 0 w 23"/>
                  <a:gd name="T19" fmla="*/ 13 h 24"/>
                  <a:gd name="T20" fmla="*/ 0 w 23"/>
                  <a:gd name="T21" fmla="*/ 13 h 24"/>
                  <a:gd name="T22" fmla="*/ 0 w 23"/>
                  <a:gd name="T23" fmla="*/ 7 h 24"/>
                  <a:gd name="T24" fmla="*/ 2 w 23"/>
                  <a:gd name="T25" fmla="*/ 4 h 24"/>
                  <a:gd name="T26" fmla="*/ 6 w 23"/>
                  <a:gd name="T27" fmla="*/ 2 h 24"/>
                  <a:gd name="T28" fmla="*/ 11 w 23"/>
                  <a:gd name="T29" fmla="*/ 0 h 24"/>
                  <a:gd name="T30" fmla="*/ 15 w 23"/>
                  <a:gd name="T31" fmla="*/ 2 h 24"/>
                  <a:gd name="T32" fmla="*/ 19 w 23"/>
                  <a:gd name="T33" fmla="*/ 4 h 24"/>
                  <a:gd name="T34" fmla="*/ 21 w 23"/>
                  <a:gd name="T35" fmla="*/ 7 h 24"/>
                  <a:gd name="T36" fmla="*/ 23 w 23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3"/>
                    </a:moveTo>
                    <a:lnTo>
                      <a:pt x="23" y="13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6" y="22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1" y="7"/>
                    </a:lnTo>
                    <a:lnTo>
                      <a:pt x="23" y="13"/>
                    </a:lnTo>
                  </a:path>
                </a:pathLst>
              </a:custGeom>
              <a:noFill/>
              <a:ln w="9525">
                <a:solidFill>
                  <a:srgbClr val="36648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11" name="Freeform 218">
                <a:extLst>
                  <a:ext uri="{FF2B5EF4-FFF2-40B4-BE49-F238E27FC236}">
                    <a16:creationId xmlns:a16="http://schemas.microsoft.com/office/drawing/2014/main" id="{C520EFA4-5966-4A14-0CA1-D2AD084C9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" y="1160"/>
                <a:ext cx="25" cy="22"/>
              </a:xfrm>
              <a:custGeom>
                <a:avLst/>
                <a:gdLst>
                  <a:gd name="T0" fmla="*/ 25 w 25"/>
                  <a:gd name="T1" fmla="*/ 11 h 22"/>
                  <a:gd name="T2" fmla="*/ 25 w 25"/>
                  <a:gd name="T3" fmla="*/ 11 h 22"/>
                  <a:gd name="T4" fmla="*/ 23 w 25"/>
                  <a:gd name="T5" fmla="*/ 16 h 22"/>
                  <a:gd name="T6" fmla="*/ 21 w 25"/>
                  <a:gd name="T7" fmla="*/ 20 h 22"/>
                  <a:gd name="T8" fmla="*/ 17 w 25"/>
                  <a:gd name="T9" fmla="*/ 22 h 22"/>
                  <a:gd name="T10" fmla="*/ 13 w 25"/>
                  <a:gd name="T11" fmla="*/ 22 h 22"/>
                  <a:gd name="T12" fmla="*/ 8 w 25"/>
                  <a:gd name="T13" fmla="*/ 22 h 22"/>
                  <a:gd name="T14" fmla="*/ 4 w 25"/>
                  <a:gd name="T15" fmla="*/ 20 h 22"/>
                  <a:gd name="T16" fmla="*/ 2 w 25"/>
                  <a:gd name="T17" fmla="*/ 16 h 22"/>
                  <a:gd name="T18" fmla="*/ 0 w 25"/>
                  <a:gd name="T19" fmla="*/ 11 h 22"/>
                  <a:gd name="T20" fmla="*/ 0 w 25"/>
                  <a:gd name="T21" fmla="*/ 11 h 22"/>
                  <a:gd name="T22" fmla="*/ 2 w 25"/>
                  <a:gd name="T23" fmla="*/ 5 h 22"/>
                  <a:gd name="T24" fmla="*/ 4 w 25"/>
                  <a:gd name="T25" fmla="*/ 1 h 22"/>
                  <a:gd name="T26" fmla="*/ 8 w 25"/>
                  <a:gd name="T27" fmla="*/ 0 h 22"/>
                  <a:gd name="T28" fmla="*/ 13 w 25"/>
                  <a:gd name="T29" fmla="*/ 0 h 22"/>
                  <a:gd name="T30" fmla="*/ 17 w 25"/>
                  <a:gd name="T31" fmla="*/ 0 h 22"/>
                  <a:gd name="T32" fmla="*/ 21 w 25"/>
                  <a:gd name="T33" fmla="*/ 1 h 22"/>
                  <a:gd name="T34" fmla="*/ 23 w 25"/>
                  <a:gd name="T35" fmla="*/ 5 h 22"/>
                  <a:gd name="T36" fmla="*/ 25 w 25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2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6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3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3" y="5"/>
                    </a:lnTo>
                    <a:lnTo>
                      <a:pt x="25" y="11"/>
                    </a:lnTo>
                    <a:close/>
                  </a:path>
                </a:pathLst>
              </a:custGeom>
              <a:solidFill>
                <a:srgbClr val="3664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12" name="Freeform 219">
                <a:extLst>
                  <a:ext uri="{FF2B5EF4-FFF2-40B4-BE49-F238E27FC236}">
                    <a16:creationId xmlns:a16="http://schemas.microsoft.com/office/drawing/2014/main" id="{D96ECF42-FA7D-9BB4-4D8A-E2F600F8FB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" y="1160"/>
                <a:ext cx="25" cy="22"/>
              </a:xfrm>
              <a:custGeom>
                <a:avLst/>
                <a:gdLst>
                  <a:gd name="T0" fmla="*/ 25 w 25"/>
                  <a:gd name="T1" fmla="*/ 11 h 22"/>
                  <a:gd name="T2" fmla="*/ 25 w 25"/>
                  <a:gd name="T3" fmla="*/ 11 h 22"/>
                  <a:gd name="T4" fmla="*/ 23 w 25"/>
                  <a:gd name="T5" fmla="*/ 16 h 22"/>
                  <a:gd name="T6" fmla="*/ 21 w 25"/>
                  <a:gd name="T7" fmla="*/ 20 h 22"/>
                  <a:gd name="T8" fmla="*/ 17 w 25"/>
                  <a:gd name="T9" fmla="*/ 22 h 22"/>
                  <a:gd name="T10" fmla="*/ 13 w 25"/>
                  <a:gd name="T11" fmla="*/ 22 h 22"/>
                  <a:gd name="T12" fmla="*/ 8 w 25"/>
                  <a:gd name="T13" fmla="*/ 22 h 22"/>
                  <a:gd name="T14" fmla="*/ 4 w 25"/>
                  <a:gd name="T15" fmla="*/ 20 h 22"/>
                  <a:gd name="T16" fmla="*/ 2 w 25"/>
                  <a:gd name="T17" fmla="*/ 16 h 22"/>
                  <a:gd name="T18" fmla="*/ 0 w 25"/>
                  <a:gd name="T19" fmla="*/ 11 h 22"/>
                  <a:gd name="T20" fmla="*/ 0 w 25"/>
                  <a:gd name="T21" fmla="*/ 11 h 22"/>
                  <a:gd name="T22" fmla="*/ 2 w 25"/>
                  <a:gd name="T23" fmla="*/ 5 h 22"/>
                  <a:gd name="T24" fmla="*/ 4 w 25"/>
                  <a:gd name="T25" fmla="*/ 1 h 22"/>
                  <a:gd name="T26" fmla="*/ 8 w 25"/>
                  <a:gd name="T27" fmla="*/ 0 h 22"/>
                  <a:gd name="T28" fmla="*/ 13 w 25"/>
                  <a:gd name="T29" fmla="*/ 0 h 22"/>
                  <a:gd name="T30" fmla="*/ 17 w 25"/>
                  <a:gd name="T31" fmla="*/ 0 h 22"/>
                  <a:gd name="T32" fmla="*/ 21 w 25"/>
                  <a:gd name="T33" fmla="*/ 1 h 22"/>
                  <a:gd name="T34" fmla="*/ 23 w 25"/>
                  <a:gd name="T35" fmla="*/ 5 h 22"/>
                  <a:gd name="T36" fmla="*/ 25 w 25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2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6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3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3" y="5"/>
                    </a:lnTo>
                    <a:lnTo>
                      <a:pt x="25" y="11"/>
                    </a:lnTo>
                  </a:path>
                </a:pathLst>
              </a:custGeom>
              <a:noFill/>
              <a:ln w="9525">
                <a:solidFill>
                  <a:srgbClr val="36648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13" name="Freeform 220">
                <a:extLst>
                  <a:ext uri="{FF2B5EF4-FFF2-40B4-BE49-F238E27FC236}">
                    <a16:creationId xmlns:a16="http://schemas.microsoft.com/office/drawing/2014/main" id="{1F7AF093-3739-F434-56CD-3BA046950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1160"/>
                <a:ext cx="24" cy="22"/>
              </a:xfrm>
              <a:custGeom>
                <a:avLst/>
                <a:gdLst>
                  <a:gd name="T0" fmla="*/ 24 w 24"/>
                  <a:gd name="T1" fmla="*/ 11 h 22"/>
                  <a:gd name="T2" fmla="*/ 24 w 24"/>
                  <a:gd name="T3" fmla="*/ 11 h 22"/>
                  <a:gd name="T4" fmla="*/ 22 w 24"/>
                  <a:gd name="T5" fmla="*/ 16 h 22"/>
                  <a:gd name="T6" fmla="*/ 21 w 24"/>
                  <a:gd name="T7" fmla="*/ 20 h 22"/>
                  <a:gd name="T8" fmla="*/ 17 w 24"/>
                  <a:gd name="T9" fmla="*/ 22 h 22"/>
                  <a:gd name="T10" fmla="*/ 11 w 24"/>
                  <a:gd name="T11" fmla="*/ 22 h 22"/>
                  <a:gd name="T12" fmla="*/ 7 w 24"/>
                  <a:gd name="T13" fmla="*/ 22 h 22"/>
                  <a:gd name="T14" fmla="*/ 4 w 24"/>
                  <a:gd name="T15" fmla="*/ 20 h 22"/>
                  <a:gd name="T16" fmla="*/ 2 w 24"/>
                  <a:gd name="T17" fmla="*/ 16 h 22"/>
                  <a:gd name="T18" fmla="*/ 0 w 24"/>
                  <a:gd name="T19" fmla="*/ 11 h 22"/>
                  <a:gd name="T20" fmla="*/ 0 w 24"/>
                  <a:gd name="T21" fmla="*/ 11 h 22"/>
                  <a:gd name="T22" fmla="*/ 2 w 24"/>
                  <a:gd name="T23" fmla="*/ 5 h 22"/>
                  <a:gd name="T24" fmla="*/ 4 w 24"/>
                  <a:gd name="T25" fmla="*/ 1 h 22"/>
                  <a:gd name="T26" fmla="*/ 7 w 24"/>
                  <a:gd name="T27" fmla="*/ 0 h 22"/>
                  <a:gd name="T28" fmla="*/ 11 w 24"/>
                  <a:gd name="T29" fmla="*/ 0 h 22"/>
                  <a:gd name="T30" fmla="*/ 17 w 24"/>
                  <a:gd name="T31" fmla="*/ 0 h 22"/>
                  <a:gd name="T32" fmla="*/ 21 w 24"/>
                  <a:gd name="T33" fmla="*/ 1 h 22"/>
                  <a:gd name="T34" fmla="*/ 22 w 24"/>
                  <a:gd name="T35" fmla="*/ 5 h 22"/>
                  <a:gd name="T36" fmla="*/ 24 w 24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2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6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7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2" y="5"/>
                    </a:lnTo>
                    <a:lnTo>
                      <a:pt x="24" y="11"/>
                    </a:lnTo>
                    <a:close/>
                  </a:path>
                </a:pathLst>
              </a:custGeom>
              <a:solidFill>
                <a:srgbClr val="3664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14" name="Freeform 221">
                <a:extLst>
                  <a:ext uri="{FF2B5EF4-FFF2-40B4-BE49-F238E27FC236}">
                    <a16:creationId xmlns:a16="http://schemas.microsoft.com/office/drawing/2014/main" id="{293FE559-C9E8-BBB8-C84E-C6F6741078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1160"/>
                <a:ext cx="24" cy="22"/>
              </a:xfrm>
              <a:custGeom>
                <a:avLst/>
                <a:gdLst>
                  <a:gd name="T0" fmla="*/ 24 w 24"/>
                  <a:gd name="T1" fmla="*/ 11 h 22"/>
                  <a:gd name="T2" fmla="*/ 24 w 24"/>
                  <a:gd name="T3" fmla="*/ 11 h 22"/>
                  <a:gd name="T4" fmla="*/ 22 w 24"/>
                  <a:gd name="T5" fmla="*/ 16 h 22"/>
                  <a:gd name="T6" fmla="*/ 21 w 24"/>
                  <a:gd name="T7" fmla="*/ 20 h 22"/>
                  <a:gd name="T8" fmla="*/ 17 w 24"/>
                  <a:gd name="T9" fmla="*/ 22 h 22"/>
                  <a:gd name="T10" fmla="*/ 11 w 24"/>
                  <a:gd name="T11" fmla="*/ 22 h 22"/>
                  <a:gd name="T12" fmla="*/ 7 w 24"/>
                  <a:gd name="T13" fmla="*/ 22 h 22"/>
                  <a:gd name="T14" fmla="*/ 4 w 24"/>
                  <a:gd name="T15" fmla="*/ 20 h 22"/>
                  <a:gd name="T16" fmla="*/ 2 w 24"/>
                  <a:gd name="T17" fmla="*/ 16 h 22"/>
                  <a:gd name="T18" fmla="*/ 0 w 24"/>
                  <a:gd name="T19" fmla="*/ 11 h 22"/>
                  <a:gd name="T20" fmla="*/ 0 w 24"/>
                  <a:gd name="T21" fmla="*/ 11 h 22"/>
                  <a:gd name="T22" fmla="*/ 2 w 24"/>
                  <a:gd name="T23" fmla="*/ 5 h 22"/>
                  <a:gd name="T24" fmla="*/ 4 w 24"/>
                  <a:gd name="T25" fmla="*/ 1 h 22"/>
                  <a:gd name="T26" fmla="*/ 7 w 24"/>
                  <a:gd name="T27" fmla="*/ 0 h 22"/>
                  <a:gd name="T28" fmla="*/ 11 w 24"/>
                  <a:gd name="T29" fmla="*/ 0 h 22"/>
                  <a:gd name="T30" fmla="*/ 17 w 24"/>
                  <a:gd name="T31" fmla="*/ 0 h 22"/>
                  <a:gd name="T32" fmla="*/ 21 w 24"/>
                  <a:gd name="T33" fmla="*/ 1 h 22"/>
                  <a:gd name="T34" fmla="*/ 22 w 24"/>
                  <a:gd name="T35" fmla="*/ 5 h 22"/>
                  <a:gd name="T36" fmla="*/ 24 w 24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2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6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7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2" y="5"/>
                    </a:lnTo>
                    <a:lnTo>
                      <a:pt x="24" y="11"/>
                    </a:lnTo>
                  </a:path>
                </a:pathLst>
              </a:custGeom>
              <a:noFill/>
              <a:ln w="9525">
                <a:solidFill>
                  <a:srgbClr val="36648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15" name="Freeform 222">
                <a:extLst>
                  <a:ext uri="{FF2B5EF4-FFF2-40B4-BE49-F238E27FC236}">
                    <a16:creationId xmlns:a16="http://schemas.microsoft.com/office/drawing/2014/main" id="{787D5105-D142-7E3E-A50B-A277FBF558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" y="1133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0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3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8 h 23"/>
                  <a:gd name="T24" fmla="*/ 3 w 24"/>
                  <a:gd name="T25" fmla="*/ 4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0 w 24"/>
                  <a:gd name="T33" fmla="*/ 4 h 23"/>
                  <a:gd name="T34" fmla="*/ 22 w 24"/>
                  <a:gd name="T35" fmla="*/ 8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3" y="4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4"/>
                    </a:lnTo>
                    <a:lnTo>
                      <a:pt x="22" y="8"/>
                    </a:lnTo>
                    <a:lnTo>
                      <a:pt x="24" y="12"/>
                    </a:lnTo>
                    <a:close/>
                  </a:path>
                </a:pathLst>
              </a:custGeom>
              <a:solidFill>
                <a:srgbClr val="3664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16" name="Freeform 223">
                <a:extLst>
                  <a:ext uri="{FF2B5EF4-FFF2-40B4-BE49-F238E27FC236}">
                    <a16:creationId xmlns:a16="http://schemas.microsoft.com/office/drawing/2014/main" id="{44ADE44F-2424-6920-6A66-E8996D1534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" y="1133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0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3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8 h 23"/>
                  <a:gd name="T24" fmla="*/ 3 w 24"/>
                  <a:gd name="T25" fmla="*/ 4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0 w 24"/>
                  <a:gd name="T33" fmla="*/ 4 h 23"/>
                  <a:gd name="T34" fmla="*/ 22 w 24"/>
                  <a:gd name="T35" fmla="*/ 8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3" y="4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4"/>
                    </a:lnTo>
                    <a:lnTo>
                      <a:pt x="22" y="8"/>
                    </a:lnTo>
                    <a:lnTo>
                      <a:pt x="24" y="12"/>
                    </a:lnTo>
                  </a:path>
                </a:pathLst>
              </a:custGeom>
              <a:noFill/>
              <a:ln w="9525">
                <a:solidFill>
                  <a:srgbClr val="36648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17" name="Freeform 224">
                <a:extLst>
                  <a:ext uri="{FF2B5EF4-FFF2-40B4-BE49-F238E27FC236}">
                    <a16:creationId xmlns:a16="http://schemas.microsoft.com/office/drawing/2014/main" id="{A97EC047-C542-7A9E-6666-695B779BDC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116"/>
                <a:ext cx="23" cy="25"/>
              </a:xfrm>
              <a:custGeom>
                <a:avLst/>
                <a:gdLst>
                  <a:gd name="T0" fmla="*/ 23 w 23"/>
                  <a:gd name="T1" fmla="*/ 13 h 25"/>
                  <a:gd name="T2" fmla="*/ 23 w 23"/>
                  <a:gd name="T3" fmla="*/ 13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5 h 25"/>
                  <a:gd name="T10" fmla="*/ 11 w 23"/>
                  <a:gd name="T11" fmla="*/ 25 h 25"/>
                  <a:gd name="T12" fmla="*/ 8 w 23"/>
                  <a:gd name="T13" fmla="*/ 25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3 h 25"/>
                  <a:gd name="T20" fmla="*/ 0 w 23"/>
                  <a:gd name="T21" fmla="*/ 13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1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3"/>
                    </a:move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5"/>
                    </a:lnTo>
                    <a:lnTo>
                      <a:pt x="11" y="25"/>
                    </a:lnTo>
                    <a:lnTo>
                      <a:pt x="8" y="25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3"/>
                    </a:lnTo>
                    <a:close/>
                  </a:path>
                </a:pathLst>
              </a:custGeom>
              <a:solidFill>
                <a:srgbClr val="3664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18" name="Freeform 225">
                <a:extLst>
                  <a:ext uri="{FF2B5EF4-FFF2-40B4-BE49-F238E27FC236}">
                    <a16:creationId xmlns:a16="http://schemas.microsoft.com/office/drawing/2014/main" id="{57DD40DA-A407-ADF8-D0BC-E5A7B6F6A5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116"/>
                <a:ext cx="23" cy="25"/>
              </a:xfrm>
              <a:custGeom>
                <a:avLst/>
                <a:gdLst>
                  <a:gd name="T0" fmla="*/ 23 w 23"/>
                  <a:gd name="T1" fmla="*/ 13 h 25"/>
                  <a:gd name="T2" fmla="*/ 23 w 23"/>
                  <a:gd name="T3" fmla="*/ 13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5 h 25"/>
                  <a:gd name="T10" fmla="*/ 11 w 23"/>
                  <a:gd name="T11" fmla="*/ 25 h 25"/>
                  <a:gd name="T12" fmla="*/ 8 w 23"/>
                  <a:gd name="T13" fmla="*/ 25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3 h 25"/>
                  <a:gd name="T20" fmla="*/ 0 w 23"/>
                  <a:gd name="T21" fmla="*/ 13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1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3"/>
                    </a:move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5"/>
                    </a:lnTo>
                    <a:lnTo>
                      <a:pt x="11" y="25"/>
                    </a:lnTo>
                    <a:lnTo>
                      <a:pt x="8" y="25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3"/>
                    </a:lnTo>
                  </a:path>
                </a:pathLst>
              </a:custGeom>
              <a:noFill/>
              <a:ln w="9525">
                <a:solidFill>
                  <a:srgbClr val="36648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19" name="Freeform 226">
                <a:extLst>
                  <a:ext uri="{FF2B5EF4-FFF2-40B4-BE49-F238E27FC236}">
                    <a16:creationId xmlns:a16="http://schemas.microsoft.com/office/drawing/2014/main" id="{D734B595-9210-7FF3-C5B6-5CF0928F4B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5" y="1084"/>
                <a:ext cx="23" cy="25"/>
              </a:xfrm>
              <a:custGeom>
                <a:avLst/>
                <a:gdLst>
                  <a:gd name="T0" fmla="*/ 23 w 23"/>
                  <a:gd name="T1" fmla="*/ 14 h 25"/>
                  <a:gd name="T2" fmla="*/ 23 w 23"/>
                  <a:gd name="T3" fmla="*/ 14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2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4 h 25"/>
                  <a:gd name="T20" fmla="*/ 0 w 23"/>
                  <a:gd name="T21" fmla="*/ 14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2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4"/>
                    </a:moveTo>
                    <a:lnTo>
                      <a:pt x="23" y="14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  <a:close/>
                  </a:path>
                </a:pathLst>
              </a:custGeom>
              <a:solidFill>
                <a:srgbClr val="3664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20" name="Freeform 227">
                <a:extLst>
                  <a:ext uri="{FF2B5EF4-FFF2-40B4-BE49-F238E27FC236}">
                    <a16:creationId xmlns:a16="http://schemas.microsoft.com/office/drawing/2014/main" id="{CF794CEF-1E08-7FE0-8C20-DEEE588105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5" y="1084"/>
                <a:ext cx="23" cy="25"/>
              </a:xfrm>
              <a:custGeom>
                <a:avLst/>
                <a:gdLst>
                  <a:gd name="T0" fmla="*/ 23 w 23"/>
                  <a:gd name="T1" fmla="*/ 14 h 25"/>
                  <a:gd name="T2" fmla="*/ 23 w 23"/>
                  <a:gd name="T3" fmla="*/ 14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2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4 h 25"/>
                  <a:gd name="T20" fmla="*/ 0 w 23"/>
                  <a:gd name="T21" fmla="*/ 14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2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4"/>
                    </a:moveTo>
                    <a:lnTo>
                      <a:pt x="23" y="14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4"/>
                    </a:lnTo>
                  </a:path>
                </a:pathLst>
              </a:custGeom>
              <a:noFill/>
              <a:ln w="9525">
                <a:solidFill>
                  <a:srgbClr val="36648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21" name="Freeform 228">
                <a:extLst>
                  <a:ext uri="{FF2B5EF4-FFF2-40B4-BE49-F238E27FC236}">
                    <a16:creationId xmlns:a16="http://schemas.microsoft.com/office/drawing/2014/main" id="{203003C2-25BA-951A-7C5E-CB4DFF4D2F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2" y="1066"/>
                <a:ext cx="24" cy="24"/>
              </a:xfrm>
              <a:custGeom>
                <a:avLst/>
                <a:gdLst>
                  <a:gd name="T0" fmla="*/ 24 w 24"/>
                  <a:gd name="T1" fmla="*/ 11 h 24"/>
                  <a:gd name="T2" fmla="*/ 24 w 24"/>
                  <a:gd name="T3" fmla="*/ 11 h 24"/>
                  <a:gd name="T4" fmla="*/ 22 w 24"/>
                  <a:gd name="T5" fmla="*/ 16 h 24"/>
                  <a:gd name="T6" fmla="*/ 20 w 24"/>
                  <a:gd name="T7" fmla="*/ 20 h 24"/>
                  <a:gd name="T8" fmla="*/ 17 w 24"/>
                  <a:gd name="T9" fmla="*/ 22 h 24"/>
                  <a:gd name="T10" fmla="*/ 11 w 24"/>
                  <a:gd name="T11" fmla="*/ 24 h 24"/>
                  <a:gd name="T12" fmla="*/ 7 w 24"/>
                  <a:gd name="T13" fmla="*/ 22 h 24"/>
                  <a:gd name="T14" fmla="*/ 3 w 24"/>
                  <a:gd name="T15" fmla="*/ 20 h 24"/>
                  <a:gd name="T16" fmla="*/ 2 w 24"/>
                  <a:gd name="T17" fmla="*/ 16 h 24"/>
                  <a:gd name="T18" fmla="*/ 0 w 24"/>
                  <a:gd name="T19" fmla="*/ 11 h 24"/>
                  <a:gd name="T20" fmla="*/ 0 w 24"/>
                  <a:gd name="T21" fmla="*/ 11 h 24"/>
                  <a:gd name="T22" fmla="*/ 2 w 24"/>
                  <a:gd name="T23" fmla="*/ 7 h 24"/>
                  <a:gd name="T24" fmla="*/ 3 w 24"/>
                  <a:gd name="T25" fmla="*/ 3 h 24"/>
                  <a:gd name="T26" fmla="*/ 7 w 24"/>
                  <a:gd name="T27" fmla="*/ 1 h 24"/>
                  <a:gd name="T28" fmla="*/ 11 w 24"/>
                  <a:gd name="T29" fmla="*/ 0 h 24"/>
                  <a:gd name="T30" fmla="*/ 17 w 24"/>
                  <a:gd name="T31" fmla="*/ 1 h 24"/>
                  <a:gd name="T32" fmla="*/ 20 w 24"/>
                  <a:gd name="T33" fmla="*/ 3 h 24"/>
                  <a:gd name="T34" fmla="*/ 22 w 24"/>
                  <a:gd name="T35" fmla="*/ 7 h 24"/>
                  <a:gd name="T36" fmla="*/ 24 w 24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4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6"/>
                    </a:lnTo>
                    <a:lnTo>
                      <a:pt x="20" y="20"/>
                    </a:lnTo>
                    <a:lnTo>
                      <a:pt x="17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17" y="1"/>
                    </a:lnTo>
                    <a:lnTo>
                      <a:pt x="20" y="3"/>
                    </a:lnTo>
                    <a:lnTo>
                      <a:pt x="22" y="7"/>
                    </a:lnTo>
                    <a:lnTo>
                      <a:pt x="24" y="11"/>
                    </a:lnTo>
                    <a:close/>
                  </a:path>
                </a:pathLst>
              </a:custGeom>
              <a:solidFill>
                <a:srgbClr val="3664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22" name="Freeform 229">
                <a:extLst>
                  <a:ext uri="{FF2B5EF4-FFF2-40B4-BE49-F238E27FC236}">
                    <a16:creationId xmlns:a16="http://schemas.microsoft.com/office/drawing/2014/main" id="{79D6B2DA-68B7-A7B1-82DE-1D42107E55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2" y="1066"/>
                <a:ext cx="24" cy="24"/>
              </a:xfrm>
              <a:custGeom>
                <a:avLst/>
                <a:gdLst>
                  <a:gd name="T0" fmla="*/ 24 w 24"/>
                  <a:gd name="T1" fmla="*/ 11 h 24"/>
                  <a:gd name="T2" fmla="*/ 24 w 24"/>
                  <a:gd name="T3" fmla="*/ 11 h 24"/>
                  <a:gd name="T4" fmla="*/ 22 w 24"/>
                  <a:gd name="T5" fmla="*/ 16 h 24"/>
                  <a:gd name="T6" fmla="*/ 20 w 24"/>
                  <a:gd name="T7" fmla="*/ 20 h 24"/>
                  <a:gd name="T8" fmla="*/ 17 w 24"/>
                  <a:gd name="T9" fmla="*/ 22 h 24"/>
                  <a:gd name="T10" fmla="*/ 11 w 24"/>
                  <a:gd name="T11" fmla="*/ 24 h 24"/>
                  <a:gd name="T12" fmla="*/ 7 w 24"/>
                  <a:gd name="T13" fmla="*/ 22 h 24"/>
                  <a:gd name="T14" fmla="*/ 3 w 24"/>
                  <a:gd name="T15" fmla="*/ 20 h 24"/>
                  <a:gd name="T16" fmla="*/ 2 w 24"/>
                  <a:gd name="T17" fmla="*/ 16 h 24"/>
                  <a:gd name="T18" fmla="*/ 0 w 24"/>
                  <a:gd name="T19" fmla="*/ 11 h 24"/>
                  <a:gd name="T20" fmla="*/ 0 w 24"/>
                  <a:gd name="T21" fmla="*/ 11 h 24"/>
                  <a:gd name="T22" fmla="*/ 2 w 24"/>
                  <a:gd name="T23" fmla="*/ 7 h 24"/>
                  <a:gd name="T24" fmla="*/ 3 w 24"/>
                  <a:gd name="T25" fmla="*/ 3 h 24"/>
                  <a:gd name="T26" fmla="*/ 7 w 24"/>
                  <a:gd name="T27" fmla="*/ 1 h 24"/>
                  <a:gd name="T28" fmla="*/ 11 w 24"/>
                  <a:gd name="T29" fmla="*/ 0 h 24"/>
                  <a:gd name="T30" fmla="*/ 17 w 24"/>
                  <a:gd name="T31" fmla="*/ 1 h 24"/>
                  <a:gd name="T32" fmla="*/ 20 w 24"/>
                  <a:gd name="T33" fmla="*/ 3 h 24"/>
                  <a:gd name="T34" fmla="*/ 22 w 24"/>
                  <a:gd name="T35" fmla="*/ 7 h 24"/>
                  <a:gd name="T36" fmla="*/ 24 w 24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4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6"/>
                    </a:lnTo>
                    <a:lnTo>
                      <a:pt x="20" y="20"/>
                    </a:lnTo>
                    <a:lnTo>
                      <a:pt x="17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3" y="3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17" y="1"/>
                    </a:lnTo>
                    <a:lnTo>
                      <a:pt x="20" y="3"/>
                    </a:lnTo>
                    <a:lnTo>
                      <a:pt x="22" y="7"/>
                    </a:lnTo>
                    <a:lnTo>
                      <a:pt x="24" y="11"/>
                    </a:lnTo>
                  </a:path>
                </a:pathLst>
              </a:custGeom>
              <a:noFill/>
              <a:ln w="9525">
                <a:solidFill>
                  <a:srgbClr val="36648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23" name="Freeform 230">
                <a:extLst>
                  <a:ext uri="{FF2B5EF4-FFF2-40B4-BE49-F238E27FC236}">
                    <a16:creationId xmlns:a16="http://schemas.microsoft.com/office/drawing/2014/main" id="{5752D563-C0D1-D3A8-7349-C876321805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" y="1936"/>
                <a:ext cx="570" cy="722"/>
              </a:xfrm>
              <a:custGeom>
                <a:avLst/>
                <a:gdLst>
                  <a:gd name="T0" fmla="*/ 0 w 570"/>
                  <a:gd name="T1" fmla="*/ 722 h 722"/>
                  <a:gd name="T2" fmla="*/ 102 w 570"/>
                  <a:gd name="T3" fmla="*/ 489 h 722"/>
                  <a:gd name="T4" fmla="*/ 203 w 570"/>
                  <a:gd name="T5" fmla="*/ 722 h 722"/>
                  <a:gd name="T6" fmla="*/ 303 w 570"/>
                  <a:gd name="T7" fmla="*/ 722 h 722"/>
                  <a:gd name="T8" fmla="*/ 405 w 570"/>
                  <a:gd name="T9" fmla="*/ 477 h 722"/>
                  <a:gd name="T10" fmla="*/ 506 w 570"/>
                  <a:gd name="T11" fmla="*/ 86 h 722"/>
                  <a:gd name="T12" fmla="*/ 570 w 570"/>
                  <a:gd name="T13" fmla="*/ 0 h 7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0" h="722">
                    <a:moveTo>
                      <a:pt x="0" y="722"/>
                    </a:moveTo>
                    <a:lnTo>
                      <a:pt x="102" y="489"/>
                    </a:lnTo>
                    <a:lnTo>
                      <a:pt x="203" y="722"/>
                    </a:lnTo>
                    <a:lnTo>
                      <a:pt x="303" y="722"/>
                    </a:lnTo>
                    <a:lnTo>
                      <a:pt x="405" y="477"/>
                    </a:lnTo>
                    <a:lnTo>
                      <a:pt x="506" y="86"/>
                    </a:lnTo>
                    <a:lnTo>
                      <a:pt x="570" y="0"/>
                    </a:lnTo>
                  </a:path>
                </a:pathLst>
              </a:custGeom>
              <a:noFill/>
              <a:ln w="12700">
                <a:solidFill>
                  <a:srgbClr val="1C86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24" name="Freeform 231">
                <a:extLst>
                  <a:ext uri="{FF2B5EF4-FFF2-40B4-BE49-F238E27FC236}">
                    <a16:creationId xmlns:a16="http://schemas.microsoft.com/office/drawing/2014/main" id="{9187BF25-B470-A20A-D475-B4EFE8BBDF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" y="2013"/>
                <a:ext cx="1112" cy="645"/>
              </a:xfrm>
              <a:custGeom>
                <a:avLst/>
                <a:gdLst>
                  <a:gd name="T0" fmla="*/ 0 w 1112"/>
                  <a:gd name="T1" fmla="*/ 645 h 645"/>
                  <a:gd name="T2" fmla="*/ 102 w 1112"/>
                  <a:gd name="T3" fmla="*/ 0 h 645"/>
                  <a:gd name="T4" fmla="*/ 153 w 1112"/>
                  <a:gd name="T5" fmla="*/ 162 h 645"/>
                  <a:gd name="T6" fmla="*/ 203 w 1112"/>
                  <a:gd name="T7" fmla="*/ 335 h 645"/>
                  <a:gd name="T8" fmla="*/ 254 w 1112"/>
                  <a:gd name="T9" fmla="*/ 404 h 645"/>
                  <a:gd name="T10" fmla="*/ 354 w 1112"/>
                  <a:gd name="T11" fmla="*/ 282 h 645"/>
                  <a:gd name="T12" fmla="*/ 455 w 1112"/>
                  <a:gd name="T13" fmla="*/ 353 h 645"/>
                  <a:gd name="T14" fmla="*/ 557 w 1112"/>
                  <a:gd name="T15" fmla="*/ 536 h 645"/>
                  <a:gd name="T16" fmla="*/ 657 w 1112"/>
                  <a:gd name="T17" fmla="*/ 451 h 645"/>
                  <a:gd name="T18" fmla="*/ 758 w 1112"/>
                  <a:gd name="T19" fmla="*/ 192 h 645"/>
                  <a:gd name="T20" fmla="*/ 852 w 1112"/>
                  <a:gd name="T21" fmla="*/ 227 h 645"/>
                  <a:gd name="T22" fmla="*/ 960 w 1112"/>
                  <a:gd name="T23" fmla="*/ 149 h 645"/>
                  <a:gd name="T24" fmla="*/ 1061 w 1112"/>
                  <a:gd name="T25" fmla="*/ 77 h 645"/>
                  <a:gd name="T26" fmla="*/ 1112 w 1112"/>
                  <a:gd name="T27" fmla="*/ 88 h 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12" h="645">
                    <a:moveTo>
                      <a:pt x="0" y="645"/>
                    </a:moveTo>
                    <a:lnTo>
                      <a:pt x="102" y="0"/>
                    </a:lnTo>
                    <a:lnTo>
                      <a:pt x="153" y="162"/>
                    </a:lnTo>
                    <a:lnTo>
                      <a:pt x="203" y="335"/>
                    </a:lnTo>
                    <a:lnTo>
                      <a:pt x="254" y="404"/>
                    </a:lnTo>
                    <a:lnTo>
                      <a:pt x="354" y="282"/>
                    </a:lnTo>
                    <a:lnTo>
                      <a:pt x="455" y="353"/>
                    </a:lnTo>
                    <a:lnTo>
                      <a:pt x="557" y="536"/>
                    </a:lnTo>
                    <a:lnTo>
                      <a:pt x="657" y="451"/>
                    </a:lnTo>
                    <a:lnTo>
                      <a:pt x="758" y="192"/>
                    </a:lnTo>
                    <a:lnTo>
                      <a:pt x="852" y="227"/>
                    </a:lnTo>
                    <a:lnTo>
                      <a:pt x="960" y="149"/>
                    </a:lnTo>
                    <a:lnTo>
                      <a:pt x="1061" y="77"/>
                    </a:lnTo>
                    <a:lnTo>
                      <a:pt x="1112" y="88"/>
                    </a:lnTo>
                  </a:path>
                </a:pathLst>
              </a:custGeom>
              <a:noFill/>
              <a:ln w="12700">
                <a:solidFill>
                  <a:srgbClr val="6A3D9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25" name="Freeform 232">
                <a:extLst>
                  <a:ext uri="{FF2B5EF4-FFF2-40B4-BE49-F238E27FC236}">
                    <a16:creationId xmlns:a16="http://schemas.microsoft.com/office/drawing/2014/main" id="{5B70EC15-54FB-665B-41AB-457E7E7188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" y="2449"/>
                <a:ext cx="2323" cy="209"/>
              </a:xfrm>
              <a:custGeom>
                <a:avLst/>
                <a:gdLst>
                  <a:gd name="T0" fmla="*/ 0 w 2323"/>
                  <a:gd name="T1" fmla="*/ 209 h 209"/>
                  <a:gd name="T2" fmla="*/ 102 w 2323"/>
                  <a:gd name="T3" fmla="*/ 92 h 209"/>
                  <a:gd name="T4" fmla="*/ 153 w 2323"/>
                  <a:gd name="T5" fmla="*/ 92 h 209"/>
                  <a:gd name="T6" fmla="*/ 203 w 2323"/>
                  <a:gd name="T7" fmla="*/ 209 h 209"/>
                  <a:gd name="T8" fmla="*/ 354 w 2323"/>
                  <a:gd name="T9" fmla="*/ 209 h 209"/>
                  <a:gd name="T10" fmla="*/ 455 w 2323"/>
                  <a:gd name="T11" fmla="*/ 0 h 209"/>
                  <a:gd name="T12" fmla="*/ 557 w 2323"/>
                  <a:gd name="T13" fmla="*/ 209 h 209"/>
                  <a:gd name="T14" fmla="*/ 657 w 2323"/>
                  <a:gd name="T15" fmla="*/ 209 h 209"/>
                  <a:gd name="T16" fmla="*/ 758 w 2323"/>
                  <a:gd name="T17" fmla="*/ 181 h 209"/>
                  <a:gd name="T18" fmla="*/ 2323 w 2323"/>
                  <a:gd name="T19" fmla="*/ 181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23" h="209">
                    <a:moveTo>
                      <a:pt x="0" y="209"/>
                    </a:moveTo>
                    <a:lnTo>
                      <a:pt x="102" y="92"/>
                    </a:lnTo>
                    <a:lnTo>
                      <a:pt x="153" y="92"/>
                    </a:lnTo>
                    <a:lnTo>
                      <a:pt x="203" y="209"/>
                    </a:lnTo>
                    <a:lnTo>
                      <a:pt x="354" y="209"/>
                    </a:lnTo>
                    <a:lnTo>
                      <a:pt x="455" y="0"/>
                    </a:lnTo>
                    <a:lnTo>
                      <a:pt x="557" y="209"/>
                    </a:lnTo>
                    <a:lnTo>
                      <a:pt x="657" y="209"/>
                    </a:lnTo>
                    <a:lnTo>
                      <a:pt x="758" y="181"/>
                    </a:lnTo>
                    <a:lnTo>
                      <a:pt x="2323" y="181"/>
                    </a:lnTo>
                  </a:path>
                </a:pathLst>
              </a:custGeom>
              <a:noFill/>
              <a:ln w="12700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26" name="Freeform 233">
                <a:extLst>
                  <a:ext uri="{FF2B5EF4-FFF2-40B4-BE49-F238E27FC236}">
                    <a16:creationId xmlns:a16="http://schemas.microsoft.com/office/drawing/2014/main" id="{9CD90F60-7CB8-7A36-E320-D16E2EBE07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" y="2395"/>
                <a:ext cx="1969" cy="235"/>
              </a:xfrm>
              <a:custGeom>
                <a:avLst/>
                <a:gdLst>
                  <a:gd name="T0" fmla="*/ 0 w 1969"/>
                  <a:gd name="T1" fmla="*/ 235 h 235"/>
                  <a:gd name="T2" fmla="*/ 102 w 1969"/>
                  <a:gd name="T3" fmla="*/ 13 h 235"/>
                  <a:gd name="T4" fmla="*/ 217 w 1969"/>
                  <a:gd name="T5" fmla="*/ 235 h 235"/>
                  <a:gd name="T6" fmla="*/ 1509 w 1969"/>
                  <a:gd name="T7" fmla="*/ 235 h 235"/>
                  <a:gd name="T8" fmla="*/ 1616 w 1969"/>
                  <a:gd name="T9" fmla="*/ 0 h 235"/>
                  <a:gd name="T10" fmla="*/ 1717 w 1969"/>
                  <a:gd name="T11" fmla="*/ 235 h 235"/>
                  <a:gd name="T12" fmla="*/ 1969 w 1969"/>
                  <a:gd name="T13" fmla="*/ 235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69" h="235">
                    <a:moveTo>
                      <a:pt x="0" y="235"/>
                    </a:moveTo>
                    <a:lnTo>
                      <a:pt x="102" y="13"/>
                    </a:lnTo>
                    <a:lnTo>
                      <a:pt x="217" y="235"/>
                    </a:lnTo>
                    <a:lnTo>
                      <a:pt x="1509" y="235"/>
                    </a:lnTo>
                    <a:lnTo>
                      <a:pt x="1616" y="0"/>
                    </a:lnTo>
                    <a:lnTo>
                      <a:pt x="1717" y="235"/>
                    </a:lnTo>
                    <a:lnTo>
                      <a:pt x="1969" y="235"/>
                    </a:lnTo>
                  </a:path>
                </a:pathLst>
              </a:custGeom>
              <a:noFill/>
              <a:ln w="12700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27" name="Freeform 234">
                <a:extLst>
                  <a:ext uri="{FF2B5EF4-FFF2-40B4-BE49-F238E27FC236}">
                    <a16:creationId xmlns:a16="http://schemas.microsoft.com/office/drawing/2014/main" id="{6D6B7CBE-02A4-E80E-927A-5D730445CB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" y="2192"/>
                <a:ext cx="2020" cy="438"/>
              </a:xfrm>
              <a:custGeom>
                <a:avLst/>
                <a:gdLst>
                  <a:gd name="T0" fmla="*/ 0 w 2020"/>
                  <a:gd name="T1" fmla="*/ 438 h 438"/>
                  <a:gd name="T2" fmla="*/ 102 w 2020"/>
                  <a:gd name="T3" fmla="*/ 139 h 438"/>
                  <a:gd name="T4" fmla="*/ 153 w 2020"/>
                  <a:gd name="T5" fmla="*/ 80 h 438"/>
                  <a:gd name="T6" fmla="*/ 203 w 2020"/>
                  <a:gd name="T7" fmla="*/ 146 h 438"/>
                  <a:gd name="T8" fmla="*/ 254 w 2020"/>
                  <a:gd name="T9" fmla="*/ 438 h 438"/>
                  <a:gd name="T10" fmla="*/ 455 w 2020"/>
                  <a:gd name="T11" fmla="*/ 438 h 438"/>
                  <a:gd name="T12" fmla="*/ 557 w 2020"/>
                  <a:gd name="T13" fmla="*/ 308 h 438"/>
                  <a:gd name="T14" fmla="*/ 657 w 2020"/>
                  <a:gd name="T15" fmla="*/ 265 h 438"/>
                  <a:gd name="T16" fmla="*/ 758 w 2020"/>
                  <a:gd name="T17" fmla="*/ 276 h 438"/>
                  <a:gd name="T18" fmla="*/ 860 w 2020"/>
                  <a:gd name="T19" fmla="*/ 204 h 438"/>
                  <a:gd name="T20" fmla="*/ 960 w 2020"/>
                  <a:gd name="T21" fmla="*/ 152 h 438"/>
                  <a:gd name="T22" fmla="*/ 1061 w 2020"/>
                  <a:gd name="T23" fmla="*/ 163 h 438"/>
                  <a:gd name="T24" fmla="*/ 1163 w 2020"/>
                  <a:gd name="T25" fmla="*/ 438 h 438"/>
                  <a:gd name="T26" fmla="*/ 1262 w 2020"/>
                  <a:gd name="T27" fmla="*/ 204 h 438"/>
                  <a:gd name="T28" fmla="*/ 1364 w 2020"/>
                  <a:gd name="T29" fmla="*/ 189 h 438"/>
                  <a:gd name="T30" fmla="*/ 1465 w 2020"/>
                  <a:gd name="T31" fmla="*/ 0 h 438"/>
                  <a:gd name="T32" fmla="*/ 1565 w 2020"/>
                  <a:gd name="T33" fmla="*/ 150 h 438"/>
                  <a:gd name="T34" fmla="*/ 1667 w 2020"/>
                  <a:gd name="T35" fmla="*/ 188 h 438"/>
                  <a:gd name="T36" fmla="*/ 1768 w 2020"/>
                  <a:gd name="T37" fmla="*/ 135 h 438"/>
                  <a:gd name="T38" fmla="*/ 1868 w 2020"/>
                  <a:gd name="T39" fmla="*/ 139 h 438"/>
                  <a:gd name="T40" fmla="*/ 1969 w 2020"/>
                  <a:gd name="T41" fmla="*/ 107 h 438"/>
                  <a:gd name="T42" fmla="*/ 2020 w 2020"/>
                  <a:gd name="T43" fmla="*/ 79 h 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020" h="438">
                    <a:moveTo>
                      <a:pt x="0" y="438"/>
                    </a:moveTo>
                    <a:lnTo>
                      <a:pt x="102" y="139"/>
                    </a:lnTo>
                    <a:lnTo>
                      <a:pt x="153" y="80"/>
                    </a:lnTo>
                    <a:lnTo>
                      <a:pt x="203" y="146"/>
                    </a:lnTo>
                    <a:lnTo>
                      <a:pt x="254" y="438"/>
                    </a:lnTo>
                    <a:lnTo>
                      <a:pt x="455" y="438"/>
                    </a:lnTo>
                    <a:lnTo>
                      <a:pt x="557" y="308"/>
                    </a:lnTo>
                    <a:lnTo>
                      <a:pt x="657" y="265"/>
                    </a:lnTo>
                    <a:lnTo>
                      <a:pt x="758" y="276"/>
                    </a:lnTo>
                    <a:lnTo>
                      <a:pt x="860" y="204"/>
                    </a:lnTo>
                    <a:lnTo>
                      <a:pt x="960" y="152"/>
                    </a:lnTo>
                    <a:lnTo>
                      <a:pt x="1061" y="163"/>
                    </a:lnTo>
                    <a:lnTo>
                      <a:pt x="1163" y="438"/>
                    </a:lnTo>
                    <a:lnTo>
                      <a:pt x="1262" y="204"/>
                    </a:lnTo>
                    <a:lnTo>
                      <a:pt x="1364" y="189"/>
                    </a:lnTo>
                    <a:lnTo>
                      <a:pt x="1465" y="0"/>
                    </a:lnTo>
                    <a:lnTo>
                      <a:pt x="1565" y="150"/>
                    </a:lnTo>
                    <a:lnTo>
                      <a:pt x="1667" y="188"/>
                    </a:lnTo>
                    <a:lnTo>
                      <a:pt x="1768" y="135"/>
                    </a:lnTo>
                    <a:lnTo>
                      <a:pt x="1868" y="139"/>
                    </a:lnTo>
                    <a:lnTo>
                      <a:pt x="1969" y="107"/>
                    </a:lnTo>
                    <a:lnTo>
                      <a:pt x="2020" y="79"/>
                    </a:lnTo>
                  </a:path>
                </a:pathLst>
              </a:custGeom>
              <a:noFill/>
              <a:ln w="12700">
                <a:solidFill>
                  <a:srgbClr val="90EE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28" name="Freeform 235">
                <a:extLst>
                  <a:ext uri="{FF2B5EF4-FFF2-40B4-BE49-F238E27FC236}">
                    <a16:creationId xmlns:a16="http://schemas.microsoft.com/office/drawing/2014/main" id="{8A9A5CAF-C0A2-550A-4D04-B784713701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" y="2308"/>
                <a:ext cx="1824" cy="322"/>
              </a:xfrm>
              <a:custGeom>
                <a:avLst/>
                <a:gdLst>
                  <a:gd name="T0" fmla="*/ 0 w 1824"/>
                  <a:gd name="T1" fmla="*/ 322 h 322"/>
                  <a:gd name="T2" fmla="*/ 94 w 1824"/>
                  <a:gd name="T3" fmla="*/ 100 h 322"/>
                  <a:gd name="T4" fmla="*/ 195 w 1824"/>
                  <a:gd name="T5" fmla="*/ 322 h 322"/>
                  <a:gd name="T6" fmla="*/ 498 w 1824"/>
                  <a:gd name="T7" fmla="*/ 322 h 322"/>
                  <a:gd name="T8" fmla="*/ 598 w 1824"/>
                  <a:gd name="T9" fmla="*/ 88 h 322"/>
                  <a:gd name="T10" fmla="*/ 699 w 1824"/>
                  <a:gd name="T11" fmla="*/ 58 h 322"/>
                  <a:gd name="T12" fmla="*/ 801 w 1824"/>
                  <a:gd name="T13" fmla="*/ 75 h 322"/>
                  <a:gd name="T14" fmla="*/ 903 w 1824"/>
                  <a:gd name="T15" fmla="*/ 322 h 322"/>
                  <a:gd name="T16" fmla="*/ 1002 w 1824"/>
                  <a:gd name="T17" fmla="*/ 322 h 322"/>
                  <a:gd name="T18" fmla="*/ 1104 w 1824"/>
                  <a:gd name="T19" fmla="*/ 137 h 322"/>
                  <a:gd name="T20" fmla="*/ 1205 w 1824"/>
                  <a:gd name="T21" fmla="*/ 134 h 322"/>
                  <a:gd name="T22" fmla="*/ 1254 w 1824"/>
                  <a:gd name="T23" fmla="*/ 96 h 322"/>
                  <a:gd name="T24" fmla="*/ 1305 w 1824"/>
                  <a:gd name="T25" fmla="*/ 137 h 322"/>
                  <a:gd name="T26" fmla="*/ 1407 w 1824"/>
                  <a:gd name="T27" fmla="*/ 145 h 322"/>
                  <a:gd name="T28" fmla="*/ 1508 w 1824"/>
                  <a:gd name="T29" fmla="*/ 0 h 322"/>
                  <a:gd name="T30" fmla="*/ 1608 w 1824"/>
                  <a:gd name="T31" fmla="*/ 124 h 322"/>
                  <a:gd name="T32" fmla="*/ 1709 w 1824"/>
                  <a:gd name="T33" fmla="*/ 102 h 322"/>
                  <a:gd name="T34" fmla="*/ 1824 w 1824"/>
                  <a:gd name="T35" fmla="*/ 96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24" h="322">
                    <a:moveTo>
                      <a:pt x="0" y="322"/>
                    </a:moveTo>
                    <a:lnTo>
                      <a:pt x="94" y="100"/>
                    </a:lnTo>
                    <a:lnTo>
                      <a:pt x="195" y="322"/>
                    </a:lnTo>
                    <a:lnTo>
                      <a:pt x="498" y="322"/>
                    </a:lnTo>
                    <a:lnTo>
                      <a:pt x="598" y="88"/>
                    </a:lnTo>
                    <a:lnTo>
                      <a:pt x="699" y="58"/>
                    </a:lnTo>
                    <a:lnTo>
                      <a:pt x="801" y="75"/>
                    </a:lnTo>
                    <a:lnTo>
                      <a:pt x="903" y="322"/>
                    </a:lnTo>
                    <a:lnTo>
                      <a:pt x="1002" y="322"/>
                    </a:lnTo>
                    <a:lnTo>
                      <a:pt x="1104" y="137"/>
                    </a:lnTo>
                    <a:lnTo>
                      <a:pt x="1205" y="134"/>
                    </a:lnTo>
                    <a:lnTo>
                      <a:pt x="1254" y="96"/>
                    </a:lnTo>
                    <a:lnTo>
                      <a:pt x="1305" y="137"/>
                    </a:lnTo>
                    <a:lnTo>
                      <a:pt x="1407" y="145"/>
                    </a:lnTo>
                    <a:lnTo>
                      <a:pt x="1508" y="0"/>
                    </a:lnTo>
                    <a:lnTo>
                      <a:pt x="1608" y="124"/>
                    </a:lnTo>
                    <a:lnTo>
                      <a:pt x="1709" y="102"/>
                    </a:lnTo>
                    <a:lnTo>
                      <a:pt x="1824" y="96"/>
                    </a:lnTo>
                  </a:path>
                </a:pathLst>
              </a:custGeom>
              <a:noFill/>
              <a:ln w="12700">
                <a:solidFill>
                  <a:srgbClr val="FDBF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29" name="Freeform 236">
                <a:extLst>
                  <a:ext uri="{FF2B5EF4-FFF2-40B4-BE49-F238E27FC236}">
                    <a16:creationId xmlns:a16="http://schemas.microsoft.com/office/drawing/2014/main" id="{74EF5C3D-2521-15C0-2988-2A17B5EEDA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" y="2118"/>
                <a:ext cx="1977" cy="512"/>
              </a:xfrm>
              <a:custGeom>
                <a:avLst/>
                <a:gdLst>
                  <a:gd name="T0" fmla="*/ 0 w 1977"/>
                  <a:gd name="T1" fmla="*/ 512 h 512"/>
                  <a:gd name="T2" fmla="*/ 102 w 1977"/>
                  <a:gd name="T3" fmla="*/ 250 h 512"/>
                  <a:gd name="T4" fmla="*/ 153 w 1977"/>
                  <a:gd name="T5" fmla="*/ 209 h 512"/>
                  <a:gd name="T6" fmla="*/ 203 w 1977"/>
                  <a:gd name="T7" fmla="*/ 98 h 512"/>
                  <a:gd name="T8" fmla="*/ 254 w 1977"/>
                  <a:gd name="T9" fmla="*/ 512 h 512"/>
                  <a:gd name="T10" fmla="*/ 354 w 1977"/>
                  <a:gd name="T11" fmla="*/ 512 h 512"/>
                  <a:gd name="T12" fmla="*/ 455 w 1977"/>
                  <a:gd name="T13" fmla="*/ 94 h 512"/>
                  <a:gd name="T14" fmla="*/ 557 w 1977"/>
                  <a:gd name="T15" fmla="*/ 0 h 512"/>
                  <a:gd name="T16" fmla="*/ 657 w 1977"/>
                  <a:gd name="T17" fmla="*/ 164 h 512"/>
                  <a:gd name="T18" fmla="*/ 758 w 1977"/>
                  <a:gd name="T19" fmla="*/ 186 h 512"/>
                  <a:gd name="T20" fmla="*/ 860 w 1977"/>
                  <a:gd name="T21" fmla="*/ 512 h 512"/>
                  <a:gd name="T22" fmla="*/ 960 w 1977"/>
                  <a:gd name="T23" fmla="*/ 136 h 512"/>
                  <a:gd name="T24" fmla="*/ 1061 w 1977"/>
                  <a:gd name="T25" fmla="*/ 85 h 512"/>
                  <a:gd name="T26" fmla="*/ 1163 w 1977"/>
                  <a:gd name="T27" fmla="*/ 66 h 512"/>
                  <a:gd name="T28" fmla="*/ 1262 w 1977"/>
                  <a:gd name="T29" fmla="*/ 64 h 512"/>
                  <a:gd name="T30" fmla="*/ 1364 w 1977"/>
                  <a:gd name="T31" fmla="*/ 164 h 512"/>
                  <a:gd name="T32" fmla="*/ 1465 w 1977"/>
                  <a:gd name="T33" fmla="*/ 248 h 512"/>
                  <a:gd name="T34" fmla="*/ 1565 w 1977"/>
                  <a:gd name="T35" fmla="*/ 183 h 512"/>
                  <a:gd name="T36" fmla="*/ 1667 w 1977"/>
                  <a:gd name="T37" fmla="*/ 196 h 512"/>
                  <a:gd name="T38" fmla="*/ 1717 w 1977"/>
                  <a:gd name="T39" fmla="*/ 201 h 512"/>
                  <a:gd name="T40" fmla="*/ 1768 w 1977"/>
                  <a:gd name="T41" fmla="*/ 156 h 512"/>
                  <a:gd name="T42" fmla="*/ 1875 w 1977"/>
                  <a:gd name="T43" fmla="*/ 151 h 512"/>
                  <a:gd name="T44" fmla="*/ 1977 w 1977"/>
                  <a:gd name="T45" fmla="*/ 137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977" h="512">
                    <a:moveTo>
                      <a:pt x="0" y="512"/>
                    </a:moveTo>
                    <a:lnTo>
                      <a:pt x="102" y="250"/>
                    </a:lnTo>
                    <a:lnTo>
                      <a:pt x="153" y="209"/>
                    </a:lnTo>
                    <a:lnTo>
                      <a:pt x="203" y="98"/>
                    </a:lnTo>
                    <a:lnTo>
                      <a:pt x="254" y="512"/>
                    </a:lnTo>
                    <a:lnTo>
                      <a:pt x="354" y="512"/>
                    </a:lnTo>
                    <a:lnTo>
                      <a:pt x="455" y="94"/>
                    </a:lnTo>
                    <a:lnTo>
                      <a:pt x="557" y="0"/>
                    </a:lnTo>
                    <a:lnTo>
                      <a:pt x="657" y="164"/>
                    </a:lnTo>
                    <a:lnTo>
                      <a:pt x="758" y="186"/>
                    </a:lnTo>
                    <a:lnTo>
                      <a:pt x="860" y="512"/>
                    </a:lnTo>
                    <a:lnTo>
                      <a:pt x="960" y="136"/>
                    </a:lnTo>
                    <a:lnTo>
                      <a:pt x="1061" y="85"/>
                    </a:lnTo>
                    <a:lnTo>
                      <a:pt x="1163" y="66"/>
                    </a:lnTo>
                    <a:lnTo>
                      <a:pt x="1262" y="64"/>
                    </a:lnTo>
                    <a:lnTo>
                      <a:pt x="1364" y="164"/>
                    </a:lnTo>
                    <a:lnTo>
                      <a:pt x="1465" y="248"/>
                    </a:lnTo>
                    <a:lnTo>
                      <a:pt x="1565" y="183"/>
                    </a:lnTo>
                    <a:lnTo>
                      <a:pt x="1667" y="196"/>
                    </a:lnTo>
                    <a:lnTo>
                      <a:pt x="1717" y="201"/>
                    </a:lnTo>
                    <a:lnTo>
                      <a:pt x="1768" y="156"/>
                    </a:lnTo>
                    <a:lnTo>
                      <a:pt x="1875" y="151"/>
                    </a:lnTo>
                    <a:lnTo>
                      <a:pt x="1977" y="137"/>
                    </a:lnTo>
                  </a:path>
                </a:pathLst>
              </a:custGeom>
              <a:noFill/>
              <a:ln w="12700">
                <a:solidFill>
                  <a:srgbClr val="6A5ACD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30" name="Freeform 237">
                <a:extLst>
                  <a:ext uri="{FF2B5EF4-FFF2-40B4-BE49-F238E27FC236}">
                    <a16:creationId xmlns:a16="http://schemas.microsoft.com/office/drawing/2014/main" id="{CBBE5DEC-11C4-133B-0C5C-845DE5DCF3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" y="2007"/>
                <a:ext cx="1667" cy="623"/>
              </a:xfrm>
              <a:custGeom>
                <a:avLst/>
                <a:gdLst>
                  <a:gd name="T0" fmla="*/ 0 w 1667"/>
                  <a:gd name="T1" fmla="*/ 623 h 623"/>
                  <a:gd name="T2" fmla="*/ 102 w 1667"/>
                  <a:gd name="T3" fmla="*/ 143 h 623"/>
                  <a:gd name="T4" fmla="*/ 153 w 1667"/>
                  <a:gd name="T5" fmla="*/ 0 h 623"/>
                  <a:gd name="T6" fmla="*/ 254 w 1667"/>
                  <a:gd name="T7" fmla="*/ 429 h 623"/>
                  <a:gd name="T8" fmla="*/ 346 w 1667"/>
                  <a:gd name="T9" fmla="*/ 478 h 623"/>
                  <a:gd name="T10" fmla="*/ 455 w 1667"/>
                  <a:gd name="T11" fmla="*/ 623 h 623"/>
                  <a:gd name="T12" fmla="*/ 550 w 1667"/>
                  <a:gd name="T13" fmla="*/ 623 h 623"/>
                  <a:gd name="T14" fmla="*/ 657 w 1667"/>
                  <a:gd name="T15" fmla="*/ 429 h 623"/>
                  <a:gd name="T16" fmla="*/ 758 w 1667"/>
                  <a:gd name="T17" fmla="*/ 623 h 623"/>
                  <a:gd name="T18" fmla="*/ 1667 w 1667"/>
                  <a:gd name="T19" fmla="*/ 623 h 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67" h="623">
                    <a:moveTo>
                      <a:pt x="0" y="623"/>
                    </a:moveTo>
                    <a:lnTo>
                      <a:pt x="102" y="143"/>
                    </a:lnTo>
                    <a:lnTo>
                      <a:pt x="153" y="0"/>
                    </a:lnTo>
                    <a:lnTo>
                      <a:pt x="254" y="429"/>
                    </a:lnTo>
                    <a:lnTo>
                      <a:pt x="346" y="478"/>
                    </a:lnTo>
                    <a:lnTo>
                      <a:pt x="455" y="623"/>
                    </a:lnTo>
                    <a:lnTo>
                      <a:pt x="550" y="623"/>
                    </a:lnTo>
                    <a:lnTo>
                      <a:pt x="657" y="429"/>
                    </a:lnTo>
                    <a:lnTo>
                      <a:pt x="758" y="623"/>
                    </a:lnTo>
                    <a:lnTo>
                      <a:pt x="1667" y="623"/>
                    </a:lnTo>
                  </a:path>
                </a:pathLst>
              </a:custGeom>
              <a:noFill/>
              <a:ln w="12700">
                <a:solidFill>
                  <a:srgbClr val="00CED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31" name="Freeform 238">
                <a:extLst>
                  <a:ext uri="{FF2B5EF4-FFF2-40B4-BE49-F238E27FC236}">
                    <a16:creationId xmlns:a16="http://schemas.microsoft.com/office/drawing/2014/main" id="{67750DC1-88D9-934C-F340-4108E3CC9D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2647"/>
                <a:ext cx="25" cy="22"/>
              </a:xfrm>
              <a:custGeom>
                <a:avLst/>
                <a:gdLst>
                  <a:gd name="T0" fmla="*/ 25 w 25"/>
                  <a:gd name="T1" fmla="*/ 11 h 22"/>
                  <a:gd name="T2" fmla="*/ 25 w 25"/>
                  <a:gd name="T3" fmla="*/ 11 h 22"/>
                  <a:gd name="T4" fmla="*/ 23 w 25"/>
                  <a:gd name="T5" fmla="*/ 16 h 22"/>
                  <a:gd name="T6" fmla="*/ 21 w 25"/>
                  <a:gd name="T7" fmla="*/ 20 h 22"/>
                  <a:gd name="T8" fmla="*/ 17 w 25"/>
                  <a:gd name="T9" fmla="*/ 22 h 22"/>
                  <a:gd name="T10" fmla="*/ 11 w 25"/>
                  <a:gd name="T11" fmla="*/ 22 h 22"/>
                  <a:gd name="T12" fmla="*/ 8 w 25"/>
                  <a:gd name="T13" fmla="*/ 22 h 22"/>
                  <a:gd name="T14" fmla="*/ 4 w 25"/>
                  <a:gd name="T15" fmla="*/ 20 h 22"/>
                  <a:gd name="T16" fmla="*/ 2 w 25"/>
                  <a:gd name="T17" fmla="*/ 16 h 22"/>
                  <a:gd name="T18" fmla="*/ 0 w 25"/>
                  <a:gd name="T19" fmla="*/ 11 h 22"/>
                  <a:gd name="T20" fmla="*/ 0 w 25"/>
                  <a:gd name="T21" fmla="*/ 11 h 22"/>
                  <a:gd name="T22" fmla="*/ 2 w 25"/>
                  <a:gd name="T23" fmla="*/ 5 h 22"/>
                  <a:gd name="T24" fmla="*/ 4 w 25"/>
                  <a:gd name="T25" fmla="*/ 1 h 22"/>
                  <a:gd name="T26" fmla="*/ 8 w 25"/>
                  <a:gd name="T27" fmla="*/ 0 h 22"/>
                  <a:gd name="T28" fmla="*/ 11 w 25"/>
                  <a:gd name="T29" fmla="*/ 0 h 22"/>
                  <a:gd name="T30" fmla="*/ 17 w 25"/>
                  <a:gd name="T31" fmla="*/ 0 h 22"/>
                  <a:gd name="T32" fmla="*/ 21 w 25"/>
                  <a:gd name="T33" fmla="*/ 1 h 22"/>
                  <a:gd name="T34" fmla="*/ 23 w 25"/>
                  <a:gd name="T35" fmla="*/ 5 h 22"/>
                  <a:gd name="T36" fmla="*/ 25 w 25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2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6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3" y="5"/>
                    </a:lnTo>
                    <a:lnTo>
                      <a:pt x="25" y="11"/>
                    </a:lnTo>
                    <a:close/>
                  </a:path>
                </a:pathLst>
              </a:custGeom>
              <a:solidFill>
                <a:srgbClr val="1C86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32" name="Freeform 239">
                <a:extLst>
                  <a:ext uri="{FF2B5EF4-FFF2-40B4-BE49-F238E27FC236}">
                    <a16:creationId xmlns:a16="http://schemas.microsoft.com/office/drawing/2014/main" id="{7865AA85-BE41-41B2-04AE-BE2A36F4C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2647"/>
                <a:ext cx="25" cy="22"/>
              </a:xfrm>
              <a:custGeom>
                <a:avLst/>
                <a:gdLst>
                  <a:gd name="T0" fmla="*/ 25 w 25"/>
                  <a:gd name="T1" fmla="*/ 11 h 22"/>
                  <a:gd name="T2" fmla="*/ 25 w 25"/>
                  <a:gd name="T3" fmla="*/ 11 h 22"/>
                  <a:gd name="T4" fmla="*/ 23 w 25"/>
                  <a:gd name="T5" fmla="*/ 16 h 22"/>
                  <a:gd name="T6" fmla="*/ 21 w 25"/>
                  <a:gd name="T7" fmla="*/ 20 h 22"/>
                  <a:gd name="T8" fmla="*/ 17 w 25"/>
                  <a:gd name="T9" fmla="*/ 22 h 22"/>
                  <a:gd name="T10" fmla="*/ 11 w 25"/>
                  <a:gd name="T11" fmla="*/ 22 h 22"/>
                  <a:gd name="T12" fmla="*/ 8 w 25"/>
                  <a:gd name="T13" fmla="*/ 22 h 22"/>
                  <a:gd name="T14" fmla="*/ 4 w 25"/>
                  <a:gd name="T15" fmla="*/ 20 h 22"/>
                  <a:gd name="T16" fmla="*/ 2 w 25"/>
                  <a:gd name="T17" fmla="*/ 16 h 22"/>
                  <a:gd name="T18" fmla="*/ 0 w 25"/>
                  <a:gd name="T19" fmla="*/ 11 h 22"/>
                  <a:gd name="T20" fmla="*/ 0 w 25"/>
                  <a:gd name="T21" fmla="*/ 11 h 22"/>
                  <a:gd name="T22" fmla="*/ 2 w 25"/>
                  <a:gd name="T23" fmla="*/ 5 h 22"/>
                  <a:gd name="T24" fmla="*/ 4 w 25"/>
                  <a:gd name="T25" fmla="*/ 1 h 22"/>
                  <a:gd name="T26" fmla="*/ 8 w 25"/>
                  <a:gd name="T27" fmla="*/ 0 h 22"/>
                  <a:gd name="T28" fmla="*/ 11 w 25"/>
                  <a:gd name="T29" fmla="*/ 0 h 22"/>
                  <a:gd name="T30" fmla="*/ 17 w 25"/>
                  <a:gd name="T31" fmla="*/ 0 h 22"/>
                  <a:gd name="T32" fmla="*/ 21 w 25"/>
                  <a:gd name="T33" fmla="*/ 1 h 22"/>
                  <a:gd name="T34" fmla="*/ 23 w 25"/>
                  <a:gd name="T35" fmla="*/ 5 h 22"/>
                  <a:gd name="T36" fmla="*/ 25 w 25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2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6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3" y="5"/>
                    </a:lnTo>
                    <a:lnTo>
                      <a:pt x="25" y="11"/>
                    </a:lnTo>
                  </a:path>
                </a:pathLst>
              </a:custGeom>
              <a:noFill/>
              <a:ln w="9525">
                <a:solidFill>
                  <a:srgbClr val="1C86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33" name="Freeform 240">
                <a:extLst>
                  <a:ext uri="{FF2B5EF4-FFF2-40B4-BE49-F238E27FC236}">
                    <a16:creationId xmlns:a16="http://schemas.microsoft.com/office/drawing/2014/main" id="{9DDF730E-EBD6-59F0-871A-62BE7E0A2E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2413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8 w 22"/>
                  <a:gd name="T7" fmla="*/ 19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19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8" y="19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19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2"/>
                    </a:lnTo>
                    <a:close/>
                  </a:path>
                </a:pathLst>
              </a:custGeom>
              <a:solidFill>
                <a:srgbClr val="1C86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34" name="Freeform 241">
                <a:extLst>
                  <a:ext uri="{FF2B5EF4-FFF2-40B4-BE49-F238E27FC236}">
                    <a16:creationId xmlns:a16="http://schemas.microsoft.com/office/drawing/2014/main" id="{0EFE7175-E606-6E4A-37EF-630746C89A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2413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8 w 22"/>
                  <a:gd name="T7" fmla="*/ 19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19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8" y="19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19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2"/>
                    </a:lnTo>
                  </a:path>
                </a:pathLst>
              </a:custGeom>
              <a:noFill/>
              <a:ln w="9525">
                <a:solidFill>
                  <a:srgbClr val="1C86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35" name="Freeform 242">
                <a:extLst>
                  <a:ext uri="{FF2B5EF4-FFF2-40B4-BE49-F238E27FC236}">
                    <a16:creationId xmlns:a16="http://schemas.microsoft.com/office/drawing/2014/main" id="{863126AD-9A55-4AD6-31E3-90FBE4815A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2647"/>
                <a:ext cx="23" cy="22"/>
              </a:xfrm>
              <a:custGeom>
                <a:avLst/>
                <a:gdLst>
                  <a:gd name="T0" fmla="*/ 23 w 23"/>
                  <a:gd name="T1" fmla="*/ 11 h 22"/>
                  <a:gd name="T2" fmla="*/ 23 w 23"/>
                  <a:gd name="T3" fmla="*/ 11 h 22"/>
                  <a:gd name="T4" fmla="*/ 21 w 23"/>
                  <a:gd name="T5" fmla="*/ 16 h 22"/>
                  <a:gd name="T6" fmla="*/ 19 w 23"/>
                  <a:gd name="T7" fmla="*/ 20 h 22"/>
                  <a:gd name="T8" fmla="*/ 15 w 23"/>
                  <a:gd name="T9" fmla="*/ 22 h 22"/>
                  <a:gd name="T10" fmla="*/ 11 w 23"/>
                  <a:gd name="T11" fmla="*/ 22 h 22"/>
                  <a:gd name="T12" fmla="*/ 6 w 23"/>
                  <a:gd name="T13" fmla="*/ 22 h 22"/>
                  <a:gd name="T14" fmla="*/ 2 w 23"/>
                  <a:gd name="T15" fmla="*/ 20 h 22"/>
                  <a:gd name="T16" fmla="*/ 0 w 23"/>
                  <a:gd name="T17" fmla="*/ 16 h 22"/>
                  <a:gd name="T18" fmla="*/ 0 w 23"/>
                  <a:gd name="T19" fmla="*/ 11 h 22"/>
                  <a:gd name="T20" fmla="*/ 0 w 23"/>
                  <a:gd name="T21" fmla="*/ 11 h 22"/>
                  <a:gd name="T22" fmla="*/ 0 w 23"/>
                  <a:gd name="T23" fmla="*/ 5 h 22"/>
                  <a:gd name="T24" fmla="*/ 2 w 23"/>
                  <a:gd name="T25" fmla="*/ 1 h 22"/>
                  <a:gd name="T26" fmla="*/ 6 w 23"/>
                  <a:gd name="T27" fmla="*/ 0 h 22"/>
                  <a:gd name="T28" fmla="*/ 11 w 23"/>
                  <a:gd name="T29" fmla="*/ 0 h 22"/>
                  <a:gd name="T30" fmla="*/ 15 w 23"/>
                  <a:gd name="T31" fmla="*/ 0 h 22"/>
                  <a:gd name="T32" fmla="*/ 19 w 23"/>
                  <a:gd name="T33" fmla="*/ 1 h 22"/>
                  <a:gd name="T34" fmla="*/ 21 w 23"/>
                  <a:gd name="T35" fmla="*/ 5 h 22"/>
                  <a:gd name="T36" fmla="*/ 23 w 23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2">
                    <a:moveTo>
                      <a:pt x="23" y="11"/>
                    </a:moveTo>
                    <a:lnTo>
                      <a:pt x="23" y="11"/>
                    </a:lnTo>
                    <a:lnTo>
                      <a:pt x="21" y="16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1" y="22"/>
                    </a:lnTo>
                    <a:lnTo>
                      <a:pt x="6" y="22"/>
                    </a:lnTo>
                    <a:lnTo>
                      <a:pt x="2" y="20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1"/>
                    </a:lnTo>
                    <a:lnTo>
                      <a:pt x="21" y="5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1C86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36" name="Freeform 243">
                <a:extLst>
                  <a:ext uri="{FF2B5EF4-FFF2-40B4-BE49-F238E27FC236}">
                    <a16:creationId xmlns:a16="http://schemas.microsoft.com/office/drawing/2014/main" id="{366F11E5-CF7E-56B9-B03A-B67715F2D6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2647"/>
                <a:ext cx="23" cy="22"/>
              </a:xfrm>
              <a:custGeom>
                <a:avLst/>
                <a:gdLst>
                  <a:gd name="T0" fmla="*/ 23 w 23"/>
                  <a:gd name="T1" fmla="*/ 11 h 22"/>
                  <a:gd name="T2" fmla="*/ 23 w 23"/>
                  <a:gd name="T3" fmla="*/ 11 h 22"/>
                  <a:gd name="T4" fmla="*/ 21 w 23"/>
                  <a:gd name="T5" fmla="*/ 16 h 22"/>
                  <a:gd name="T6" fmla="*/ 19 w 23"/>
                  <a:gd name="T7" fmla="*/ 20 h 22"/>
                  <a:gd name="T8" fmla="*/ 15 w 23"/>
                  <a:gd name="T9" fmla="*/ 22 h 22"/>
                  <a:gd name="T10" fmla="*/ 11 w 23"/>
                  <a:gd name="T11" fmla="*/ 22 h 22"/>
                  <a:gd name="T12" fmla="*/ 6 w 23"/>
                  <a:gd name="T13" fmla="*/ 22 h 22"/>
                  <a:gd name="T14" fmla="*/ 2 w 23"/>
                  <a:gd name="T15" fmla="*/ 20 h 22"/>
                  <a:gd name="T16" fmla="*/ 0 w 23"/>
                  <a:gd name="T17" fmla="*/ 16 h 22"/>
                  <a:gd name="T18" fmla="*/ 0 w 23"/>
                  <a:gd name="T19" fmla="*/ 11 h 22"/>
                  <a:gd name="T20" fmla="*/ 0 w 23"/>
                  <a:gd name="T21" fmla="*/ 11 h 22"/>
                  <a:gd name="T22" fmla="*/ 0 w 23"/>
                  <a:gd name="T23" fmla="*/ 5 h 22"/>
                  <a:gd name="T24" fmla="*/ 2 w 23"/>
                  <a:gd name="T25" fmla="*/ 1 h 22"/>
                  <a:gd name="T26" fmla="*/ 6 w 23"/>
                  <a:gd name="T27" fmla="*/ 0 h 22"/>
                  <a:gd name="T28" fmla="*/ 11 w 23"/>
                  <a:gd name="T29" fmla="*/ 0 h 22"/>
                  <a:gd name="T30" fmla="*/ 15 w 23"/>
                  <a:gd name="T31" fmla="*/ 0 h 22"/>
                  <a:gd name="T32" fmla="*/ 19 w 23"/>
                  <a:gd name="T33" fmla="*/ 1 h 22"/>
                  <a:gd name="T34" fmla="*/ 21 w 23"/>
                  <a:gd name="T35" fmla="*/ 5 h 22"/>
                  <a:gd name="T36" fmla="*/ 23 w 23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2">
                    <a:moveTo>
                      <a:pt x="23" y="11"/>
                    </a:moveTo>
                    <a:lnTo>
                      <a:pt x="23" y="11"/>
                    </a:lnTo>
                    <a:lnTo>
                      <a:pt x="21" y="16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1" y="22"/>
                    </a:lnTo>
                    <a:lnTo>
                      <a:pt x="6" y="22"/>
                    </a:lnTo>
                    <a:lnTo>
                      <a:pt x="2" y="20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1"/>
                    </a:lnTo>
                    <a:lnTo>
                      <a:pt x="21" y="5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1C86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37" name="Freeform 244">
                <a:extLst>
                  <a:ext uri="{FF2B5EF4-FFF2-40B4-BE49-F238E27FC236}">
                    <a16:creationId xmlns:a16="http://schemas.microsoft.com/office/drawing/2014/main" id="{FCD8B521-FAC8-E0AD-BE5E-8525519AB9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2647"/>
                <a:ext cx="24" cy="22"/>
              </a:xfrm>
              <a:custGeom>
                <a:avLst/>
                <a:gdLst>
                  <a:gd name="T0" fmla="*/ 24 w 24"/>
                  <a:gd name="T1" fmla="*/ 11 h 22"/>
                  <a:gd name="T2" fmla="*/ 24 w 24"/>
                  <a:gd name="T3" fmla="*/ 11 h 22"/>
                  <a:gd name="T4" fmla="*/ 22 w 24"/>
                  <a:gd name="T5" fmla="*/ 16 h 22"/>
                  <a:gd name="T6" fmla="*/ 21 w 24"/>
                  <a:gd name="T7" fmla="*/ 20 h 22"/>
                  <a:gd name="T8" fmla="*/ 17 w 24"/>
                  <a:gd name="T9" fmla="*/ 22 h 22"/>
                  <a:gd name="T10" fmla="*/ 11 w 24"/>
                  <a:gd name="T11" fmla="*/ 22 h 22"/>
                  <a:gd name="T12" fmla="*/ 7 w 24"/>
                  <a:gd name="T13" fmla="*/ 22 h 22"/>
                  <a:gd name="T14" fmla="*/ 4 w 24"/>
                  <a:gd name="T15" fmla="*/ 20 h 22"/>
                  <a:gd name="T16" fmla="*/ 2 w 24"/>
                  <a:gd name="T17" fmla="*/ 16 h 22"/>
                  <a:gd name="T18" fmla="*/ 0 w 24"/>
                  <a:gd name="T19" fmla="*/ 11 h 22"/>
                  <a:gd name="T20" fmla="*/ 0 w 24"/>
                  <a:gd name="T21" fmla="*/ 11 h 22"/>
                  <a:gd name="T22" fmla="*/ 2 w 24"/>
                  <a:gd name="T23" fmla="*/ 5 h 22"/>
                  <a:gd name="T24" fmla="*/ 4 w 24"/>
                  <a:gd name="T25" fmla="*/ 1 h 22"/>
                  <a:gd name="T26" fmla="*/ 7 w 24"/>
                  <a:gd name="T27" fmla="*/ 0 h 22"/>
                  <a:gd name="T28" fmla="*/ 11 w 24"/>
                  <a:gd name="T29" fmla="*/ 0 h 22"/>
                  <a:gd name="T30" fmla="*/ 17 w 24"/>
                  <a:gd name="T31" fmla="*/ 0 h 22"/>
                  <a:gd name="T32" fmla="*/ 21 w 24"/>
                  <a:gd name="T33" fmla="*/ 1 h 22"/>
                  <a:gd name="T34" fmla="*/ 22 w 24"/>
                  <a:gd name="T35" fmla="*/ 5 h 22"/>
                  <a:gd name="T36" fmla="*/ 24 w 24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2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6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7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2" y="5"/>
                    </a:lnTo>
                    <a:lnTo>
                      <a:pt x="24" y="11"/>
                    </a:lnTo>
                    <a:close/>
                  </a:path>
                </a:pathLst>
              </a:custGeom>
              <a:solidFill>
                <a:srgbClr val="1C86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38" name="Freeform 245">
                <a:extLst>
                  <a:ext uri="{FF2B5EF4-FFF2-40B4-BE49-F238E27FC236}">
                    <a16:creationId xmlns:a16="http://schemas.microsoft.com/office/drawing/2014/main" id="{69FDA775-7CC9-8609-6978-B02373E081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2647"/>
                <a:ext cx="24" cy="22"/>
              </a:xfrm>
              <a:custGeom>
                <a:avLst/>
                <a:gdLst>
                  <a:gd name="T0" fmla="*/ 24 w 24"/>
                  <a:gd name="T1" fmla="*/ 11 h 22"/>
                  <a:gd name="T2" fmla="*/ 24 w 24"/>
                  <a:gd name="T3" fmla="*/ 11 h 22"/>
                  <a:gd name="T4" fmla="*/ 22 w 24"/>
                  <a:gd name="T5" fmla="*/ 16 h 22"/>
                  <a:gd name="T6" fmla="*/ 21 w 24"/>
                  <a:gd name="T7" fmla="*/ 20 h 22"/>
                  <a:gd name="T8" fmla="*/ 17 w 24"/>
                  <a:gd name="T9" fmla="*/ 22 h 22"/>
                  <a:gd name="T10" fmla="*/ 11 w 24"/>
                  <a:gd name="T11" fmla="*/ 22 h 22"/>
                  <a:gd name="T12" fmla="*/ 7 w 24"/>
                  <a:gd name="T13" fmla="*/ 22 h 22"/>
                  <a:gd name="T14" fmla="*/ 4 w 24"/>
                  <a:gd name="T15" fmla="*/ 20 h 22"/>
                  <a:gd name="T16" fmla="*/ 2 w 24"/>
                  <a:gd name="T17" fmla="*/ 16 h 22"/>
                  <a:gd name="T18" fmla="*/ 0 w 24"/>
                  <a:gd name="T19" fmla="*/ 11 h 22"/>
                  <a:gd name="T20" fmla="*/ 0 w 24"/>
                  <a:gd name="T21" fmla="*/ 11 h 22"/>
                  <a:gd name="T22" fmla="*/ 2 w 24"/>
                  <a:gd name="T23" fmla="*/ 5 h 22"/>
                  <a:gd name="T24" fmla="*/ 4 w 24"/>
                  <a:gd name="T25" fmla="*/ 1 h 22"/>
                  <a:gd name="T26" fmla="*/ 7 w 24"/>
                  <a:gd name="T27" fmla="*/ 0 h 22"/>
                  <a:gd name="T28" fmla="*/ 11 w 24"/>
                  <a:gd name="T29" fmla="*/ 0 h 22"/>
                  <a:gd name="T30" fmla="*/ 17 w 24"/>
                  <a:gd name="T31" fmla="*/ 0 h 22"/>
                  <a:gd name="T32" fmla="*/ 21 w 24"/>
                  <a:gd name="T33" fmla="*/ 1 h 22"/>
                  <a:gd name="T34" fmla="*/ 22 w 24"/>
                  <a:gd name="T35" fmla="*/ 5 h 22"/>
                  <a:gd name="T36" fmla="*/ 24 w 24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2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6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7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2" y="5"/>
                    </a:lnTo>
                    <a:lnTo>
                      <a:pt x="24" y="11"/>
                    </a:lnTo>
                  </a:path>
                </a:pathLst>
              </a:custGeom>
              <a:noFill/>
              <a:ln w="9525">
                <a:solidFill>
                  <a:srgbClr val="1C86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39" name="Freeform 246">
                <a:extLst>
                  <a:ext uri="{FF2B5EF4-FFF2-40B4-BE49-F238E27FC236}">
                    <a16:creationId xmlns:a16="http://schemas.microsoft.com/office/drawing/2014/main" id="{58A78109-B429-FBA0-4737-705C889D6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400"/>
                <a:ext cx="23" cy="25"/>
              </a:xfrm>
              <a:custGeom>
                <a:avLst/>
                <a:gdLst>
                  <a:gd name="T0" fmla="*/ 23 w 23"/>
                  <a:gd name="T1" fmla="*/ 13 h 25"/>
                  <a:gd name="T2" fmla="*/ 23 w 23"/>
                  <a:gd name="T3" fmla="*/ 13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5 h 25"/>
                  <a:gd name="T10" fmla="*/ 12 w 23"/>
                  <a:gd name="T11" fmla="*/ 25 h 25"/>
                  <a:gd name="T12" fmla="*/ 8 w 23"/>
                  <a:gd name="T13" fmla="*/ 25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3 h 25"/>
                  <a:gd name="T20" fmla="*/ 0 w 23"/>
                  <a:gd name="T21" fmla="*/ 13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2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3"/>
                    </a:move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5"/>
                    </a:lnTo>
                    <a:lnTo>
                      <a:pt x="12" y="25"/>
                    </a:lnTo>
                    <a:lnTo>
                      <a:pt x="8" y="25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3"/>
                    </a:lnTo>
                    <a:close/>
                  </a:path>
                </a:pathLst>
              </a:custGeom>
              <a:solidFill>
                <a:srgbClr val="1C86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40" name="Freeform 247">
                <a:extLst>
                  <a:ext uri="{FF2B5EF4-FFF2-40B4-BE49-F238E27FC236}">
                    <a16:creationId xmlns:a16="http://schemas.microsoft.com/office/drawing/2014/main" id="{C74DCE6C-DAD2-203B-07B5-D5F105C143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400"/>
                <a:ext cx="23" cy="25"/>
              </a:xfrm>
              <a:custGeom>
                <a:avLst/>
                <a:gdLst>
                  <a:gd name="T0" fmla="*/ 23 w 23"/>
                  <a:gd name="T1" fmla="*/ 13 h 25"/>
                  <a:gd name="T2" fmla="*/ 23 w 23"/>
                  <a:gd name="T3" fmla="*/ 13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5 h 25"/>
                  <a:gd name="T10" fmla="*/ 12 w 23"/>
                  <a:gd name="T11" fmla="*/ 25 h 25"/>
                  <a:gd name="T12" fmla="*/ 8 w 23"/>
                  <a:gd name="T13" fmla="*/ 25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3 h 25"/>
                  <a:gd name="T20" fmla="*/ 0 w 23"/>
                  <a:gd name="T21" fmla="*/ 13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2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3"/>
                    </a:move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5"/>
                    </a:lnTo>
                    <a:lnTo>
                      <a:pt x="12" y="25"/>
                    </a:lnTo>
                    <a:lnTo>
                      <a:pt x="8" y="25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3"/>
                    </a:lnTo>
                  </a:path>
                </a:pathLst>
              </a:custGeom>
              <a:noFill/>
              <a:ln w="9525">
                <a:solidFill>
                  <a:srgbClr val="1C86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41" name="Freeform 248">
                <a:extLst>
                  <a:ext uri="{FF2B5EF4-FFF2-40B4-BE49-F238E27FC236}">
                    <a16:creationId xmlns:a16="http://schemas.microsoft.com/office/drawing/2014/main" id="{C6ABE780-2643-D05F-FDBD-5E12F9A016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2" y="2011"/>
                <a:ext cx="23" cy="23"/>
              </a:xfrm>
              <a:custGeom>
                <a:avLst/>
                <a:gdLst>
                  <a:gd name="T0" fmla="*/ 23 w 23"/>
                  <a:gd name="T1" fmla="*/ 11 h 23"/>
                  <a:gd name="T2" fmla="*/ 23 w 23"/>
                  <a:gd name="T3" fmla="*/ 11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7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1 h 23"/>
                  <a:gd name="T20" fmla="*/ 0 w 23"/>
                  <a:gd name="T21" fmla="*/ 11 h 23"/>
                  <a:gd name="T22" fmla="*/ 0 w 23"/>
                  <a:gd name="T23" fmla="*/ 6 h 23"/>
                  <a:gd name="T24" fmla="*/ 4 w 23"/>
                  <a:gd name="T25" fmla="*/ 2 h 23"/>
                  <a:gd name="T26" fmla="*/ 7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1C86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42" name="Freeform 249">
                <a:extLst>
                  <a:ext uri="{FF2B5EF4-FFF2-40B4-BE49-F238E27FC236}">
                    <a16:creationId xmlns:a16="http://schemas.microsoft.com/office/drawing/2014/main" id="{64557336-D038-F969-0219-3D1FCD9D30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2" y="2011"/>
                <a:ext cx="23" cy="23"/>
              </a:xfrm>
              <a:custGeom>
                <a:avLst/>
                <a:gdLst>
                  <a:gd name="T0" fmla="*/ 23 w 23"/>
                  <a:gd name="T1" fmla="*/ 11 h 23"/>
                  <a:gd name="T2" fmla="*/ 23 w 23"/>
                  <a:gd name="T3" fmla="*/ 11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7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1 h 23"/>
                  <a:gd name="T20" fmla="*/ 0 w 23"/>
                  <a:gd name="T21" fmla="*/ 11 h 23"/>
                  <a:gd name="T22" fmla="*/ 0 w 23"/>
                  <a:gd name="T23" fmla="*/ 6 h 23"/>
                  <a:gd name="T24" fmla="*/ 4 w 23"/>
                  <a:gd name="T25" fmla="*/ 2 h 23"/>
                  <a:gd name="T26" fmla="*/ 7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1C86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43" name="Freeform 250">
                <a:extLst>
                  <a:ext uri="{FF2B5EF4-FFF2-40B4-BE49-F238E27FC236}">
                    <a16:creationId xmlns:a16="http://schemas.microsoft.com/office/drawing/2014/main" id="{395EB92B-47D7-6DF8-3887-9BE90C024B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6" y="1925"/>
                <a:ext cx="24" cy="24"/>
              </a:xfrm>
              <a:custGeom>
                <a:avLst/>
                <a:gdLst>
                  <a:gd name="T0" fmla="*/ 24 w 24"/>
                  <a:gd name="T1" fmla="*/ 11 h 24"/>
                  <a:gd name="T2" fmla="*/ 24 w 24"/>
                  <a:gd name="T3" fmla="*/ 11 h 24"/>
                  <a:gd name="T4" fmla="*/ 22 w 24"/>
                  <a:gd name="T5" fmla="*/ 17 h 24"/>
                  <a:gd name="T6" fmla="*/ 21 w 24"/>
                  <a:gd name="T7" fmla="*/ 20 h 24"/>
                  <a:gd name="T8" fmla="*/ 17 w 24"/>
                  <a:gd name="T9" fmla="*/ 22 h 24"/>
                  <a:gd name="T10" fmla="*/ 11 w 24"/>
                  <a:gd name="T11" fmla="*/ 24 h 24"/>
                  <a:gd name="T12" fmla="*/ 7 w 24"/>
                  <a:gd name="T13" fmla="*/ 22 h 24"/>
                  <a:gd name="T14" fmla="*/ 4 w 24"/>
                  <a:gd name="T15" fmla="*/ 20 h 24"/>
                  <a:gd name="T16" fmla="*/ 2 w 24"/>
                  <a:gd name="T17" fmla="*/ 17 h 24"/>
                  <a:gd name="T18" fmla="*/ 0 w 24"/>
                  <a:gd name="T19" fmla="*/ 11 h 24"/>
                  <a:gd name="T20" fmla="*/ 0 w 24"/>
                  <a:gd name="T21" fmla="*/ 11 h 24"/>
                  <a:gd name="T22" fmla="*/ 2 w 24"/>
                  <a:gd name="T23" fmla="*/ 7 h 24"/>
                  <a:gd name="T24" fmla="*/ 4 w 24"/>
                  <a:gd name="T25" fmla="*/ 3 h 24"/>
                  <a:gd name="T26" fmla="*/ 7 w 24"/>
                  <a:gd name="T27" fmla="*/ 2 h 24"/>
                  <a:gd name="T28" fmla="*/ 11 w 24"/>
                  <a:gd name="T29" fmla="*/ 0 h 24"/>
                  <a:gd name="T30" fmla="*/ 17 w 24"/>
                  <a:gd name="T31" fmla="*/ 2 h 24"/>
                  <a:gd name="T32" fmla="*/ 21 w 24"/>
                  <a:gd name="T33" fmla="*/ 3 h 24"/>
                  <a:gd name="T34" fmla="*/ 22 w 24"/>
                  <a:gd name="T35" fmla="*/ 7 h 24"/>
                  <a:gd name="T36" fmla="*/ 24 w 24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4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7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4" y="20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4" y="3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3"/>
                    </a:lnTo>
                    <a:lnTo>
                      <a:pt x="22" y="7"/>
                    </a:lnTo>
                    <a:lnTo>
                      <a:pt x="24" y="11"/>
                    </a:lnTo>
                    <a:close/>
                  </a:path>
                </a:pathLst>
              </a:custGeom>
              <a:solidFill>
                <a:srgbClr val="1C86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44" name="Freeform 251">
                <a:extLst>
                  <a:ext uri="{FF2B5EF4-FFF2-40B4-BE49-F238E27FC236}">
                    <a16:creationId xmlns:a16="http://schemas.microsoft.com/office/drawing/2014/main" id="{70866773-7B58-CB7D-1CFC-A86FCAAE38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6" y="1925"/>
                <a:ext cx="24" cy="24"/>
              </a:xfrm>
              <a:custGeom>
                <a:avLst/>
                <a:gdLst>
                  <a:gd name="T0" fmla="*/ 24 w 24"/>
                  <a:gd name="T1" fmla="*/ 11 h 24"/>
                  <a:gd name="T2" fmla="*/ 24 w 24"/>
                  <a:gd name="T3" fmla="*/ 11 h 24"/>
                  <a:gd name="T4" fmla="*/ 22 w 24"/>
                  <a:gd name="T5" fmla="*/ 17 h 24"/>
                  <a:gd name="T6" fmla="*/ 21 w 24"/>
                  <a:gd name="T7" fmla="*/ 20 h 24"/>
                  <a:gd name="T8" fmla="*/ 17 w 24"/>
                  <a:gd name="T9" fmla="*/ 22 h 24"/>
                  <a:gd name="T10" fmla="*/ 11 w 24"/>
                  <a:gd name="T11" fmla="*/ 24 h 24"/>
                  <a:gd name="T12" fmla="*/ 7 w 24"/>
                  <a:gd name="T13" fmla="*/ 22 h 24"/>
                  <a:gd name="T14" fmla="*/ 4 w 24"/>
                  <a:gd name="T15" fmla="*/ 20 h 24"/>
                  <a:gd name="T16" fmla="*/ 2 w 24"/>
                  <a:gd name="T17" fmla="*/ 17 h 24"/>
                  <a:gd name="T18" fmla="*/ 0 w 24"/>
                  <a:gd name="T19" fmla="*/ 11 h 24"/>
                  <a:gd name="T20" fmla="*/ 0 w 24"/>
                  <a:gd name="T21" fmla="*/ 11 h 24"/>
                  <a:gd name="T22" fmla="*/ 2 w 24"/>
                  <a:gd name="T23" fmla="*/ 7 h 24"/>
                  <a:gd name="T24" fmla="*/ 4 w 24"/>
                  <a:gd name="T25" fmla="*/ 3 h 24"/>
                  <a:gd name="T26" fmla="*/ 7 w 24"/>
                  <a:gd name="T27" fmla="*/ 2 h 24"/>
                  <a:gd name="T28" fmla="*/ 11 w 24"/>
                  <a:gd name="T29" fmla="*/ 0 h 24"/>
                  <a:gd name="T30" fmla="*/ 17 w 24"/>
                  <a:gd name="T31" fmla="*/ 2 h 24"/>
                  <a:gd name="T32" fmla="*/ 21 w 24"/>
                  <a:gd name="T33" fmla="*/ 3 h 24"/>
                  <a:gd name="T34" fmla="*/ 22 w 24"/>
                  <a:gd name="T35" fmla="*/ 7 h 24"/>
                  <a:gd name="T36" fmla="*/ 24 w 24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4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7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4" y="20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4" y="3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21" y="3"/>
                    </a:lnTo>
                    <a:lnTo>
                      <a:pt x="22" y="7"/>
                    </a:lnTo>
                    <a:lnTo>
                      <a:pt x="24" y="11"/>
                    </a:lnTo>
                  </a:path>
                </a:pathLst>
              </a:custGeom>
              <a:noFill/>
              <a:ln w="9525">
                <a:solidFill>
                  <a:srgbClr val="1C86E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45" name="Freeform 252">
                <a:extLst>
                  <a:ext uri="{FF2B5EF4-FFF2-40B4-BE49-F238E27FC236}">
                    <a16:creationId xmlns:a16="http://schemas.microsoft.com/office/drawing/2014/main" id="{2D5BCF17-66B4-E789-1F85-0FE6AEDD7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2647"/>
                <a:ext cx="25" cy="22"/>
              </a:xfrm>
              <a:custGeom>
                <a:avLst/>
                <a:gdLst>
                  <a:gd name="T0" fmla="*/ 25 w 25"/>
                  <a:gd name="T1" fmla="*/ 11 h 22"/>
                  <a:gd name="T2" fmla="*/ 25 w 25"/>
                  <a:gd name="T3" fmla="*/ 11 h 22"/>
                  <a:gd name="T4" fmla="*/ 23 w 25"/>
                  <a:gd name="T5" fmla="*/ 16 h 22"/>
                  <a:gd name="T6" fmla="*/ 21 w 25"/>
                  <a:gd name="T7" fmla="*/ 20 h 22"/>
                  <a:gd name="T8" fmla="*/ 17 w 25"/>
                  <a:gd name="T9" fmla="*/ 22 h 22"/>
                  <a:gd name="T10" fmla="*/ 11 w 25"/>
                  <a:gd name="T11" fmla="*/ 22 h 22"/>
                  <a:gd name="T12" fmla="*/ 8 w 25"/>
                  <a:gd name="T13" fmla="*/ 22 h 22"/>
                  <a:gd name="T14" fmla="*/ 4 w 25"/>
                  <a:gd name="T15" fmla="*/ 20 h 22"/>
                  <a:gd name="T16" fmla="*/ 2 w 25"/>
                  <a:gd name="T17" fmla="*/ 16 h 22"/>
                  <a:gd name="T18" fmla="*/ 0 w 25"/>
                  <a:gd name="T19" fmla="*/ 11 h 22"/>
                  <a:gd name="T20" fmla="*/ 0 w 25"/>
                  <a:gd name="T21" fmla="*/ 11 h 22"/>
                  <a:gd name="T22" fmla="*/ 2 w 25"/>
                  <a:gd name="T23" fmla="*/ 5 h 22"/>
                  <a:gd name="T24" fmla="*/ 4 w 25"/>
                  <a:gd name="T25" fmla="*/ 1 h 22"/>
                  <a:gd name="T26" fmla="*/ 8 w 25"/>
                  <a:gd name="T27" fmla="*/ 0 h 22"/>
                  <a:gd name="T28" fmla="*/ 11 w 25"/>
                  <a:gd name="T29" fmla="*/ 0 h 22"/>
                  <a:gd name="T30" fmla="*/ 17 w 25"/>
                  <a:gd name="T31" fmla="*/ 0 h 22"/>
                  <a:gd name="T32" fmla="*/ 21 w 25"/>
                  <a:gd name="T33" fmla="*/ 1 h 22"/>
                  <a:gd name="T34" fmla="*/ 23 w 25"/>
                  <a:gd name="T35" fmla="*/ 5 h 22"/>
                  <a:gd name="T36" fmla="*/ 25 w 25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2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6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3" y="5"/>
                    </a:lnTo>
                    <a:lnTo>
                      <a:pt x="25" y="11"/>
                    </a:lnTo>
                    <a:close/>
                  </a:path>
                </a:pathLst>
              </a:custGeom>
              <a:solidFill>
                <a:srgbClr val="6A3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46" name="Freeform 253">
                <a:extLst>
                  <a:ext uri="{FF2B5EF4-FFF2-40B4-BE49-F238E27FC236}">
                    <a16:creationId xmlns:a16="http://schemas.microsoft.com/office/drawing/2014/main" id="{DFFF4578-54E4-0DCA-760A-1D8C09905C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2647"/>
                <a:ext cx="25" cy="22"/>
              </a:xfrm>
              <a:custGeom>
                <a:avLst/>
                <a:gdLst>
                  <a:gd name="T0" fmla="*/ 25 w 25"/>
                  <a:gd name="T1" fmla="*/ 11 h 22"/>
                  <a:gd name="T2" fmla="*/ 25 w 25"/>
                  <a:gd name="T3" fmla="*/ 11 h 22"/>
                  <a:gd name="T4" fmla="*/ 23 w 25"/>
                  <a:gd name="T5" fmla="*/ 16 h 22"/>
                  <a:gd name="T6" fmla="*/ 21 w 25"/>
                  <a:gd name="T7" fmla="*/ 20 h 22"/>
                  <a:gd name="T8" fmla="*/ 17 w 25"/>
                  <a:gd name="T9" fmla="*/ 22 h 22"/>
                  <a:gd name="T10" fmla="*/ 11 w 25"/>
                  <a:gd name="T11" fmla="*/ 22 h 22"/>
                  <a:gd name="T12" fmla="*/ 8 w 25"/>
                  <a:gd name="T13" fmla="*/ 22 h 22"/>
                  <a:gd name="T14" fmla="*/ 4 w 25"/>
                  <a:gd name="T15" fmla="*/ 20 h 22"/>
                  <a:gd name="T16" fmla="*/ 2 w 25"/>
                  <a:gd name="T17" fmla="*/ 16 h 22"/>
                  <a:gd name="T18" fmla="*/ 0 w 25"/>
                  <a:gd name="T19" fmla="*/ 11 h 22"/>
                  <a:gd name="T20" fmla="*/ 0 w 25"/>
                  <a:gd name="T21" fmla="*/ 11 h 22"/>
                  <a:gd name="T22" fmla="*/ 2 w 25"/>
                  <a:gd name="T23" fmla="*/ 5 h 22"/>
                  <a:gd name="T24" fmla="*/ 4 w 25"/>
                  <a:gd name="T25" fmla="*/ 1 h 22"/>
                  <a:gd name="T26" fmla="*/ 8 w 25"/>
                  <a:gd name="T27" fmla="*/ 0 h 22"/>
                  <a:gd name="T28" fmla="*/ 11 w 25"/>
                  <a:gd name="T29" fmla="*/ 0 h 22"/>
                  <a:gd name="T30" fmla="*/ 17 w 25"/>
                  <a:gd name="T31" fmla="*/ 0 h 22"/>
                  <a:gd name="T32" fmla="*/ 21 w 25"/>
                  <a:gd name="T33" fmla="*/ 1 h 22"/>
                  <a:gd name="T34" fmla="*/ 23 w 25"/>
                  <a:gd name="T35" fmla="*/ 5 h 22"/>
                  <a:gd name="T36" fmla="*/ 25 w 25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2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6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3" y="5"/>
                    </a:lnTo>
                    <a:lnTo>
                      <a:pt x="25" y="11"/>
                    </a:lnTo>
                  </a:path>
                </a:pathLst>
              </a:custGeom>
              <a:noFill/>
              <a:ln w="9525">
                <a:solidFill>
                  <a:srgbClr val="6A3D9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47" name="Freeform 254">
                <a:extLst>
                  <a:ext uri="{FF2B5EF4-FFF2-40B4-BE49-F238E27FC236}">
                    <a16:creationId xmlns:a16="http://schemas.microsoft.com/office/drawing/2014/main" id="{A673884B-8BFE-755E-9807-0EA4EFEF31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2002"/>
                <a:ext cx="22" cy="24"/>
              </a:xfrm>
              <a:custGeom>
                <a:avLst/>
                <a:gdLst>
                  <a:gd name="T0" fmla="*/ 22 w 22"/>
                  <a:gd name="T1" fmla="*/ 11 h 24"/>
                  <a:gd name="T2" fmla="*/ 22 w 22"/>
                  <a:gd name="T3" fmla="*/ 11 h 24"/>
                  <a:gd name="T4" fmla="*/ 22 w 22"/>
                  <a:gd name="T5" fmla="*/ 17 h 24"/>
                  <a:gd name="T6" fmla="*/ 18 w 22"/>
                  <a:gd name="T7" fmla="*/ 20 h 24"/>
                  <a:gd name="T8" fmla="*/ 15 w 22"/>
                  <a:gd name="T9" fmla="*/ 22 h 24"/>
                  <a:gd name="T10" fmla="*/ 11 w 22"/>
                  <a:gd name="T11" fmla="*/ 24 h 24"/>
                  <a:gd name="T12" fmla="*/ 7 w 22"/>
                  <a:gd name="T13" fmla="*/ 22 h 24"/>
                  <a:gd name="T14" fmla="*/ 3 w 22"/>
                  <a:gd name="T15" fmla="*/ 20 h 24"/>
                  <a:gd name="T16" fmla="*/ 0 w 22"/>
                  <a:gd name="T17" fmla="*/ 17 h 24"/>
                  <a:gd name="T18" fmla="*/ 0 w 22"/>
                  <a:gd name="T19" fmla="*/ 11 h 24"/>
                  <a:gd name="T20" fmla="*/ 0 w 22"/>
                  <a:gd name="T21" fmla="*/ 11 h 24"/>
                  <a:gd name="T22" fmla="*/ 0 w 22"/>
                  <a:gd name="T23" fmla="*/ 7 h 24"/>
                  <a:gd name="T24" fmla="*/ 3 w 22"/>
                  <a:gd name="T25" fmla="*/ 3 h 24"/>
                  <a:gd name="T26" fmla="*/ 7 w 22"/>
                  <a:gd name="T27" fmla="*/ 2 h 24"/>
                  <a:gd name="T28" fmla="*/ 11 w 22"/>
                  <a:gd name="T29" fmla="*/ 0 h 24"/>
                  <a:gd name="T30" fmla="*/ 15 w 22"/>
                  <a:gd name="T31" fmla="*/ 2 h 24"/>
                  <a:gd name="T32" fmla="*/ 18 w 22"/>
                  <a:gd name="T33" fmla="*/ 3 h 24"/>
                  <a:gd name="T34" fmla="*/ 22 w 22"/>
                  <a:gd name="T35" fmla="*/ 7 h 24"/>
                  <a:gd name="T36" fmla="*/ 22 w 22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8" y="3"/>
                    </a:lnTo>
                    <a:lnTo>
                      <a:pt x="22" y="7"/>
                    </a:lnTo>
                    <a:lnTo>
                      <a:pt x="22" y="11"/>
                    </a:lnTo>
                    <a:close/>
                  </a:path>
                </a:pathLst>
              </a:custGeom>
              <a:solidFill>
                <a:srgbClr val="6A3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48" name="Freeform 255">
                <a:extLst>
                  <a:ext uri="{FF2B5EF4-FFF2-40B4-BE49-F238E27FC236}">
                    <a16:creationId xmlns:a16="http://schemas.microsoft.com/office/drawing/2014/main" id="{9A5F4986-2E39-6AC5-D52B-C479E7D0DD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2002"/>
                <a:ext cx="22" cy="24"/>
              </a:xfrm>
              <a:custGeom>
                <a:avLst/>
                <a:gdLst>
                  <a:gd name="T0" fmla="*/ 22 w 22"/>
                  <a:gd name="T1" fmla="*/ 11 h 24"/>
                  <a:gd name="T2" fmla="*/ 22 w 22"/>
                  <a:gd name="T3" fmla="*/ 11 h 24"/>
                  <a:gd name="T4" fmla="*/ 22 w 22"/>
                  <a:gd name="T5" fmla="*/ 17 h 24"/>
                  <a:gd name="T6" fmla="*/ 18 w 22"/>
                  <a:gd name="T7" fmla="*/ 20 h 24"/>
                  <a:gd name="T8" fmla="*/ 15 w 22"/>
                  <a:gd name="T9" fmla="*/ 22 h 24"/>
                  <a:gd name="T10" fmla="*/ 11 w 22"/>
                  <a:gd name="T11" fmla="*/ 24 h 24"/>
                  <a:gd name="T12" fmla="*/ 7 w 22"/>
                  <a:gd name="T13" fmla="*/ 22 h 24"/>
                  <a:gd name="T14" fmla="*/ 3 w 22"/>
                  <a:gd name="T15" fmla="*/ 20 h 24"/>
                  <a:gd name="T16" fmla="*/ 0 w 22"/>
                  <a:gd name="T17" fmla="*/ 17 h 24"/>
                  <a:gd name="T18" fmla="*/ 0 w 22"/>
                  <a:gd name="T19" fmla="*/ 11 h 24"/>
                  <a:gd name="T20" fmla="*/ 0 w 22"/>
                  <a:gd name="T21" fmla="*/ 11 h 24"/>
                  <a:gd name="T22" fmla="*/ 0 w 22"/>
                  <a:gd name="T23" fmla="*/ 7 h 24"/>
                  <a:gd name="T24" fmla="*/ 3 w 22"/>
                  <a:gd name="T25" fmla="*/ 3 h 24"/>
                  <a:gd name="T26" fmla="*/ 7 w 22"/>
                  <a:gd name="T27" fmla="*/ 2 h 24"/>
                  <a:gd name="T28" fmla="*/ 11 w 22"/>
                  <a:gd name="T29" fmla="*/ 0 h 24"/>
                  <a:gd name="T30" fmla="*/ 15 w 22"/>
                  <a:gd name="T31" fmla="*/ 2 h 24"/>
                  <a:gd name="T32" fmla="*/ 18 w 22"/>
                  <a:gd name="T33" fmla="*/ 3 h 24"/>
                  <a:gd name="T34" fmla="*/ 22 w 22"/>
                  <a:gd name="T35" fmla="*/ 7 h 24"/>
                  <a:gd name="T36" fmla="*/ 22 w 22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8" y="3"/>
                    </a:lnTo>
                    <a:lnTo>
                      <a:pt x="22" y="7"/>
                    </a:lnTo>
                    <a:lnTo>
                      <a:pt x="22" y="11"/>
                    </a:lnTo>
                  </a:path>
                </a:pathLst>
              </a:custGeom>
              <a:noFill/>
              <a:ln w="9525">
                <a:solidFill>
                  <a:srgbClr val="6A3D9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49" name="Freeform 256">
                <a:extLst>
                  <a:ext uri="{FF2B5EF4-FFF2-40B4-BE49-F238E27FC236}">
                    <a16:creationId xmlns:a16="http://schemas.microsoft.com/office/drawing/2014/main" id="{BA0DC40A-94D0-E8E0-2F50-41238CDAF6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2163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2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4 h 23"/>
                  <a:gd name="T26" fmla="*/ 8 w 23"/>
                  <a:gd name="T27" fmla="*/ 0 h 23"/>
                  <a:gd name="T28" fmla="*/ 12 w 23"/>
                  <a:gd name="T29" fmla="*/ 0 h 23"/>
                  <a:gd name="T30" fmla="*/ 15 w 23"/>
                  <a:gd name="T31" fmla="*/ 0 h 23"/>
                  <a:gd name="T32" fmla="*/ 19 w 23"/>
                  <a:gd name="T33" fmla="*/ 4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4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6A3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50" name="Freeform 257">
                <a:extLst>
                  <a:ext uri="{FF2B5EF4-FFF2-40B4-BE49-F238E27FC236}">
                    <a16:creationId xmlns:a16="http://schemas.microsoft.com/office/drawing/2014/main" id="{54D5B763-1011-39F2-2912-8F04ED2D3B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2163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2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4 h 23"/>
                  <a:gd name="T26" fmla="*/ 8 w 23"/>
                  <a:gd name="T27" fmla="*/ 0 h 23"/>
                  <a:gd name="T28" fmla="*/ 12 w 23"/>
                  <a:gd name="T29" fmla="*/ 0 h 23"/>
                  <a:gd name="T30" fmla="*/ 15 w 23"/>
                  <a:gd name="T31" fmla="*/ 0 h 23"/>
                  <a:gd name="T32" fmla="*/ 19 w 23"/>
                  <a:gd name="T33" fmla="*/ 4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4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6A3D9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51" name="Freeform 258">
                <a:extLst>
                  <a:ext uri="{FF2B5EF4-FFF2-40B4-BE49-F238E27FC236}">
                    <a16:creationId xmlns:a16="http://schemas.microsoft.com/office/drawing/2014/main" id="{EF6F3FCF-2D3E-4026-3DEB-1405415958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2163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2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4 h 23"/>
                  <a:gd name="T26" fmla="*/ 8 w 23"/>
                  <a:gd name="T27" fmla="*/ 0 h 23"/>
                  <a:gd name="T28" fmla="*/ 12 w 23"/>
                  <a:gd name="T29" fmla="*/ 0 h 23"/>
                  <a:gd name="T30" fmla="*/ 15 w 23"/>
                  <a:gd name="T31" fmla="*/ 0 h 23"/>
                  <a:gd name="T32" fmla="*/ 19 w 23"/>
                  <a:gd name="T33" fmla="*/ 4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4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6A3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52" name="Freeform 259">
                <a:extLst>
                  <a:ext uri="{FF2B5EF4-FFF2-40B4-BE49-F238E27FC236}">
                    <a16:creationId xmlns:a16="http://schemas.microsoft.com/office/drawing/2014/main" id="{984FEA49-3935-1B8D-4705-DA38943B2F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2163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2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4 h 23"/>
                  <a:gd name="T26" fmla="*/ 8 w 23"/>
                  <a:gd name="T27" fmla="*/ 0 h 23"/>
                  <a:gd name="T28" fmla="*/ 12 w 23"/>
                  <a:gd name="T29" fmla="*/ 0 h 23"/>
                  <a:gd name="T30" fmla="*/ 15 w 23"/>
                  <a:gd name="T31" fmla="*/ 0 h 23"/>
                  <a:gd name="T32" fmla="*/ 19 w 23"/>
                  <a:gd name="T33" fmla="*/ 4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4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6A3D9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53" name="Freeform 260">
                <a:extLst>
                  <a:ext uri="{FF2B5EF4-FFF2-40B4-BE49-F238E27FC236}">
                    <a16:creationId xmlns:a16="http://schemas.microsoft.com/office/drawing/2014/main" id="{57393F94-008D-3508-C949-047A917D3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2334"/>
                <a:ext cx="23" cy="25"/>
              </a:xfrm>
              <a:custGeom>
                <a:avLst/>
                <a:gdLst>
                  <a:gd name="T0" fmla="*/ 23 w 23"/>
                  <a:gd name="T1" fmla="*/ 14 h 25"/>
                  <a:gd name="T2" fmla="*/ 23 w 23"/>
                  <a:gd name="T3" fmla="*/ 14 h 25"/>
                  <a:gd name="T4" fmla="*/ 21 w 23"/>
                  <a:gd name="T5" fmla="*/ 17 h 25"/>
                  <a:gd name="T6" fmla="*/ 19 w 23"/>
                  <a:gd name="T7" fmla="*/ 21 h 25"/>
                  <a:gd name="T8" fmla="*/ 15 w 23"/>
                  <a:gd name="T9" fmla="*/ 25 h 25"/>
                  <a:gd name="T10" fmla="*/ 11 w 23"/>
                  <a:gd name="T11" fmla="*/ 25 h 25"/>
                  <a:gd name="T12" fmla="*/ 6 w 23"/>
                  <a:gd name="T13" fmla="*/ 25 h 25"/>
                  <a:gd name="T14" fmla="*/ 2 w 23"/>
                  <a:gd name="T15" fmla="*/ 21 h 25"/>
                  <a:gd name="T16" fmla="*/ 0 w 23"/>
                  <a:gd name="T17" fmla="*/ 17 h 25"/>
                  <a:gd name="T18" fmla="*/ 0 w 23"/>
                  <a:gd name="T19" fmla="*/ 14 h 25"/>
                  <a:gd name="T20" fmla="*/ 0 w 23"/>
                  <a:gd name="T21" fmla="*/ 14 h 25"/>
                  <a:gd name="T22" fmla="*/ 0 w 23"/>
                  <a:gd name="T23" fmla="*/ 8 h 25"/>
                  <a:gd name="T24" fmla="*/ 2 w 23"/>
                  <a:gd name="T25" fmla="*/ 4 h 25"/>
                  <a:gd name="T26" fmla="*/ 6 w 23"/>
                  <a:gd name="T27" fmla="*/ 2 h 25"/>
                  <a:gd name="T28" fmla="*/ 11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1 w 23"/>
                  <a:gd name="T35" fmla="*/ 8 h 25"/>
                  <a:gd name="T36" fmla="*/ 23 w 23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4"/>
                    </a:moveTo>
                    <a:lnTo>
                      <a:pt x="23" y="14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5"/>
                    </a:lnTo>
                    <a:lnTo>
                      <a:pt x="11" y="25"/>
                    </a:lnTo>
                    <a:lnTo>
                      <a:pt x="6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1" y="8"/>
                    </a:lnTo>
                    <a:lnTo>
                      <a:pt x="23" y="14"/>
                    </a:lnTo>
                    <a:close/>
                  </a:path>
                </a:pathLst>
              </a:custGeom>
              <a:solidFill>
                <a:srgbClr val="6A3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54" name="Freeform 261">
                <a:extLst>
                  <a:ext uri="{FF2B5EF4-FFF2-40B4-BE49-F238E27FC236}">
                    <a16:creationId xmlns:a16="http://schemas.microsoft.com/office/drawing/2014/main" id="{4682A4F8-E109-5B92-592A-964CB563FF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2334"/>
                <a:ext cx="23" cy="25"/>
              </a:xfrm>
              <a:custGeom>
                <a:avLst/>
                <a:gdLst>
                  <a:gd name="T0" fmla="*/ 23 w 23"/>
                  <a:gd name="T1" fmla="*/ 14 h 25"/>
                  <a:gd name="T2" fmla="*/ 23 w 23"/>
                  <a:gd name="T3" fmla="*/ 14 h 25"/>
                  <a:gd name="T4" fmla="*/ 21 w 23"/>
                  <a:gd name="T5" fmla="*/ 17 h 25"/>
                  <a:gd name="T6" fmla="*/ 19 w 23"/>
                  <a:gd name="T7" fmla="*/ 21 h 25"/>
                  <a:gd name="T8" fmla="*/ 15 w 23"/>
                  <a:gd name="T9" fmla="*/ 25 h 25"/>
                  <a:gd name="T10" fmla="*/ 11 w 23"/>
                  <a:gd name="T11" fmla="*/ 25 h 25"/>
                  <a:gd name="T12" fmla="*/ 6 w 23"/>
                  <a:gd name="T13" fmla="*/ 25 h 25"/>
                  <a:gd name="T14" fmla="*/ 2 w 23"/>
                  <a:gd name="T15" fmla="*/ 21 h 25"/>
                  <a:gd name="T16" fmla="*/ 0 w 23"/>
                  <a:gd name="T17" fmla="*/ 17 h 25"/>
                  <a:gd name="T18" fmla="*/ 0 w 23"/>
                  <a:gd name="T19" fmla="*/ 14 h 25"/>
                  <a:gd name="T20" fmla="*/ 0 w 23"/>
                  <a:gd name="T21" fmla="*/ 14 h 25"/>
                  <a:gd name="T22" fmla="*/ 0 w 23"/>
                  <a:gd name="T23" fmla="*/ 8 h 25"/>
                  <a:gd name="T24" fmla="*/ 2 w 23"/>
                  <a:gd name="T25" fmla="*/ 4 h 25"/>
                  <a:gd name="T26" fmla="*/ 6 w 23"/>
                  <a:gd name="T27" fmla="*/ 2 h 25"/>
                  <a:gd name="T28" fmla="*/ 11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1 w 23"/>
                  <a:gd name="T35" fmla="*/ 8 h 25"/>
                  <a:gd name="T36" fmla="*/ 23 w 23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4"/>
                    </a:moveTo>
                    <a:lnTo>
                      <a:pt x="23" y="14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5"/>
                    </a:lnTo>
                    <a:lnTo>
                      <a:pt x="11" y="25"/>
                    </a:lnTo>
                    <a:lnTo>
                      <a:pt x="6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1" y="8"/>
                    </a:lnTo>
                    <a:lnTo>
                      <a:pt x="23" y="14"/>
                    </a:lnTo>
                  </a:path>
                </a:pathLst>
              </a:custGeom>
              <a:noFill/>
              <a:ln w="9525">
                <a:solidFill>
                  <a:srgbClr val="6A3D9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55" name="Freeform 262">
                <a:extLst>
                  <a:ext uri="{FF2B5EF4-FFF2-40B4-BE49-F238E27FC236}">
                    <a16:creationId xmlns:a16="http://schemas.microsoft.com/office/drawing/2014/main" id="{964DC14E-47E9-3BB3-3AB0-9A340A2F0D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" y="2406"/>
                <a:ext cx="25" cy="22"/>
              </a:xfrm>
              <a:custGeom>
                <a:avLst/>
                <a:gdLst>
                  <a:gd name="T0" fmla="*/ 25 w 25"/>
                  <a:gd name="T1" fmla="*/ 11 h 22"/>
                  <a:gd name="T2" fmla="*/ 25 w 25"/>
                  <a:gd name="T3" fmla="*/ 11 h 22"/>
                  <a:gd name="T4" fmla="*/ 23 w 25"/>
                  <a:gd name="T5" fmla="*/ 17 h 22"/>
                  <a:gd name="T6" fmla="*/ 21 w 25"/>
                  <a:gd name="T7" fmla="*/ 21 h 22"/>
                  <a:gd name="T8" fmla="*/ 17 w 25"/>
                  <a:gd name="T9" fmla="*/ 22 h 22"/>
                  <a:gd name="T10" fmla="*/ 13 w 25"/>
                  <a:gd name="T11" fmla="*/ 22 h 22"/>
                  <a:gd name="T12" fmla="*/ 8 w 25"/>
                  <a:gd name="T13" fmla="*/ 22 h 22"/>
                  <a:gd name="T14" fmla="*/ 4 w 25"/>
                  <a:gd name="T15" fmla="*/ 21 h 22"/>
                  <a:gd name="T16" fmla="*/ 2 w 25"/>
                  <a:gd name="T17" fmla="*/ 17 h 22"/>
                  <a:gd name="T18" fmla="*/ 0 w 25"/>
                  <a:gd name="T19" fmla="*/ 11 h 22"/>
                  <a:gd name="T20" fmla="*/ 0 w 25"/>
                  <a:gd name="T21" fmla="*/ 11 h 22"/>
                  <a:gd name="T22" fmla="*/ 2 w 25"/>
                  <a:gd name="T23" fmla="*/ 6 h 22"/>
                  <a:gd name="T24" fmla="*/ 4 w 25"/>
                  <a:gd name="T25" fmla="*/ 2 h 22"/>
                  <a:gd name="T26" fmla="*/ 8 w 25"/>
                  <a:gd name="T27" fmla="*/ 0 h 22"/>
                  <a:gd name="T28" fmla="*/ 13 w 25"/>
                  <a:gd name="T29" fmla="*/ 0 h 22"/>
                  <a:gd name="T30" fmla="*/ 17 w 25"/>
                  <a:gd name="T31" fmla="*/ 0 h 22"/>
                  <a:gd name="T32" fmla="*/ 21 w 25"/>
                  <a:gd name="T33" fmla="*/ 2 h 22"/>
                  <a:gd name="T34" fmla="*/ 23 w 25"/>
                  <a:gd name="T35" fmla="*/ 6 h 22"/>
                  <a:gd name="T36" fmla="*/ 25 w 25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2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2"/>
                    </a:lnTo>
                    <a:lnTo>
                      <a:pt x="13" y="22"/>
                    </a:lnTo>
                    <a:lnTo>
                      <a:pt x="8" y="22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1"/>
                    </a:lnTo>
                    <a:close/>
                  </a:path>
                </a:pathLst>
              </a:custGeom>
              <a:solidFill>
                <a:srgbClr val="6A3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56" name="Freeform 263">
                <a:extLst>
                  <a:ext uri="{FF2B5EF4-FFF2-40B4-BE49-F238E27FC236}">
                    <a16:creationId xmlns:a16="http://schemas.microsoft.com/office/drawing/2014/main" id="{FD61928D-9456-B386-F045-2DDBE89746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" y="2406"/>
                <a:ext cx="25" cy="22"/>
              </a:xfrm>
              <a:custGeom>
                <a:avLst/>
                <a:gdLst>
                  <a:gd name="T0" fmla="*/ 25 w 25"/>
                  <a:gd name="T1" fmla="*/ 11 h 22"/>
                  <a:gd name="T2" fmla="*/ 25 w 25"/>
                  <a:gd name="T3" fmla="*/ 11 h 22"/>
                  <a:gd name="T4" fmla="*/ 23 w 25"/>
                  <a:gd name="T5" fmla="*/ 17 h 22"/>
                  <a:gd name="T6" fmla="*/ 21 w 25"/>
                  <a:gd name="T7" fmla="*/ 21 h 22"/>
                  <a:gd name="T8" fmla="*/ 17 w 25"/>
                  <a:gd name="T9" fmla="*/ 22 h 22"/>
                  <a:gd name="T10" fmla="*/ 13 w 25"/>
                  <a:gd name="T11" fmla="*/ 22 h 22"/>
                  <a:gd name="T12" fmla="*/ 8 w 25"/>
                  <a:gd name="T13" fmla="*/ 22 h 22"/>
                  <a:gd name="T14" fmla="*/ 4 w 25"/>
                  <a:gd name="T15" fmla="*/ 21 h 22"/>
                  <a:gd name="T16" fmla="*/ 2 w 25"/>
                  <a:gd name="T17" fmla="*/ 17 h 22"/>
                  <a:gd name="T18" fmla="*/ 0 w 25"/>
                  <a:gd name="T19" fmla="*/ 11 h 22"/>
                  <a:gd name="T20" fmla="*/ 0 w 25"/>
                  <a:gd name="T21" fmla="*/ 11 h 22"/>
                  <a:gd name="T22" fmla="*/ 2 w 25"/>
                  <a:gd name="T23" fmla="*/ 6 h 22"/>
                  <a:gd name="T24" fmla="*/ 4 w 25"/>
                  <a:gd name="T25" fmla="*/ 2 h 22"/>
                  <a:gd name="T26" fmla="*/ 8 w 25"/>
                  <a:gd name="T27" fmla="*/ 0 h 22"/>
                  <a:gd name="T28" fmla="*/ 13 w 25"/>
                  <a:gd name="T29" fmla="*/ 0 h 22"/>
                  <a:gd name="T30" fmla="*/ 17 w 25"/>
                  <a:gd name="T31" fmla="*/ 0 h 22"/>
                  <a:gd name="T32" fmla="*/ 21 w 25"/>
                  <a:gd name="T33" fmla="*/ 2 h 22"/>
                  <a:gd name="T34" fmla="*/ 23 w 25"/>
                  <a:gd name="T35" fmla="*/ 6 h 22"/>
                  <a:gd name="T36" fmla="*/ 25 w 25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2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2"/>
                    </a:lnTo>
                    <a:lnTo>
                      <a:pt x="13" y="22"/>
                    </a:lnTo>
                    <a:lnTo>
                      <a:pt x="8" y="22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1"/>
                    </a:lnTo>
                  </a:path>
                </a:pathLst>
              </a:custGeom>
              <a:noFill/>
              <a:ln w="9525">
                <a:solidFill>
                  <a:srgbClr val="6A3D9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57" name="Freeform 264">
                <a:extLst>
                  <a:ext uri="{FF2B5EF4-FFF2-40B4-BE49-F238E27FC236}">
                    <a16:creationId xmlns:a16="http://schemas.microsoft.com/office/drawing/2014/main" id="{679B3976-9B28-093D-8FE3-41D25B587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" y="2284"/>
                <a:ext cx="24" cy="22"/>
              </a:xfrm>
              <a:custGeom>
                <a:avLst/>
                <a:gdLst>
                  <a:gd name="T0" fmla="*/ 24 w 24"/>
                  <a:gd name="T1" fmla="*/ 11 h 22"/>
                  <a:gd name="T2" fmla="*/ 24 w 24"/>
                  <a:gd name="T3" fmla="*/ 11 h 22"/>
                  <a:gd name="T4" fmla="*/ 22 w 24"/>
                  <a:gd name="T5" fmla="*/ 17 h 22"/>
                  <a:gd name="T6" fmla="*/ 20 w 24"/>
                  <a:gd name="T7" fmla="*/ 20 h 22"/>
                  <a:gd name="T8" fmla="*/ 17 w 24"/>
                  <a:gd name="T9" fmla="*/ 22 h 22"/>
                  <a:gd name="T10" fmla="*/ 11 w 24"/>
                  <a:gd name="T11" fmla="*/ 22 h 22"/>
                  <a:gd name="T12" fmla="*/ 7 w 24"/>
                  <a:gd name="T13" fmla="*/ 22 h 22"/>
                  <a:gd name="T14" fmla="*/ 3 w 24"/>
                  <a:gd name="T15" fmla="*/ 20 h 22"/>
                  <a:gd name="T16" fmla="*/ 2 w 24"/>
                  <a:gd name="T17" fmla="*/ 17 h 22"/>
                  <a:gd name="T18" fmla="*/ 0 w 24"/>
                  <a:gd name="T19" fmla="*/ 11 h 22"/>
                  <a:gd name="T20" fmla="*/ 0 w 24"/>
                  <a:gd name="T21" fmla="*/ 11 h 22"/>
                  <a:gd name="T22" fmla="*/ 2 w 24"/>
                  <a:gd name="T23" fmla="*/ 5 h 22"/>
                  <a:gd name="T24" fmla="*/ 3 w 24"/>
                  <a:gd name="T25" fmla="*/ 2 h 22"/>
                  <a:gd name="T26" fmla="*/ 7 w 24"/>
                  <a:gd name="T27" fmla="*/ 0 h 22"/>
                  <a:gd name="T28" fmla="*/ 11 w 24"/>
                  <a:gd name="T29" fmla="*/ 0 h 22"/>
                  <a:gd name="T30" fmla="*/ 17 w 24"/>
                  <a:gd name="T31" fmla="*/ 0 h 22"/>
                  <a:gd name="T32" fmla="*/ 20 w 24"/>
                  <a:gd name="T33" fmla="*/ 2 h 22"/>
                  <a:gd name="T34" fmla="*/ 22 w 24"/>
                  <a:gd name="T35" fmla="*/ 5 h 22"/>
                  <a:gd name="T36" fmla="*/ 24 w 24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2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7"/>
                    </a:lnTo>
                    <a:lnTo>
                      <a:pt x="20" y="20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2" y="5"/>
                    </a:lnTo>
                    <a:lnTo>
                      <a:pt x="24" y="11"/>
                    </a:lnTo>
                    <a:close/>
                  </a:path>
                </a:pathLst>
              </a:custGeom>
              <a:solidFill>
                <a:srgbClr val="6A3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58" name="Freeform 265">
                <a:extLst>
                  <a:ext uri="{FF2B5EF4-FFF2-40B4-BE49-F238E27FC236}">
                    <a16:creationId xmlns:a16="http://schemas.microsoft.com/office/drawing/2014/main" id="{B2001AC9-96E6-8732-D1AF-400F76CDC0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" y="2284"/>
                <a:ext cx="24" cy="22"/>
              </a:xfrm>
              <a:custGeom>
                <a:avLst/>
                <a:gdLst>
                  <a:gd name="T0" fmla="*/ 24 w 24"/>
                  <a:gd name="T1" fmla="*/ 11 h 22"/>
                  <a:gd name="T2" fmla="*/ 24 w 24"/>
                  <a:gd name="T3" fmla="*/ 11 h 22"/>
                  <a:gd name="T4" fmla="*/ 22 w 24"/>
                  <a:gd name="T5" fmla="*/ 17 h 22"/>
                  <a:gd name="T6" fmla="*/ 20 w 24"/>
                  <a:gd name="T7" fmla="*/ 20 h 22"/>
                  <a:gd name="T8" fmla="*/ 17 w 24"/>
                  <a:gd name="T9" fmla="*/ 22 h 22"/>
                  <a:gd name="T10" fmla="*/ 11 w 24"/>
                  <a:gd name="T11" fmla="*/ 22 h 22"/>
                  <a:gd name="T12" fmla="*/ 7 w 24"/>
                  <a:gd name="T13" fmla="*/ 22 h 22"/>
                  <a:gd name="T14" fmla="*/ 3 w 24"/>
                  <a:gd name="T15" fmla="*/ 20 h 22"/>
                  <a:gd name="T16" fmla="*/ 2 w 24"/>
                  <a:gd name="T17" fmla="*/ 17 h 22"/>
                  <a:gd name="T18" fmla="*/ 0 w 24"/>
                  <a:gd name="T19" fmla="*/ 11 h 22"/>
                  <a:gd name="T20" fmla="*/ 0 w 24"/>
                  <a:gd name="T21" fmla="*/ 11 h 22"/>
                  <a:gd name="T22" fmla="*/ 2 w 24"/>
                  <a:gd name="T23" fmla="*/ 5 h 22"/>
                  <a:gd name="T24" fmla="*/ 3 w 24"/>
                  <a:gd name="T25" fmla="*/ 2 h 22"/>
                  <a:gd name="T26" fmla="*/ 7 w 24"/>
                  <a:gd name="T27" fmla="*/ 0 h 22"/>
                  <a:gd name="T28" fmla="*/ 11 w 24"/>
                  <a:gd name="T29" fmla="*/ 0 h 22"/>
                  <a:gd name="T30" fmla="*/ 17 w 24"/>
                  <a:gd name="T31" fmla="*/ 0 h 22"/>
                  <a:gd name="T32" fmla="*/ 20 w 24"/>
                  <a:gd name="T33" fmla="*/ 2 h 22"/>
                  <a:gd name="T34" fmla="*/ 22 w 24"/>
                  <a:gd name="T35" fmla="*/ 5 h 22"/>
                  <a:gd name="T36" fmla="*/ 24 w 24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2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7"/>
                    </a:lnTo>
                    <a:lnTo>
                      <a:pt x="20" y="20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2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2" y="5"/>
                    </a:lnTo>
                    <a:lnTo>
                      <a:pt x="24" y="11"/>
                    </a:lnTo>
                  </a:path>
                </a:pathLst>
              </a:custGeom>
              <a:noFill/>
              <a:ln w="9525">
                <a:solidFill>
                  <a:srgbClr val="6A3D9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59" name="Freeform 266">
                <a:extLst>
                  <a:ext uri="{FF2B5EF4-FFF2-40B4-BE49-F238E27FC236}">
                    <a16:creationId xmlns:a16="http://schemas.microsoft.com/office/drawing/2014/main" id="{7D5E5E17-A221-B947-E9F2-B8505BF118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2355"/>
                <a:ext cx="23" cy="23"/>
              </a:xfrm>
              <a:custGeom>
                <a:avLst/>
                <a:gdLst>
                  <a:gd name="T0" fmla="*/ 23 w 23"/>
                  <a:gd name="T1" fmla="*/ 11 h 23"/>
                  <a:gd name="T2" fmla="*/ 23 w 23"/>
                  <a:gd name="T3" fmla="*/ 11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1 h 23"/>
                  <a:gd name="T20" fmla="*/ 0 w 23"/>
                  <a:gd name="T21" fmla="*/ 11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6A3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60" name="Freeform 267">
                <a:extLst>
                  <a:ext uri="{FF2B5EF4-FFF2-40B4-BE49-F238E27FC236}">
                    <a16:creationId xmlns:a16="http://schemas.microsoft.com/office/drawing/2014/main" id="{4FEF66CA-CC5F-4A45-8E3F-110436BE66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2355"/>
                <a:ext cx="23" cy="23"/>
              </a:xfrm>
              <a:custGeom>
                <a:avLst/>
                <a:gdLst>
                  <a:gd name="T0" fmla="*/ 23 w 23"/>
                  <a:gd name="T1" fmla="*/ 11 h 23"/>
                  <a:gd name="T2" fmla="*/ 23 w 23"/>
                  <a:gd name="T3" fmla="*/ 11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1 h 23"/>
                  <a:gd name="T20" fmla="*/ 0 w 23"/>
                  <a:gd name="T21" fmla="*/ 11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6A3D9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61" name="Freeform 268">
                <a:extLst>
                  <a:ext uri="{FF2B5EF4-FFF2-40B4-BE49-F238E27FC236}">
                    <a16:creationId xmlns:a16="http://schemas.microsoft.com/office/drawing/2014/main" id="{5D4622C4-32FE-06C6-29C8-3F68DDE497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1" y="2537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1 w 24"/>
                  <a:gd name="T7" fmla="*/ 19 h 23"/>
                  <a:gd name="T8" fmla="*/ 17 w 24"/>
                  <a:gd name="T9" fmla="*/ 23 h 23"/>
                  <a:gd name="T10" fmla="*/ 13 w 24"/>
                  <a:gd name="T11" fmla="*/ 23 h 23"/>
                  <a:gd name="T12" fmla="*/ 7 w 24"/>
                  <a:gd name="T13" fmla="*/ 23 h 23"/>
                  <a:gd name="T14" fmla="*/ 4 w 24"/>
                  <a:gd name="T15" fmla="*/ 19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4 w 24"/>
                  <a:gd name="T25" fmla="*/ 2 h 23"/>
                  <a:gd name="T26" fmla="*/ 7 w 24"/>
                  <a:gd name="T27" fmla="*/ 0 h 23"/>
                  <a:gd name="T28" fmla="*/ 13 w 24"/>
                  <a:gd name="T29" fmla="*/ 0 h 23"/>
                  <a:gd name="T30" fmla="*/ 17 w 24"/>
                  <a:gd name="T31" fmla="*/ 0 h 23"/>
                  <a:gd name="T32" fmla="*/ 21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1" y="19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4" y="19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2" y="6"/>
                    </a:lnTo>
                    <a:lnTo>
                      <a:pt x="24" y="12"/>
                    </a:lnTo>
                    <a:close/>
                  </a:path>
                </a:pathLst>
              </a:custGeom>
              <a:solidFill>
                <a:srgbClr val="6A3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62" name="Freeform 269">
                <a:extLst>
                  <a:ext uri="{FF2B5EF4-FFF2-40B4-BE49-F238E27FC236}">
                    <a16:creationId xmlns:a16="http://schemas.microsoft.com/office/drawing/2014/main" id="{0A905E57-3375-9D6B-F2A8-DE24011B09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1" y="2537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1 w 24"/>
                  <a:gd name="T7" fmla="*/ 19 h 23"/>
                  <a:gd name="T8" fmla="*/ 17 w 24"/>
                  <a:gd name="T9" fmla="*/ 23 h 23"/>
                  <a:gd name="T10" fmla="*/ 13 w 24"/>
                  <a:gd name="T11" fmla="*/ 23 h 23"/>
                  <a:gd name="T12" fmla="*/ 7 w 24"/>
                  <a:gd name="T13" fmla="*/ 23 h 23"/>
                  <a:gd name="T14" fmla="*/ 4 w 24"/>
                  <a:gd name="T15" fmla="*/ 19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4 w 24"/>
                  <a:gd name="T25" fmla="*/ 2 h 23"/>
                  <a:gd name="T26" fmla="*/ 7 w 24"/>
                  <a:gd name="T27" fmla="*/ 0 h 23"/>
                  <a:gd name="T28" fmla="*/ 13 w 24"/>
                  <a:gd name="T29" fmla="*/ 0 h 23"/>
                  <a:gd name="T30" fmla="*/ 17 w 24"/>
                  <a:gd name="T31" fmla="*/ 0 h 23"/>
                  <a:gd name="T32" fmla="*/ 21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1" y="19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4" y="19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2" y="6"/>
                    </a:lnTo>
                    <a:lnTo>
                      <a:pt x="24" y="12"/>
                    </a:lnTo>
                  </a:path>
                </a:pathLst>
              </a:custGeom>
              <a:noFill/>
              <a:ln w="9525">
                <a:solidFill>
                  <a:srgbClr val="6A3D9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63" name="Freeform 270">
                <a:extLst>
                  <a:ext uri="{FF2B5EF4-FFF2-40B4-BE49-F238E27FC236}">
                    <a16:creationId xmlns:a16="http://schemas.microsoft.com/office/drawing/2014/main" id="{4CC7AFC4-D15D-C346-10A5-BAA20733C4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2" y="2451"/>
                <a:ext cx="25" cy="24"/>
              </a:xfrm>
              <a:custGeom>
                <a:avLst/>
                <a:gdLst>
                  <a:gd name="T0" fmla="*/ 25 w 25"/>
                  <a:gd name="T1" fmla="*/ 13 h 24"/>
                  <a:gd name="T2" fmla="*/ 25 w 25"/>
                  <a:gd name="T3" fmla="*/ 13 h 24"/>
                  <a:gd name="T4" fmla="*/ 23 w 25"/>
                  <a:gd name="T5" fmla="*/ 17 h 24"/>
                  <a:gd name="T6" fmla="*/ 21 w 25"/>
                  <a:gd name="T7" fmla="*/ 21 h 24"/>
                  <a:gd name="T8" fmla="*/ 17 w 25"/>
                  <a:gd name="T9" fmla="*/ 24 h 24"/>
                  <a:gd name="T10" fmla="*/ 12 w 25"/>
                  <a:gd name="T11" fmla="*/ 24 h 24"/>
                  <a:gd name="T12" fmla="*/ 8 w 25"/>
                  <a:gd name="T13" fmla="*/ 24 h 24"/>
                  <a:gd name="T14" fmla="*/ 4 w 25"/>
                  <a:gd name="T15" fmla="*/ 21 h 24"/>
                  <a:gd name="T16" fmla="*/ 2 w 25"/>
                  <a:gd name="T17" fmla="*/ 17 h 24"/>
                  <a:gd name="T18" fmla="*/ 0 w 25"/>
                  <a:gd name="T19" fmla="*/ 13 h 24"/>
                  <a:gd name="T20" fmla="*/ 0 w 25"/>
                  <a:gd name="T21" fmla="*/ 13 h 24"/>
                  <a:gd name="T22" fmla="*/ 2 w 25"/>
                  <a:gd name="T23" fmla="*/ 8 h 24"/>
                  <a:gd name="T24" fmla="*/ 4 w 25"/>
                  <a:gd name="T25" fmla="*/ 4 h 24"/>
                  <a:gd name="T26" fmla="*/ 8 w 25"/>
                  <a:gd name="T27" fmla="*/ 2 h 24"/>
                  <a:gd name="T28" fmla="*/ 12 w 25"/>
                  <a:gd name="T29" fmla="*/ 0 h 24"/>
                  <a:gd name="T30" fmla="*/ 17 w 25"/>
                  <a:gd name="T31" fmla="*/ 2 h 24"/>
                  <a:gd name="T32" fmla="*/ 21 w 25"/>
                  <a:gd name="T33" fmla="*/ 4 h 24"/>
                  <a:gd name="T34" fmla="*/ 23 w 25"/>
                  <a:gd name="T35" fmla="*/ 8 h 24"/>
                  <a:gd name="T36" fmla="*/ 25 w 25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4">
                    <a:moveTo>
                      <a:pt x="25" y="13"/>
                    </a:moveTo>
                    <a:lnTo>
                      <a:pt x="25" y="13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3"/>
                    </a:lnTo>
                    <a:close/>
                  </a:path>
                </a:pathLst>
              </a:custGeom>
              <a:solidFill>
                <a:srgbClr val="6A3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64" name="Freeform 271">
                <a:extLst>
                  <a:ext uri="{FF2B5EF4-FFF2-40B4-BE49-F238E27FC236}">
                    <a16:creationId xmlns:a16="http://schemas.microsoft.com/office/drawing/2014/main" id="{2F64EC7C-18E3-DFC6-B238-7B2B8CF872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2" y="2451"/>
                <a:ext cx="25" cy="24"/>
              </a:xfrm>
              <a:custGeom>
                <a:avLst/>
                <a:gdLst>
                  <a:gd name="T0" fmla="*/ 25 w 25"/>
                  <a:gd name="T1" fmla="*/ 13 h 24"/>
                  <a:gd name="T2" fmla="*/ 25 w 25"/>
                  <a:gd name="T3" fmla="*/ 13 h 24"/>
                  <a:gd name="T4" fmla="*/ 23 w 25"/>
                  <a:gd name="T5" fmla="*/ 17 h 24"/>
                  <a:gd name="T6" fmla="*/ 21 w 25"/>
                  <a:gd name="T7" fmla="*/ 21 h 24"/>
                  <a:gd name="T8" fmla="*/ 17 w 25"/>
                  <a:gd name="T9" fmla="*/ 24 h 24"/>
                  <a:gd name="T10" fmla="*/ 12 w 25"/>
                  <a:gd name="T11" fmla="*/ 24 h 24"/>
                  <a:gd name="T12" fmla="*/ 8 w 25"/>
                  <a:gd name="T13" fmla="*/ 24 h 24"/>
                  <a:gd name="T14" fmla="*/ 4 w 25"/>
                  <a:gd name="T15" fmla="*/ 21 h 24"/>
                  <a:gd name="T16" fmla="*/ 2 w 25"/>
                  <a:gd name="T17" fmla="*/ 17 h 24"/>
                  <a:gd name="T18" fmla="*/ 0 w 25"/>
                  <a:gd name="T19" fmla="*/ 13 h 24"/>
                  <a:gd name="T20" fmla="*/ 0 w 25"/>
                  <a:gd name="T21" fmla="*/ 13 h 24"/>
                  <a:gd name="T22" fmla="*/ 2 w 25"/>
                  <a:gd name="T23" fmla="*/ 8 h 24"/>
                  <a:gd name="T24" fmla="*/ 4 w 25"/>
                  <a:gd name="T25" fmla="*/ 4 h 24"/>
                  <a:gd name="T26" fmla="*/ 8 w 25"/>
                  <a:gd name="T27" fmla="*/ 2 h 24"/>
                  <a:gd name="T28" fmla="*/ 12 w 25"/>
                  <a:gd name="T29" fmla="*/ 0 h 24"/>
                  <a:gd name="T30" fmla="*/ 17 w 25"/>
                  <a:gd name="T31" fmla="*/ 2 h 24"/>
                  <a:gd name="T32" fmla="*/ 21 w 25"/>
                  <a:gd name="T33" fmla="*/ 4 h 24"/>
                  <a:gd name="T34" fmla="*/ 23 w 25"/>
                  <a:gd name="T35" fmla="*/ 8 h 24"/>
                  <a:gd name="T36" fmla="*/ 25 w 25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4">
                    <a:moveTo>
                      <a:pt x="25" y="13"/>
                    </a:moveTo>
                    <a:lnTo>
                      <a:pt x="25" y="13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3"/>
                    </a:lnTo>
                  </a:path>
                </a:pathLst>
              </a:custGeom>
              <a:noFill/>
              <a:ln w="9525">
                <a:solidFill>
                  <a:srgbClr val="6A3D9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65" name="Freeform 272">
                <a:extLst>
                  <a:ext uri="{FF2B5EF4-FFF2-40B4-BE49-F238E27FC236}">
                    <a16:creationId xmlns:a16="http://schemas.microsoft.com/office/drawing/2014/main" id="{7D27FCA0-6F63-047A-898A-0AF5510853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4" y="2193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4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4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4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6A3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66" name="Freeform 273">
                <a:extLst>
                  <a:ext uri="{FF2B5EF4-FFF2-40B4-BE49-F238E27FC236}">
                    <a16:creationId xmlns:a16="http://schemas.microsoft.com/office/drawing/2014/main" id="{F88A3064-B01E-C992-1C05-33FE73FB8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4" y="2193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4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4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4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6A3D9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67" name="Freeform 274">
                <a:extLst>
                  <a:ext uri="{FF2B5EF4-FFF2-40B4-BE49-F238E27FC236}">
                    <a16:creationId xmlns:a16="http://schemas.microsoft.com/office/drawing/2014/main" id="{B79A45F2-1CB2-247F-C32A-921C426322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8" y="2227"/>
                <a:ext cx="23" cy="25"/>
              </a:xfrm>
              <a:custGeom>
                <a:avLst/>
                <a:gdLst>
                  <a:gd name="T0" fmla="*/ 23 w 23"/>
                  <a:gd name="T1" fmla="*/ 13 h 25"/>
                  <a:gd name="T2" fmla="*/ 23 w 23"/>
                  <a:gd name="T3" fmla="*/ 13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1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3 h 25"/>
                  <a:gd name="T20" fmla="*/ 0 w 23"/>
                  <a:gd name="T21" fmla="*/ 13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1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3"/>
                    </a:move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3"/>
                    </a:lnTo>
                    <a:close/>
                  </a:path>
                </a:pathLst>
              </a:custGeom>
              <a:solidFill>
                <a:srgbClr val="6A3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68" name="Freeform 275">
                <a:extLst>
                  <a:ext uri="{FF2B5EF4-FFF2-40B4-BE49-F238E27FC236}">
                    <a16:creationId xmlns:a16="http://schemas.microsoft.com/office/drawing/2014/main" id="{1F15B47C-3878-B213-B4EF-44E5663C61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8" y="2227"/>
                <a:ext cx="23" cy="25"/>
              </a:xfrm>
              <a:custGeom>
                <a:avLst/>
                <a:gdLst>
                  <a:gd name="T0" fmla="*/ 23 w 23"/>
                  <a:gd name="T1" fmla="*/ 13 h 25"/>
                  <a:gd name="T2" fmla="*/ 23 w 23"/>
                  <a:gd name="T3" fmla="*/ 13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1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3 h 25"/>
                  <a:gd name="T20" fmla="*/ 0 w 23"/>
                  <a:gd name="T21" fmla="*/ 13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1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3"/>
                    </a:move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3"/>
                    </a:lnTo>
                  </a:path>
                </a:pathLst>
              </a:custGeom>
              <a:noFill/>
              <a:ln w="9525">
                <a:solidFill>
                  <a:srgbClr val="6A3D9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69" name="Freeform 276">
                <a:extLst>
                  <a:ext uri="{FF2B5EF4-FFF2-40B4-BE49-F238E27FC236}">
                    <a16:creationId xmlns:a16="http://schemas.microsoft.com/office/drawing/2014/main" id="{ECD0E5FD-0258-AC11-1A67-2C5FF29E4C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5" y="2150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2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4 h 23"/>
                  <a:gd name="T26" fmla="*/ 8 w 25"/>
                  <a:gd name="T27" fmla="*/ 0 h 23"/>
                  <a:gd name="T28" fmla="*/ 12 w 25"/>
                  <a:gd name="T29" fmla="*/ 0 h 23"/>
                  <a:gd name="T30" fmla="*/ 17 w 25"/>
                  <a:gd name="T31" fmla="*/ 0 h 23"/>
                  <a:gd name="T32" fmla="*/ 21 w 25"/>
                  <a:gd name="T33" fmla="*/ 4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1" y="4"/>
                    </a:lnTo>
                    <a:lnTo>
                      <a:pt x="23" y="6"/>
                    </a:lnTo>
                    <a:lnTo>
                      <a:pt x="25" y="12"/>
                    </a:lnTo>
                    <a:close/>
                  </a:path>
                </a:pathLst>
              </a:custGeom>
              <a:solidFill>
                <a:srgbClr val="6A3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70" name="Freeform 277">
                <a:extLst>
                  <a:ext uri="{FF2B5EF4-FFF2-40B4-BE49-F238E27FC236}">
                    <a16:creationId xmlns:a16="http://schemas.microsoft.com/office/drawing/2014/main" id="{E1A95C56-D63E-E2DC-366A-23B171E71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5" y="2150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2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4 h 23"/>
                  <a:gd name="T26" fmla="*/ 8 w 25"/>
                  <a:gd name="T27" fmla="*/ 0 h 23"/>
                  <a:gd name="T28" fmla="*/ 12 w 25"/>
                  <a:gd name="T29" fmla="*/ 0 h 23"/>
                  <a:gd name="T30" fmla="*/ 17 w 25"/>
                  <a:gd name="T31" fmla="*/ 0 h 23"/>
                  <a:gd name="T32" fmla="*/ 21 w 25"/>
                  <a:gd name="T33" fmla="*/ 4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1" y="4"/>
                    </a:lnTo>
                    <a:lnTo>
                      <a:pt x="23" y="6"/>
                    </a:lnTo>
                    <a:lnTo>
                      <a:pt x="25" y="12"/>
                    </a:lnTo>
                  </a:path>
                </a:pathLst>
              </a:custGeom>
              <a:noFill/>
              <a:ln w="9525">
                <a:solidFill>
                  <a:srgbClr val="6A3D9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71" name="Freeform 278">
                <a:extLst>
                  <a:ext uri="{FF2B5EF4-FFF2-40B4-BE49-F238E27FC236}">
                    <a16:creationId xmlns:a16="http://schemas.microsoft.com/office/drawing/2014/main" id="{B42BCD07-60F3-CDEF-8E5F-F34F2A6789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7" y="2077"/>
                <a:ext cx="22" cy="24"/>
              </a:xfrm>
              <a:custGeom>
                <a:avLst/>
                <a:gdLst>
                  <a:gd name="T0" fmla="*/ 22 w 22"/>
                  <a:gd name="T1" fmla="*/ 13 h 24"/>
                  <a:gd name="T2" fmla="*/ 22 w 22"/>
                  <a:gd name="T3" fmla="*/ 13 h 24"/>
                  <a:gd name="T4" fmla="*/ 22 w 22"/>
                  <a:gd name="T5" fmla="*/ 17 h 24"/>
                  <a:gd name="T6" fmla="*/ 19 w 22"/>
                  <a:gd name="T7" fmla="*/ 21 h 24"/>
                  <a:gd name="T8" fmla="*/ 15 w 22"/>
                  <a:gd name="T9" fmla="*/ 22 h 24"/>
                  <a:gd name="T10" fmla="*/ 11 w 22"/>
                  <a:gd name="T11" fmla="*/ 24 h 24"/>
                  <a:gd name="T12" fmla="*/ 7 w 22"/>
                  <a:gd name="T13" fmla="*/ 22 h 24"/>
                  <a:gd name="T14" fmla="*/ 4 w 22"/>
                  <a:gd name="T15" fmla="*/ 21 h 24"/>
                  <a:gd name="T16" fmla="*/ 0 w 22"/>
                  <a:gd name="T17" fmla="*/ 17 h 24"/>
                  <a:gd name="T18" fmla="*/ 0 w 22"/>
                  <a:gd name="T19" fmla="*/ 13 h 24"/>
                  <a:gd name="T20" fmla="*/ 0 w 22"/>
                  <a:gd name="T21" fmla="*/ 13 h 24"/>
                  <a:gd name="T22" fmla="*/ 0 w 22"/>
                  <a:gd name="T23" fmla="*/ 7 h 24"/>
                  <a:gd name="T24" fmla="*/ 4 w 22"/>
                  <a:gd name="T25" fmla="*/ 4 h 24"/>
                  <a:gd name="T26" fmla="*/ 7 w 22"/>
                  <a:gd name="T27" fmla="*/ 2 h 24"/>
                  <a:gd name="T28" fmla="*/ 11 w 22"/>
                  <a:gd name="T29" fmla="*/ 0 h 24"/>
                  <a:gd name="T30" fmla="*/ 15 w 22"/>
                  <a:gd name="T31" fmla="*/ 2 h 24"/>
                  <a:gd name="T32" fmla="*/ 19 w 22"/>
                  <a:gd name="T33" fmla="*/ 4 h 24"/>
                  <a:gd name="T34" fmla="*/ 22 w 22"/>
                  <a:gd name="T35" fmla="*/ 7 h 24"/>
                  <a:gd name="T36" fmla="*/ 22 w 22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3"/>
                    </a:moveTo>
                    <a:lnTo>
                      <a:pt x="22" y="13"/>
                    </a:lnTo>
                    <a:lnTo>
                      <a:pt x="22" y="17"/>
                    </a:lnTo>
                    <a:lnTo>
                      <a:pt x="19" y="21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2" y="7"/>
                    </a:lnTo>
                    <a:lnTo>
                      <a:pt x="22" y="13"/>
                    </a:lnTo>
                    <a:close/>
                  </a:path>
                </a:pathLst>
              </a:custGeom>
              <a:solidFill>
                <a:srgbClr val="6A3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72" name="Freeform 279">
                <a:extLst>
                  <a:ext uri="{FF2B5EF4-FFF2-40B4-BE49-F238E27FC236}">
                    <a16:creationId xmlns:a16="http://schemas.microsoft.com/office/drawing/2014/main" id="{07F1B813-D3A9-62C1-657F-896CCDA8CF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7" y="2077"/>
                <a:ext cx="22" cy="24"/>
              </a:xfrm>
              <a:custGeom>
                <a:avLst/>
                <a:gdLst>
                  <a:gd name="T0" fmla="*/ 22 w 22"/>
                  <a:gd name="T1" fmla="*/ 13 h 24"/>
                  <a:gd name="T2" fmla="*/ 22 w 22"/>
                  <a:gd name="T3" fmla="*/ 13 h 24"/>
                  <a:gd name="T4" fmla="*/ 22 w 22"/>
                  <a:gd name="T5" fmla="*/ 17 h 24"/>
                  <a:gd name="T6" fmla="*/ 19 w 22"/>
                  <a:gd name="T7" fmla="*/ 21 h 24"/>
                  <a:gd name="T8" fmla="*/ 15 w 22"/>
                  <a:gd name="T9" fmla="*/ 22 h 24"/>
                  <a:gd name="T10" fmla="*/ 11 w 22"/>
                  <a:gd name="T11" fmla="*/ 24 h 24"/>
                  <a:gd name="T12" fmla="*/ 7 w 22"/>
                  <a:gd name="T13" fmla="*/ 22 h 24"/>
                  <a:gd name="T14" fmla="*/ 4 w 22"/>
                  <a:gd name="T15" fmla="*/ 21 h 24"/>
                  <a:gd name="T16" fmla="*/ 0 w 22"/>
                  <a:gd name="T17" fmla="*/ 17 h 24"/>
                  <a:gd name="T18" fmla="*/ 0 w 22"/>
                  <a:gd name="T19" fmla="*/ 13 h 24"/>
                  <a:gd name="T20" fmla="*/ 0 w 22"/>
                  <a:gd name="T21" fmla="*/ 13 h 24"/>
                  <a:gd name="T22" fmla="*/ 0 w 22"/>
                  <a:gd name="T23" fmla="*/ 7 h 24"/>
                  <a:gd name="T24" fmla="*/ 4 w 22"/>
                  <a:gd name="T25" fmla="*/ 4 h 24"/>
                  <a:gd name="T26" fmla="*/ 7 w 22"/>
                  <a:gd name="T27" fmla="*/ 2 h 24"/>
                  <a:gd name="T28" fmla="*/ 11 w 22"/>
                  <a:gd name="T29" fmla="*/ 0 h 24"/>
                  <a:gd name="T30" fmla="*/ 15 w 22"/>
                  <a:gd name="T31" fmla="*/ 2 h 24"/>
                  <a:gd name="T32" fmla="*/ 19 w 22"/>
                  <a:gd name="T33" fmla="*/ 4 h 24"/>
                  <a:gd name="T34" fmla="*/ 22 w 22"/>
                  <a:gd name="T35" fmla="*/ 7 h 24"/>
                  <a:gd name="T36" fmla="*/ 22 w 22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4">
                    <a:moveTo>
                      <a:pt x="22" y="13"/>
                    </a:moveTo>
                    <a:lnTo>
                      <a:pt x="22" y="13"/>
                    </a:lnTo>
                    <a:lnTo>
                      <a:pt x="22" y="17"/>
                    </a:lnTo>
                    <a:lnTo>
                      <a:pt x="19" y="21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2" y="7"/>
                    </a:lnTo>
                    <a:lnTo>
                      <a:pt x="22" y="13"/>
                    </a:lnTo>
                  </a:path>
                </a:pathLst>
              </a:custGeom>
              <a:noFill/>
              <a:ln w="9525">
                <a:solidFill>
                  <a:srgbClr val="6A3D9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73" name="Freeform 280">
                <a:extLst>
                  <a:ext uri="{FF2B5EF4-FFF2-40B4-BE49-F238E27FC236}">
                    <a16:creationId xmlns:a16="http://schemas.microsoft.com/office/drawing/2014/main" id="{3498A070-2C50-8471-D9A3-15C01C20D3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8" y="2090"/>
                <a:ext cx="22" cy="23"/>
              </a:xfrm>
              <a:custGeom>
                <a:avLst/>
                <a:gdLst>
                  <a:gd name="T0" fmla="*/ 22 w 22"/>
                  <a:gd name="T1" fmla="*/ 11 h 23"/>
                  <a:gd name="T2" fmla="*/ 22 w 22"/>
                  <a:gd name="T3" fmla="*/ 11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1 h 23"/>
                  <a:gd name="T20" fmla="*/ 0 w 22"/>
                  <a:gd name="T21" fmla="*/ 11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1"/>
                    </a:lnTo>
                    <a:close/>
                  </a:path>
                </a:pathLst>
              </a:custGeom>
              <a:solidFill>
                <a:srgbClr val="6A3D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74" name="Freeform 281">
                <a:extLst>
                  <a:ext uri="{FF2B5EF4-FFF2-40B4-BE49-F238E27FC236}">
                    <a16:creationId xmlns:a16="http://schemas.microsoft.com/office/drawing/2014/main" id="{30EA0EC9-1F41-6CC5-C69B-8586BC85E0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8" y="2090"/>
                <a:ext cx="22" cy="23"/>
              </a:xfrm>
              <a:custGeom>
                <a:avLst/>
                <a:gdLst>
                  <a:gd name="T0" fmla="*/ 22 w 22"/>
                  <a:gd name="T1" fmla="*/ 11 h 23"/>
                  <a:gd name="T2" fmla="*/ 22 w 22"/>
                  <a:gd name="T3" fmla="*/ 11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1 h 23"/>
                  <a:gd name="T20" fmla="*/ 0 w 22"/>
                  <a:gd name="T21" fmla="*/ 11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1"/>
                    </a:moveTo>
                    <a:lnTo>
                      <a:pt x="22" y="11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1"/>
                    </a:lnTo>
                  </a:path>
                </a:pathLst>
              </a:custGeom>
              <a:noFill/>
              <a:ln w="9525">
                <a:solidFill>
                  <a:srgbClr val="6A3D9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75" name="Freeform 282">
                <a:extLst>
                  <a:ext uri="{FF2B5EF4-FFF2-40B4-BE49-F238E27FC236}">
                    <a16:creationId xmlns:a16="http://schemas.microsoft.com/office/drawing/2014/main" id="{254F6D1E-B460-E78A-D1A1-275D569077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2647"/>
                <a:ext cx="25" cy="22"/>
              </a:xfrm>
              <a:custGeom>
                <a:avLst/>
                <a:gdLst>
                  <a:gd name="T0" fmla="*/ 25 w 25"/>
                  <a:gd name="T1" fmla="*/ 11 h 22"/>
                  <a:gd name="T2" fmla="*/ 25 w 25"/>
                  <a:gd name="T3" fmla="*/ 11 h 22"/>
                  <a:gd name="T4" fmla="*/ 23 w 25"/>
                  <a:gd name="T5" fmla="*/ 16 h 22"/>
                  <a:gd name="T6" fmla="*/ 21 w 25"/>
                  <a:gd name="T7" fmla="*/ 20 h 22"/>
                  <a:gd name="T8" fmla="*/ 17 w 25"/>
                  <a:gd name="T9" fmla="*/ 22 h 22"/>
                  <a:gd name="T10" fmla="*/ 11 w 25"/>
                  <a:gd name="T11" fmla="*/ 22 h 22"/>
                  <a:gd name="T12" fmla="*/ 8 w 25"/>
                  <a:gd name="T13" fmla="*/ 22 h 22"/>
                  <a:gd name="T14" fmla="*/ 4 w 25"/>
                  <a:gd name="T15" fmla="*/ 20 h 22"/>
                  <a:gd name="T16" fmla="*/ 2 w 25"/>
                  <a:gd name="T17" fmla="*/ 16 h 22"/>
                  <a:gd name="T18" fmla="*/ 0 w 25"/>
                  <a:gd name="T19" fmla="*/ 11 h 22"/>
                  <a:gd name="T20" fmla="*/ 0 w 25"/>
                  <a:gd name="T21" fmla="*/ 11 h 22"/>
                  <a:gd name="T22" fmla="*/ 2 w 25"/>
                  <a:gd name="T23" fmla="*/ 5 h 22"/>
                  <a:gd name="T24" fmla="*/ 4 w 25"/>
                  <a:gd name="T25" fmla="*/ 1 h 22"/>
                  <a:gd name="T26" fmla="*/ 8 w 25"/>
                  <a:gd name="T27" fmla="*/ 0 h 22"/>
                  <a:gd name="T28" fmla="*/ 11 w 25"/>
                  <a:gd name="T29" fmla="*/ 0 h 22"/>
                  <a:gd name="T30" fmla="*/ 17 w 25"/>
                  <a:gd name="T31" fmla="*/ 0 h 22"/>
                  <a:gd name="T32" fmla="*/ 21 w 25"/>
                  <a:gd name="T33" fmla="*/ 1 h 22"/>
                  <a:gd name="T34" fmla="*/ 23 w 25"/>
                  <a:gd name="T35" fmla="*/ 5 h 22"/>
                  <a:gd name="T36" fmla="*/ 25 w 25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2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6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3" y="5"/>
                    </a:lnTo>
                    <a:lnTo>
                      <a:pt x="25" y="11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76" name="Freeform 283">
                <a:extLst>
                  <a:ext uri="{FF2B5EF4-FFF2-40B4-BE49-F238E27FC236}">
                    <a16:creationId xmlns:a16="http://schemas.microsoft.com/office/drawing/2014/main" id="{B5116883-C667-0A64-FD79-59D943278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2647"/>
                <a:ext cx="25" cy="22"/>
              </a:xfrm>
              <a:custGeom>
                <a:avLst/>
                <a:gdLst>
                  <a:gd name="T0" fmla="*/ 25 w 25"/>
                  <a:gd name="T1" fmla="*/ 11 h 22"/>
                  <a:gd name="T2" fmla="*/ 25 w 25"/>
                  <a:gd name="T3" fmla="*/ 11 h 22"/>
                  <a:gd name="T4" fmla="*/ 23 w 25"/>
                  <a:gd name="T5" fmla="*/ 16 h 22"/>
                  <a:gd name="T6" fmla="*/ 21 w 25"/>
                  <a:gd name="T7" fmla="*/ 20 h 22"/>
                  <a:gd name="T8" fmla="*/ 17 w 25"/>
                  <a:gd name="T9" fmla="*/ 22 h 22"/>
                  <a:gd name="T10" fmla="*/ 11 w 25"/>
                  <a:gd name="T11" fmla="*/ 22 h 22"/>
                  <a:gd name="T12" fmla="*/ 8 w 25"/>
                  <a:gd name="T13" fmla="*/ 22 h 22"/>
                  <a:gd name="T14" fmla="*/ 4 w 25"/>
                  <a:gd name="T15" fmla="*/ 20 h 22"/>
                  <a:gd name="T16" fmla="*/ 2 w 25"/>
                  <a:gd name="T17" fmla="*/ 16 h 22"/>
                  <a:gd name="T18" fmla="*/ 0 w 25"/>
                  <a:gd name="T19" fmla="*/ 11 h 22"/>
                  <a:gd name="T20" fmla="*/ 0 w 25"/>
                  <a:gd name="T21" fmla="*/ 11 h 22"/>
                  <a:gd name="T22" fmla="*/ 2 w 25"/>
                  <a:gd name="T23" fmla="*/ 5 h 22"/>
                  <a:gd name="T24" fmla="*/ 4 w 25"/>
                  <a:gd name="T25" fmla="*/ 1 h 22"/>
                  <a:gd name="T26" fmla="*/ 8 w 25"/>
                  <a:gd name="T27" fmla="*/ 0 h 22"/>
                  <a:gd name="T28" fmla="*/ 11 w 25"/>
                  <a:gd name="T29" fmla="*/ 0 h 22"/>
                  <a:gd name="T30" fmla="*/ 17 w 25"/>
                  <a:gd name="T31" fmla="*/ 0 h 22"/>
                  <a:gd name="T32" fmla="*/ 21 w 25"/>
                  <a:gd name="T33" fmla="*/ 1 h 22"/>
                  <a:gd name="T34" fmla="*/ 23 w 25"/>
                  <a:gd name="T35" fmla="*/ 5 h 22"/>
                  <a:gd name="T36" fmla="*/ 25 w 25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2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6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3" y="5"/>
                    </a:lnTo>
                    <a:lnTo>
                      <a:pt x="25" y="11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77" name="Freeform 284">
                <a:extLst>
                  <a:ext uri="{FF2B5EF4-FFF2-40B4-BE49-F238E27FC236}">
                    <a16:creationId xmlns:a16="http://schemas.microsoft.com/office/drawing/2014/main" id="{D3F5B7BB-91CB-EA32-BA0A-C001911404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2528"/>
                <a:ext cx="22" cy="25"/>
              </a:xfrm>
              <a:custGeom>
                <a:avLst/>
                <a:gdLst>
                  <a:gd name="T0" fmla="*/ 22 w 22"/>
                  <a:gd name="T1" fmla="*/ 13 h 25"/>
                  <a:gd name="T2" fmla="*/ 22 w 22"/>
                  <a:gd name="T3" fmla="*/ 13 h 25"/>
                  <a:gd name="T4" fmla="*/ 22 w 22"/>
                  <a:gd name="T5" fmla="*/ 17 h 25"/>
                  <a:gd name="T6" fmla="*/ 18 w 22"/>
                  <a:gd name="T7" fmla="*/ 21 h 25"/>
                  <a:gd name="T8" fmla="*/ 15 w 22"/>
                  <a:gd name="T9" fmla="*/ 23 h 25"/>
                  <a:gd name="T10" fmla="*/ 11 w 22"/>
                  <a:gd name="T11" fmla="*/ 25 h 25"/>
                  <a:gd name="T12" fmla="*/ 7 w 22"/>
                  <a:gd name="T13" fmla="*/ 23 h 25"/>
                  <a:gd name="T14" fmla="*/ 3 w 22"/>
                  <a:gd name="T15" fmla="*/ 21 h 25"/>
                  <a:gd name="T16" fmla="*/ 0 w 22"/>
                  <a:gd name="T17" fmla="*/ 17 h 25"/>
                  <a:gd name="T18" fmla="*/ 0 w 22"/>
                  <a:gd name="T19" fmla="*/ 13 h 25"/>
                  <a:gd name="T20" fmla="*/ 0 w 22"/>
                  <a:gd name="T21" fmla="*/ 13 h 25"/>
                  <a:gd name="T22" fmla="*/ 0 w 22"/>
                  <a:gd name="T23" fmla="*/ 8 h 25"/>
                  <a:gd name="T24" fmla="*/ 3 w 22"/>
                  <a:gd name="T25" fmla="*/ 4 h 25"/>
                  <a:gd name="T26" fmla="*/ 7 w 22"/>
                  <a:gd name="T27" fmla="*/ 2 h 25"/>
                  <a:gd name="T28" fmla="*/ 11 w 22"/>
                  <a:gd name="T29" fmla="*/ 0 h 25"/>
                  <a:gd name="T30" fmla="*/ 15 w 22"/>
                  <a:gd name="T31" fmla="*/ 2 h 25"/>
                  <a:gd name="T32" fmla="*/ 18 w 22"/>
                  <a:gd name="T33" fmla="*/ 4 h 25"/>
                  <a:gd name="T34" fmla="*/ 22 w 22"/>
                  <a:gd name="T35" fmla="*/ 8 h 25"/>
                  <a:gd name="T36" fmla="*/ 22 w 22"/>
                  <a:gd name="T37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5">
                    <a:moveTo>
                      <a:pt x="22" y="13"/>
                    </a:moveTo>
                    <a:lnTo>
                      <a:pt x="22" y="13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5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2" y="13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78" name="Freeform 285">
                <a:extLst>
                  <a:ext uri="{FF2B5EF4-FFF2-40B4-BE49-F238E27FC236}">
                    <a16:creationId xmlns:a16="http://schemas.microsoft.com/office/drawing/2014/main" id="{2EC10B28-4500-0F85-419B-538022784F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2528"/>
                <a:ext cx="22" cy="25"/>
              </a:xfrm>
              <a:custGeom>
                <a:avLst/>
                <a:gdLst>
                  <a:gd name="T0" fmla="*/ 22 w 22"/>
                  <a:gd name="T1" fmla="*/ 13 h 25"/>
                  <a:gd name="T2" fmla="*/ 22 w 22"/>
                  <a:gd name="T3" fmla="*/ 13 h 25"/>
                  <a:gd name="T4" fmla="*/ 22 w 22"/>
                  <a:gd name="T5" fmla="*/ 17 h 25"/>
                  <a:gd name="T6" fmla="*/ 18 w 22"/>
                  <a:gd name="T7" fmla="*/ 21 h 25"/>
                  <a:gd name="T8" fmla="*/ 15 w 22"/>
                  <a:gd name="T9" fmla="*/ 23 h 25"/>
                  <a:gd name="T10" fmla="*/ 11 w 22"/>
                  <a:gd name="T11" fmla="*/ 25 h 25"/>
                  <a:gd name="T12" fmla="*/ 7 w 22"/>
                  <a:gd name="T13" fmla="*/ 23 h 25"/>
                  <a:gd name="T14" fmla="*/ 3 w 22"/>
                  <a:gd name="T15" fmla="*/ 21 h 25"/>
                  <a:gd name="T16" fmla="*/ 0 w 22"/>
                  <a:gd name="T17" fmla="*/ 17 h 25"/>
                  <a:gd name="T18" fmla="*/ 0 w 22"/>
                  <a:gd name="T19" fmla="*/ 13 h 25"/>
                  <a:gd name="T20" fmla="*/ 0 w 22"/>
                  <a:gd name="T21" fmla="*/ 13 h 25"/>
                  <a:gd name="T22" fmla="*/ 0 w 22"/>
                  <a:gd name="T23" fmla="*/ 8 h 25"/>
                  <a:gd name="T24" fmla="*/ 3 w 22"/>
                  <a:gd name="T25" fmla="*/ 4 h 25"/>
                  <a:gd name="T26" fmla="*/ 7 w 22"/>
                  <a:gd name="T27" fmla="*/ 2 h 25"/>
                  <a:gd name="T28" fmla="*/ 11 w 22"/>
                  <a:gd name="T29" fmla="*/ 0 h 25"/>
                  <a:gd name="T30" fmla="*/ 15 w 22"/>
                  <a:gd name="T31" fmla="*/ 2 h 25"/>
                  <a:gd name="T32" fmla="*/ 18 w 22"/>
                  <a:gd name="T33" fmla="*/ 4 h 25"/>
                  <a:gd name="T34" fmla="*/ 22 w 22"/>
                  <a:gd name="T35" fmla="*/ 8 h 25"/>
                  <a:gd name="T36" fmla="*/ 22 w 22"/>
                  <a:gd name="T37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5">
                    <a:moveTo>
                      <a:pt x="22" y="13"/>
                    </a:moveTo>
                    <a:lnTo>
                      <a:pt x="22" y="13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5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2" y="13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79" name="Freeform 286">
                <a:extLst>
                  <a:ext uri="{FF2B5EF4-FFF2-40B4-BE49-F238E27FC236}">
                    <a16:creationId xmlns:a16="http://schemas.microsoft.com/office/drawing/2014/main" id="{A9369FCA-8A05-6BB5-37DD-FEC2FA909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2530"/>
                <a:ext cx="23" cy="23"/>
              </a:xfrm>
              <a:custGeom>
                <a:avLst/>
                <a:gdLst>
                  <a:gd name="T0" fmla="*/ 23 w 23"/>
                  <a:gd name="T1" fmla="*/ 11 h 23"/>
                  <a:gd name="T2" fmla="*/ 23 w 23"/>
                  <a:gd name="T3" fmla="*/ 11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2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1 h 23"/>
                  <a:gd name="T20" fmla="*/ 0 w 23"/>
                  <a:gd name="T21" fmla="*/ 11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2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80" name="Freeform 287">
                <a:extLst>
                  <a:ext uri="{FF2B5EF4-FFF2-40B4-BE49-F238E27FC236}">
                    <a16:creationId xmlns:a16="http://schemas.microsoft.com/office/drawing/2014/main" id="{48E1AEF0-A8E6-3851-4BDA-9FDB027B50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2530"/>
                <a:ext cx="23" cy="23"/>
              </a:xfrm>
              <a:custGeom>
                <a:avLst/>
                <a:gdLst>
                  <a:gd name="T0" fmla="*/ 23 w 23"/>
                  <a:gd name="T1" fmla="*/ 11 h 23"/>
                  <a:gd name="T2" fmla="*/ 23 w 23"/>
                  <a:gd name="T3" fmla="*/ 11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2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1 h 23"/>
                  <a:gd name="T20" fmla="*/ 0 w 23"/>
                  <a:gd name="T21" fmla="*/ 11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2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81" name="Freeform 288">
                <a:extLst>
                  <a:ext uri="{FF2B5EF4-FFF2-40B4-BE49-F238E27FC236}">
                    <a16:creationId xmlns:a16="http://schemas.microsoft.com/office/drawing/2014/main" id="{300F190D-AA75-60A4-7B9F-D2B971A640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2647"/>
                <a:ext cx="23" cy="22"/>
              </a:xfrm>
              <a:custGeom>
                <a:avLst/>
                <a:gdLst>
                  <a:gd name="T0" fmla="*/ 23 w 23"/>
                  <a:gd name="T1" fmla="*/ 11 h 22"/>
                  <a:gd name="T2" fmla="*/ 23 w 23"/>
                  <a:gd name="T3" fmla="*/ 11 h 22"/>
                  <a:gd name="T4" fmla="*/ 21 w 23"/>
                  <a:gd name="T5" fmla="*/ 16 h 22"/>
                  <a:gd name="T6" fmla="*/ 19 w 23"/>
                  <a:gd name="T7" fmla="*/ 20 h 22"/>
                  <a:gd name="T8" fmla="*/ 15 w 23"/>
                  <a:gd name="T9" fmla="*/ 22 h 22"/>
                  <a:gd name="T10" fmla="*/ 11 w 23"/>
                  <a:gd name="T11" fmla="*/ 22 h 22"/>
                  <a:gd name="T12" fmla="*/ 6 w 23"/>
                  <a:gd name="T13" fmla="*/ 22 h 22"/>
                  <a:gd name="T14" fmla="*/ 2 w 23"/>
                  <a:gd name="T15" fmla="*/ 20 h 22"/>
                  <a:gd name="T16" fmla="*/ 0 w 23"/>
                  <a:gd name="T17" fmla="*/ 16 h 22"/>
                  <a:gd name="T18" fmla="*/ 0 w 23"/>
                  <a:gd name="T19" fmla="*/ 11 h 22"/>
                  <a:gd name="T20" fmla="*/ 0 w 23"/>
                  <a:gd name="T21" fmla="*/ 11 h 22"/>
                  <a:gd name="T22" fmla="*/ 0 w 23"/>
                  <a:gd name="T23" fmla="*/ 5 h 22"/>
                  <a:gd name="T24" fmla="*/ 2 w 23"/>
                  <a:gd name="T25" fmla="*/ 1 h 22"/>
                  <a:gd name="T26" fmla="*/ 6 w 23"/>
                  <a:gd name="T27" fmla="*/ 0 h 22"/>
                  <a:gd name="T28" fmla="*/ 11 w 23"/>
                  <a:gd name="T29" fmla="*/ 0 h 22"/>
                  <a:gd name="T30" fmla="*/ 15 w 23"/>
                  <a:gd name="T31" fmla="*/ 0 h 22"/>
                  <a:gd name="T32" fmla="*/ 19 w 23"/>
                  <a:gd name="T33" fmla="*/ 1 h 22"/>
                  <a:gd name="T34" fmla="*/ 21 w 23"/>
                  <a:gd name="T35" fmla="*/ 5 h 22"/>
                  <a:gd name="T36" fmla="*/ 23 w 23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2">
                    <a:moveTo>
                      <a:pt x="23" y="11"/>
                    </a:moveTo>
                    <a:lnTo>
                      <a:pt x="23" y="11"/>
                    </a:lnTo>
                    <a:lnTo>
                      <a:pt x="21" y="16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1" y="22"/>
                    </a:lnTo>
                    <a:lnTo>
                      <a:pt x="6" y="22"/>
                    </a:lnTo>
                    <a:lnTo>
                      <a:pt x="2" y="20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1"/>
                    </a:lnTo>
                    <a:lnTo>
                      <a:pt x="21" y="5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82" name="Freeform 289">
                <a:extLst>
                  <a:ext uri="{FF2B5EF4-FFF2-40B4-BE49-F238E27FC236}">
                    <a16:creationId xmlns:a16="http://schemas.microsoft.com/office/drawing/2014/main" id="{1E7F027C-7ADE-6F79-2088-AC1E907B9D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2647"/>
                <a:ext cx="23" cy="22"/>
              </a:xfrm>
              <a:custGeom>
                <a:avLst/>
                <a:gdLst>
                  <a:gd name="T0" fmla="*/ 23 w 23"/>
                  <a:gd name="T1" fmla="*/ 11 h 22"/>
                  <a:gd name="T2" fmla="*/ 23 w 23"/>
                  <a:gd name="T3" fmla="*/ 11 h 22"/>
                  <a:gd name="T4" fmla="*/ 21 w 23"/>
                  <a:gd name="T5" fmla="*/ 16 h 22"/>
                  <a:gd name="T6" fmla="*/ 19 w 23"/>
                  <a:gd name="T7" fmla="*/ 20 h 22"/>
                  <a:gd name="T8" fmla="*/ 15 w 23"/>
                  <a:gd name="T9" fmla="*/ 22 h 22"/>
                  <a:gd name="T10" fmla="*/ 11 w 23"/>
                  <a:gd name="T11" fmla="*/ 22 h 22"/>
                  <a:gd name="T12" fmla="*/ 6 w 23"/>
                  <a:gd name="T13" fmla="*/ 22 h 22"/>
                  <a:gd name="T14" fmla="*/ 2 w 23"/>
                  <a:gd name="T15" fmla="*/ 20 h 22"/>
                  <a:gd name="T16" fmla="*/ 0 w 23"/>
                  <a:gd name="T17" fmla="*/ 16 h 22"/>
                  <a:gd name="T18" fmla="*/ 0 w 23"/>
                  <a:gd name="T19" fmla="*/ 11 h 22"/>
                  <a:gd name="T20" fmla="*/ 0 w 23"/>
                  <a:gd name="T21" fmla="*/ 11 h 22"/>
                  <a:gd name="T22" fmla="*/ 0 w 23"/>
                  <a:gd name="T23" fmla="*/ 5 h 22"/>
                  <a:gd name="T24" fmla="*/ 2 w 23"/>
                  <a:gd name="T25" fmla="*/ 1 h 22"/>
                  <a:gd name="T26" fmla="*/ 6 w 23"/>
                  <a:gd name="T27" fmla="*/ 0 h 22"/>
                  <a:gd name="T28" fmla="*/ 11 w 23"/>
                  <a:gd name="T29" fmla="*/ 0 h 22"/>
                  <a:gd name="T30" fmla="*/ 15 w 23"/>
                  <a:gd name="T31" fmla="*/ 0 h 22"/>
                  <a:gd name="T32" fmla="*/ 19 w 23"/>
                  <a:gd name="T33" fmla="*/ 1 h 22"/>
                  <a:gd name="T34" fmla="*/ 21 w 23"/>
                  <a:gd name="T35" fmla="*/ 5 h 22"/>
                  <a:gd name="T36" fmla="*/ 23 w 23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2">
                    <a:moveTo>
                      <a:pt x="23" y="11"/>
                    </a:moveTo>
                    <a:lnTo>
                      <a:pt x="23" y="11"/>
                    </a:lnTo>
                    <a:lnTo>
                      <a:pt x="21" y="16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1" y="22"/>
                    </a:lnTo>
                    <a:lnTo>
                      <a:pt x="6" y="22"/>
                    </a:lnTo>
                    <a:lnTo>
                      <a:pt x="2" y="20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1"/>
                    </a:lnTo>
                    <a:lnTo>
                      <a:pt x="21" y="5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83" name="Freeform 290">
                <a:extLst>
                  <a:ext uri="{FF2B5EF4-FFF2-40B4-BE49-F238E27FC236}">
                    <a16:creationId xmlns:a16="http://schemas.microsoft.com/office/drawing/2014/main" id="{29DF145A-781C-213E-1EF2-24E774E8C2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" y="2647"/>
                <a:ext cx="25" cy="22"/>
              </a:xfrm>
              <a:custGeom>
                <a:avLst/>
                <a:gdLst>
                  <a:gd name="T0" fmla="*/ 25 w 25"/>
                  <a:gd name="T1" fmla="*/ 11 h 22"/>
                  <a:gd name="T2" fmla="*/ 25 w 25"/>
                  <a:gd name="T3" fmla="*/ 11 h 22"/>
                  <a:gd name="T4" fmla="*/ 23 w 25"/>
                  <a:gd name="T5" fmla="*/ 16 h 22"/>
                  <a:gd name="T6" fmla="*/ 21 w 25"/>
                  <a:gd name="T7" fmla="*/ 20 h 22"/>
                  <a:gd name="T8" fmla="*/ 17 w 25"/>
                  <a:gd name="T9" fmla="*/ 22 h 22"/>
                  <a:gd name="T10" fmla="*/ 13 w 25"/>
                  <a:gd name="T11" fmla="*/ 22 h 22"/>
                  <a:gd name="T12" fmla="*/ 8 w 25"/>
                  <a:gd name="T13" fmla="*/ 22 h 22"/>
                  <a:gd name="T14" fmla="*/ 4 w 25"/>
                  <a:gd name="T15" fmla="*/ 20 h 22"/>
                  <a:gd name="T16" fmla="*/ 2 w 25"/>
                  <a:gd name="T17" fmla="*/ 16 h 22"/>
                  <a:gd name="T18" fmla="*/ 0 w 25"/>
                  <a:gd name="T19" fmla="*/ 11 h 22"/>
                  <a:gd name="T20" fmla="*/ 0 w 25"/>
                  <a:gd name="T21" fmla="*/ 11 h 22"/>
                  <a:gd name="T22" fmla="*/ 2 w 25"/>
                  <a:gd name="T23" fmla="*/ 5 h 22"/>
                  <a:gd name="T24" fmla="*/ 4 w 25"/>
                  <a:gd name="T25" fmla="*/ 1 h 22"/>
                  <a:gd name="T26" fmla="*/ 8 w 25"/>
                  <a:gd name="T27" fmla="*/ 0 h 22"/>
                  <a:gd name="T28" fmla="*/ 13 w 25"/>
                  <a:gd name="T29" fmla="*/ 0 h 22"/>
                  <a:gd name="T30" fmla="*/ 17 w 25"/>
                  <a:gd name="T31" fmla="*/ 0 h 22"/>
                  <a:gd name="T32" fmla="*/ 21 w 25"/>
                  <a:gd name="T33" fmla="*/ 1 h 22"/>
                  <a:gd name="T34" fmla="*/ 23 w 25"/>
                  <a:gd name="T35" fmla="*/ 5 h 22"/>
                  <a:gd name="T36" fmla="*/ 25 w 25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2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6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3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3" y="5"/>
                    </a:lnTo>
                    <a:lnTo>
                      <a:pt x="25" y="11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84" name="Freeform 291">
                <a:extLst>
                  <a:ext uri="{FF2B5EF4-FFF2-40B4-BE49-F238E27FC236}">
                    <a16:creationId xmlns:a16="http://schemas.microsoft.com/office/drawing/2014/main" id="{CA420A4F-9988-1086-1239-6D83883480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" y="2647"/>
                <a:ext cx="25" cy="22"/>
              </a:xfrm>
              <a:custGeom>
                <a:avLst/>
                <a:gdLst>
                  <a:gd name="T0" fmla="*/ 25 w 25"/>
                  <a:gd name="T1" fmla="*/ 11 h 22"/>
                  <a:gd name="T2" fmla="*/ 25 w 25"/>
                  <a:gd name="T3" fmla="*/ 11 h 22"/>
                  <a:gd name="T4" fmla="*/ 23 w 25"/>
                  <a:gd name="T5" fmla="*/ 16 h 22"/>
                  <a:gd name="T6" fmla="*/ 21 w 25"/>
                  <a:gd name="T7" fmla="*/ 20 h 22"/>
                  <a:gd name="T8" fmla="*/ 17 w 25"/>
                  <a:gd name="T9" fmla="*/ 22 h 22"/>
                  <a:gd name="T10" fmla="*/ 13 w 25"/>
                  <a:gd name="T11" fmla="*/ 22 h 22"/>
                  <a:gd name="T12" fmla="*/ 8 w 25"/>
                  <a:gd name="T13" fmla="*/ 22 h 22"/>
                  <a:gd name="T14" fmla="*/ 4 w 25"/>
                  <a:gd name="T15" fmla="*/ 20 h 22"/>
                  <a:gd name="T16" fmla="*/ 2 w 25"/>
                  <a:gd name="T17" fmla="*/ 16 h 22"/>
                  <a:gd name="T18" fmla="*/ 0 w 25"/>
                  <a:gd name="T19" fmla="*/ 11 h 22"/>
                  <a:gd name="T20" fmla="*/ 0 w 25"/>
                  <a:gd name="T21" fmla="*/ 11 h 22"/>
                  <a:gd name="T22" fmla="*/ 2 w 25"/>
                  <a:gd name="T23" fmla="*/ 5 h 22"/>
                  <a:gd name="T24" fmla="*/ 4 w 25"/>
                  <a:gd name="T25" fmla="*/ 1 h 22"/>
                  <a:gd name="T26" fmla="*/ 8 w 25"/>
                  <a:gd name="T27" fmla="*/ 0 h 22"/>
                  <a:gd name="T28" fmla="*/ 13 w 25"/>
                  <a:gd name="T29" fmla="*/ 0 h 22"/>
                  <a:gd name="T30" fmla="*/ 17 w 25"/>
                  <a:gd name="T31" fmla="*/ 0 h 22"/>
                  <a:gd name="T32" fmla="*/ 21 w 25"/>
                  <a:gd name="T33" fmla="*/ 1 h 22"/>
                  <a:gd name="T34" fmla="*/ 23 w 25"/>
                  <a:gd name="T35" fmla="*/ 5 h 22"/>
                  <a:gd name="T36" fmla="*/ 25 w 25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2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6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3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3" y="5"/>
                    </a:lnTo>
                    <a:lnTo>
                      <a:pt x="25" y="11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85" name="Freeform 292">
                <a:extLst>
                  <a:ext uri="{FF2B5EF4-FFF2-40B4-BE49-F238E27FC236}">
                    <a16:creationId xmlns:a16="http://schemas.microsoft.com/office/drawing/2014/main" id="{048CA928-3F3A-881D-F43F-8DFC0DDC46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" y="2647"/>
                <a:ext cx="24" cy="22"/>
              </a:xfrm>
              <a:custGeom>
                <a:avLst/>
                <a:gdLst>
                  <a:gd name="T0" fmla="*/ 24 w 24"/>
                  <a:gd name="T1" fmla="*/ 11 h 22"/>
                  <a:gd name="T2" fmla="*/ 24 w 24"/>
                  <a:gd name="T3" fmla="*/ 11 h 22"/>
                  <a:gd name="T4" fmla="*/ 22 w 24"/>
                  <a:gd name="T5" fmla="*/ 16 h 22"/>
                  <a:gd name="T6" fmla="*/ 20 w 24"/>
                  <a:gd name="T7" fmla="*/ 20 h 22"/>
                  <a:gd name="T8" fmla="*/ 17 w 24"/>
                  <a:gd name="T9" fmla="*/ 22 h 22"/>
                  <a:gd name="T10" fmla="*/ 11 w 24"/>
                  <a:gd name="T11" fmla="*/ 22 h 22"/>
                  <a:gd name="T12" fmla="*/ 7 w 24"/>
                  <a:gd name="T13" fmla="*/ 22 h 22"/>
                  <a:gd name="T14" fmla="*/ 3 w 24"/>
                  <a:gd name="T15" fmla="*/ 20 h 22"/>
                  <a:gd name="T16" fmla="*/ 2 w 24"/>
                  <a:gd name="T17" fmla="*/ 16 h 22"/>
                  <a:gd name="T18" fmla="*/ 0 w 24"/>
                  <a:gd name="T19" fmla="*/ 11 h 22"/>
                  <a:gd name="T20" fmla="*/ 0 w 24"/>
                  <a:gd name="T21" fmla="*/ 11 h 22"/>
                  <a:gd name="T22" fmla="*/ 2 w 24"/>
                  <a:gd name="T23" fmla="*/ 5 h 22"/>
                  <a:gd name="T24" fmla="*/ 3 w 24"/>
                  <a:gd name="T25" fmla="*/ 1 h 22"/>
                  <a:gd name="T26" fmla="*/ 7 w 24"/>
                  <a:gd name="T27" fmla="*/ 0 h 22"/>
                  <a:gd name="T28" fmla="*/ 11 w 24"/>
                  <a:gd name="T29" fmla="*/ 0 h 22"/>
                  <a:gd name="T30" fmla="*/ 17 w 24"/>
                  <a:gd name="T31" fmla="*/ 0 h 22"/>
                  <a:gd name="T32" fmla="*/ 20 w 24"/>
                  <a:gd name="T33" fmla="*/ 1 h 22"/>
                  <a:gd name="T34" fmla="*/ 22 w 24"/>
                  <a:gd name="T35" fmla="*/ 5 h 22"/>
                  <a:gd name="T36" fmla="*/ 24 w 24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2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6"/>
                    </a:lnTo>
                    <a:lnTo>
                      <a:pt x="20" y="20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3" y="1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1"/>
                    </a:lnTo>
                    <a:lnTo>
                      <a:pt x="22" y="5"/>
                    </a:lnTo>
                    <a:lnTo>
                      <a:pt x="24" y="11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86" name="Freeform 293">
                <a:extLst>
                  <a:ext uri="{FF2B5EF4-FFF2-40B4-BE49-F238E27FC236}">
                    <a16:creationId xmlns:a16="http://schemas.microsoft.com/office/drawing/2014/main" id="{D9B893D8-94EA-072A-335E-FA03C93BA0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" y="2647"/>
                <a:ext cx="24" cy="22"/>
              </a:xfrm>
              <a:custGeom>
                <a:avLst/>
                <a:gdLst>
                  <a:gd name="T0" fmla="*/ 24 w 24"/>
                  <a:gd name="T1" fmla="*/ 11 h 22"/>
                  <a:gd name="T2" fmla="*/ 24 w 24"/>
                  <a:gd name="T3" fmla="*/ 11 h 22"/>
                  <a:gd name="T4" fmla="*/ 22 w 24"/>
                  <a:gd name="T5" fmla="*/ 16 h 22"/>
                  <a:gd name="T6" fmla="*/ 20 w 24"/>
                  <a:gd name="T7" fmla="*/ 20 h 22"/>
                  <a:gd name="T8" fmla="*/ 17 w 24"/>
                  <a:gd name="T9" fmla="*/ 22 h 22"/>
                  <a:gd name="T10" fmla="*/ 11 w 24"/>
                  <a:gd name="T11" fmla="*/ 22 h 22"/>
                  <a:gd name="T12" fmla="*/ 7 w 24"/>
                  <a:gd name="T13" fmla="*/ 22 h 22"/>
                  <a:gd name="T14" fmla="*/ 3 w 24"/>
                  <a:gd name="T15" fmla="*/ 20 h 22"/>
                  <a:gd name="T16" fmla="*/ 2 w 24"/>
                  <a:gd name="T17" fmla="*/ 16 h 22"/>
                  <a:gd name="T18" fmla="*/ 0 w 24"/>
                  <a:gd name="T19" fmla="*/ 11 h 22"/>
                  <a:gd name="T20" fmla="*/ 0 w 24"/>
                  <a:gd name="T21" fmla="*/ 11 h 22"/>
                  <a:gd name="T22" fmla="*/ 2 w 24"/>
                  <a:gd name="T23" fmla="*/ 5 h 22"/>
                  <a:gd name="T24" fmla="*/ 3 w 24"/>
                  <a:gd name="T25" fmla="*/ 1 h 22"/>
                  <a:gd name="T26" fmla="*/ 7 w 24"/>
                  <a:gd name="T27" fmla="*/ 0 h 22"/>
                  <a:gd name="T28" fmla="*/ 11 w 24"/>
                  <a:gd name="T29" fmla="*/ 0 h 22"/>
                  <a:gd name="T30" fmla="*/ 17 w 24"/>
                  <a:gd name="T31" fmla="*/ 0 h 22"/>
                  <a:gd name="T32" fmla="*/ 20 w 24"/>
                  <a:gd name="T33" fmla="*/ 1 h 22"/>
                  <a:gd name="T34" fmla="*/ 22 w 24"/>
                  <a:gd name="T35" fmla="*/ 5 h 22"/>
                  <a:gd name="T36" fmla="*/ 24 w 24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2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6"/>
                    </a:lnTo>
                    <a:lnTo>
                      <a:pt x="20" y="20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7" y="22"/>
                    </a:lnTo>
                    <a:lnTo>
                      <a:pt x="3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3" y="1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1"/>
                    </a:lnTo>
                    <a:lnTo>
                      <a:pt x="22" y="5"/>
                    </a:lnTo>
                    <a:lnTo>
                      <a:pt x="24" y="11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87" name="Freeform 294">
                <a:extLst>
                  <a:ext uri="{FF2B5EF4-FFF2-40B4-BE49-F238E27FC236}">
                    <a16:creationId xmlns:a16="http://schemas.microsoft.com/office/drawing/2014/main" id="{4712ED0C-3A97-A138-819D-524A7A2614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2438"/>
                <a:ext cx="23" cy="24"/>
              </a:xfrm>
              <a:custGeom>
                <a:avLst/>
                <a:gdLst>
                  <a:gd name="T0" fmla="*/ 23 w 23"/>
                  <a:gd name="T1" fmla="*/ 11 h 24"/>
                  <a:gd name="T2" fmla="*/ 23 w 23"/>
                  <a:gd name="T3" fmla="*/ 11 h 24"/>
                  <a:gd name="T4" fmla="*/ 23 w 23"/>
                  <a:gd name="T5" fmla="*/ 17 h 24"/>
                  <a:gd name="T6" fmla="*/ 19 w 23"/>
                  <a:gd name="T7" fmla="*/ 21 h 24"/>
                  <a:gd name="T8" fmla="*/ 15 w 23"/>
                  <a:gd name="T9" fmla="*/ 22 h 24"/>
                  <a:gd name="T10" fmla="*/ 11 w 23"/>
                  <a:gd name="T11" fmla="*/ 24 h 24"/>
                  <a:gd name="T12" fmla="*/ 8 w 23"/>
                  <a:gd name="T13" fmla="*/ 22 h 24"/>
                  <a:gd name="T14" fmla="*/ 4 w 23"/>
                  <a:gd name="T15" fmla="*/ 21 h 24"/>
                  <a:gd name="T16" fmla="*/ 0 w 23"/>
                  <a:gd name="T17" fmla="*/ 17 h 24"/>
                  <a:gd name="T18" fmla="*/ 0 w 23"/>
                  <a:gd name="T19" fmla="*/ 11 h 24"/>
                  <a:gd name="T20" fmla="*/ 0 w 23"/>
                  <a:gd name="T21" fmla="*/ 11 h 24"/>
                  <a:gd name="T22" fmla="*/ 0 w 23"/>
                  <a:gd name="T23" fmla="*/ 7 h 24"/>
                  <a:gd name="T24" fmla="*/ 4 w 23"/>
                  <a:gd name="T25" fmla="*/ 4 h 24"/>
                  <a:gd name="T26" fmla="*/ 8 w 23"/>
                  <a:gd name="T27" fmla="*/ 2 h 24"/>
                  <a:gd name="T28" fmla="*/ 11 w 23"/>
                  <a:gd name="T29" fmla="*/ 0 h 24"/>
                  <a:gd name="T30" fmla="*/ 15 w 23"/>
                  <a:gd name="T31" fmla="*/ 2 h 24"/>
                  <a:gd name="T32" fmla="*/ 19 w 23"/>
                  <a:gd name="T33" fmla="*/ 4 h 24"/>
                  <a:gd name="T34" fmla="*/ 23 w 23"/>
                  <a:gd name="T35" fmla="*/ 7 h 24"/>
                  <a:gd name="T36" fmla="*/ 23 w 23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8" y="22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88" name="Freeform 295">
                <a:extLst>
                  <a:ext uri="{FF2B5EF4-FFF2-40B4-BE49-F238E27FC236}">
                    <a16:creationId xmlns:a16="http://schemas.microsoft.com/office/drawing/2014/main" id="{BD65A7C7-7FEC-ACBF-F62A-673A065706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2438"/>
                <a:ext cx="23" cy="24"/>
              </a:xfrm>
              <a:custGeom>
                <a:avLst/>
                <a:gdLst>
                  <a:gd name="T0" fmla="*/ 23 w 23"/>
                  <a:gd name="T1" fmla="*/ 11 h 24"/>
                  <a:gd name="T2" fmla="*/ 23 w 23"/>
                  <a:gd name="T3" fmla="*/ 11 h 24"/>
                  <a:gd name="T4" fmla="*/ 23 w 23"/>
                  <a:gd name="T5" fmla="*/ 17 h 24"/>
                  <a:gd name="T6" fmla="*/ 19 w 23"/>
                  <a:gd name="T7" fmla="*/ 21 h 24"/>
                  <a:gd name="T8" fmla="*/ 15 w 23"/>
                  <a:gd name="T9" fmla="*/ 22 h 24"/>
                  <a:gd name="T10" fmla="*/ 11 w 23"/>
                  <a:gd name="T11" fmla="*/ 24 h 24"/>
                  <a:gd name="T12" fmla="*/ 8 w 23"/>
                  <a:gd name="T13" fmla="*/ 22 h 24"/>
                  <a:gd name="T14" fmla="*/ 4 w 23"/>
                  <a:gd name="T15" fmla="*/ 21 h 24"/>
                  <a:gd name="T16" fmla="*/ 0 w 23"/>
                  <a:gd name="T17" fmla="*/ 17 h 24"/>
                  <a:gd name="T18" fmla="*/ 0 w 23"/>
                  <a:gd name="T19" fmla="*/ 11 h 24"/>
                  <a:gd name="T20" fmla="*/ 0 w 23"/>
                  <a:gd name="T21" fmla="*/ 11 h 24"/>
                  <a:gd name="T22" fmla="*/ 0 w 23"/>
                  <a:gd name="T23" fmla="*/ 7 h 24"/>
                  <a:gd name="T24" fmla="*/ 4 w 23"/>
                  <a:gd name="T25" fmla="*/ 4 h 24"/>
                  <a:gd name="T26" fmla="*/ 8 w 23"/>
                  <a:gd name="T27" fmla="*/ 2 h 24"/>
                  <a:gd name="T28" fmla="*/ 11 w 23"/>
                  <a:gd name="T29" fmla="*/ 0 h 24"/>
                  <a:gd name="T30" fmla="*/ 15 w 23"/>
                  <a:gd name="T31" fmla="*/ 2 h 24"/>
                  <a:gd name="T32" fmla="*/ 19 w 23"/>
                  <a:gd name="T33" fmla="*/ 4 h 24"/>
                  <a:gd name="T34" fmla="*/ 23 w 23"/>
                  <a:gd name="T35" fmla="*/ 7 h 24"/>
                  <a:gd name="T36" fmla="*/ 23 w 23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8" y="22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7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89" name="Freeform 296">
                <a:extLst>
                  <a:ext uri="{FF2B5EF4-FFF2-40B4-BE49-F238E27FC236}">
                    <a16:creationId xmlns:a16="http://schemas.microsoft.com/office/drawing/2014/main" id="{16A0A362-AABF-1764-029E-93775B1829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1" y="2647"/>
                <a:ext cx="24" cy="22"/>
              </a:xfrm>
              <a:custGeom>
                <a:avLst/>
                <a:gdLst>
                  <a:gd name="T0" fmla="*/ 24 w 24"/>
                  <a:gd name="T1" fmla="*/ 11 h 22"/>
                  <a:gd name="T2" fmla="*/ 24 w 24"/>
                  <a:gd name="T3" fmla="*/ 11 h 22"/>
                  <a:gd name="T4" fmla="*/ 22 w 24"/>
                  <a:gd name="T5" fmla="*/ 16 h 22"/>
                  <a:gd name="T6" fmla="*/ 21 w 24"/>
                  <a:gd name="T7" fmla="*/ 20 h 22"/>
                  <a:gd name="T8" fmla="*/ 17 w 24"/>
                  <a:gd name="T9" fmla="*/ 22 h 22"/>
                  <a:gd name="T10" fmla="*/ 13 w 24"/>
                  <a:gd name="T11" fmla="*/ 22 h 22"/>
                  <a:gd name="T12" fmla="*/ 7 w 24"/>
                  <a:gd name="T13" fmla="*/ 22 h 22"/>
                  <a:gd name="T14" fmla="*/ 4 w 24"/>
                  <a:gd name="T15" fmla="*/ 20 h 22"/>
                  <a:gd name="T16" fmla="*/ 2 w 24"/>
                  <a:gd name="T17" fmla="*/ 16 h 22"/>
                  <a:gd name="T18" fmla="*/ 0 w 24"/>
                  <a:gd name="T19" fmla="*/ 11 h 22"/>
                  <a:gd name="T20" fmla="*/ 0 w 24"/>
                  <a:gd name="T21" fmla="*/ 11 h 22"/>
                  <a:gd name="T22" fmla="*/ 2 w 24"/>
                  <a:gd name="T23" fmla="*/ 5 h 22"/>
                  <a:gd name="T24" fmla="*/ 4 w 24"/>
                  <a:gd name="T25" fmla="*/ 1 h 22"/>
                  <a:gd name="T26" fmla="*/ 7 w 24"/>
                  <a:gd name="T27" fmla="*/ 0 h 22"/>
                  <a:gd name="T28" fmla="*/ 13 w 24"/>
                  <a:gd name="T29" fmla="*/ 0 h 22"/>
                  <a:gd name="T30" fmla="*/ 17 w 24"/>
                  <a:gd name="T31" fmla="*/ 0 h 22"/>
                  <a:gd name="T32" fmla="*/ 21 w 24"/>
                  <a:gd name="T33" fmla="*/ 1 h 22"/>
                  <a:gd name="T34" fmla="*/ 22 w 24"/>
                  <a:gd name="T35" fmla="*/ 5 h 22"/>
                  <a:gd name="T36" fmla="*/ 24 w 24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2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6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3" y="22"/>
                    </a:lnTo>
                    <a:lnTo>
                      <a:pt x="7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2" y="5"/>
                    </a:lnTo>
                    <a:lnTo>
                      <a:pt x="24" y="11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90" name="Freeform 297">
                <a:extLst>
                  <a:ext uri="{FF2B5EF4-FFF2-40B4-BE49-F238E27FC236}">
                    <a16:creationId xmlns:a16="http://schemas.microsoft.com/office/drawing/2014/main" id="{CCA5B762-29CE-7FE7-1A92-5D93BD65CD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1" y="2647"/>
                <a:ext cx="24" cy="22"/>
              </a:xfrm>
              <a:custGeom>
                <a:avLst/>
                <a:gdLst>
                  <a:gd name="T0" fmla="*/ 24 w 24"/>
                  <a:gd name="T1" fmla="*/ 11 h 22"/>
                  <a:gd name="T2" fmla="*/ 24 w 24"/>
                  <a:gd name="T3" fmla="*/ 11 h 22"/>
                  <a:gd name="T4" fmla="*/ 22 w 24"/>
                  <a:gd name="T5" fmla="*/ 16 h 22"/>
                  <a:gd name="T6" fmla="*/ 21 w 24"/>
                  <a:gd name="T7" fmla="*/ 20 h 22"/>
                  <a:gd name="T8" fmla="*/ 17 w 24"/>
                  <a:gd name="T9" fmla="*/ 22 h 22"/>
                  <a:gd name="T10" fmla="*/ 13 w 24"/>
                  <a:gd name="T11" fmla="*/ 22 h 22"/>
                  <a:gd name="T12" fmla="*/ 7 w 24"/>
                  <a:gd name="T13" fmla="*/ 22 h 22"/>
                  <a:gd name="T14" fmla="*/ 4 w 24"/>
                  <a:gd name="T15" fmla="*/ 20 h 22"/>
                  <a:gd name="T16" fmla="*/ 2 w 24"/>
                  <a:gd name="T17" fmla="*/ 16 h 22"/>
                  <a:gd name="T18" fmla="*/ 0 w 24"/>
                  <a:gd name="T19" fmla="*/ 11 h 22"/>
                  <a:gd name="T20" fmla="*/ 0 w 24"/>
                  <a:gd name="T21" fmla="*/ 11 h 22"/>
                  <a:gd name="T22" fmla="*/ 2 w 24"/>
                  <a:gd name="T23" fmla="*/ 5 h 22"/>
                  <a:gd name="T24" fmla="*/ 4 w 24"/>
                  <a:gd name="T25" fmla="*/ 1 h 22"/>
                  <a:gd name="T26" fmla="*/ 7 w 24"/>
                  <a:gd name="T27" fmla="*/ 0 h 22"/>
                  <a:gd name="T28" fmla="*/ 13 w 24"/>
                  <a:gd name="T29" fmla="*/ 0 h 22"/>
                  <a:gd name="T30" fmla="*/ 17 w 24"/>
                  <a:gd name="T31" fmla="*/ 0 h 22"/>
                  <a:gd name="T32" fmla="*/ 21 w 24"/>
                  <a:gd name="T33" fmla="*/ 1 h 22"/>
                  <a:gd name="T34" fmla="*/ 22 w 24"/>
                  <a:gd name="T35" fmla="*/ 5 h 22"/>
                  <a:gd name="T36" fmla="*/ 24 w 24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2">
                    <a:moveTo>
                      <a:pt x="24" y="11"/>
                    </a:moveTo>
                    <a:lnTo>
                      <a:pt x="24" y="11"/>
                    </a:lnTo>
                    <a:lnTo>
                      <a:pt x="22" y="16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3" y="22"/>
                    </a:lnTo>
                    <a:lnTo>
                      <a:pt x="7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2" y="5"/>
                    </a:lnTo>
                    <a:lnTo>
                      <a:pt x="24" y="11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91" name="Freeform 298">
                <a:extLst>
                  <a:ext uri="{FF2B5EF4-FFF2-40B4-BE49-F238E27FC236}">
                    <a16:creationId xmlns:a16="http://schemas.microsoft.com/office/drawing/2014/main" id="{E1D0D732-9F53-9472-E001-33448D4D56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2" y="2647"/>
                <a:ext cx="25" cy="22"/>
              </a:xfrm>
              <a:custGeom>
                <a:avLst/>
                <a:gdLst>
                  <a:gd name="T0" fmla="*/ 25 w 25"/>
                  <a:gd name="T1" fmla="*/ 11 h 22"/>
                  <a:gd name="T2" fmla="*/ 25 w 25"/>
                  <a:gd name="T3" fmla="*/ 11 h 22"/>
                  <a:gd name="T4" fmla="*/ 23 w 25"/>
                  <a:gd name="T5" fmla="*/ 16 h 22"/>
                  <a:gd name="T6" fmla="*/ 21 w 25"/>
                  <a:gd name="T7" fmla="*/ 20 h 22"/>
                  <a:gd name="T8" fmla="*/ 17 w 25"/>
                  <a:gd name="T9" fmla="*/ 22 h 22"/>
                  <a:gd name="T10" fmla="*/ 12 w 25"/>
                  <a:gd name="T11" fmla="*/ 22 h 22"/>
                  <a:gd name="T12" fmla="*/ 8 w 25"/>
                  <a:gd name="T13" fmla="*/ 22 h 22"/>
                  <a:gd name="T14" fmla="*/ 4 w 25"/>
                  <a:gd name="T15" fmla="*/ 20 h 22"/>
                  <a:gd name="T16" fmla="*/ 2 w 25"/>
                  <a:gd name="T17" fmla="*/ 16 h 22"/>
                  <a:gd name="T18" fmla="*/ 0 w 25"/>
                  <a:gd name="T19" fmla="*/ 11 h 22"/>
                  <a:gd name="T20" fmla="*/ 0 w 25"/>
                  <a:gd name="T21" fmla="*/ 11 h 22"/>
                  <a:gd name="T22" fmla="*/ 2 w 25"/>
                  <a:gd name="T23" fmla="*/ 5 h 22"/>
                  <a:gd name="T24" fmla="*/ 4 w 25"/>
                  <a:gd name="T25" fmla="*/ 1 h 22"/>
                  <a:gd name="T26" fmla="*/ 8 w 25"/>
                  <a:gd name="T27" fmla="*/ 0 h 22"/>
                  <a:gd name="T28" fmla="*/ 12 w 25"/>
                  <a:gd name="T29" fmla="*/ 0 h 22"/>
                  <a:gd name="T30" fmla="*/ 17 w 25"/>
                  <a:gd name="T31" fmla="*/ 0 h 22"/>
                  <a:gd name="T32" fmla="*/ 21 w 25"/>
                  <a:gd name="T33" fmla="*/ 1 h 22"/>
                  <a:gd name="T34" fmla="*/ 23 w 25"/>
                  <a:gd name="T35" fmla="*/ 5 h 22"/>
                  <a:gd name="T36" fmla="*/ 25 w 25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2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6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3" y="5"/>
                    </a:lnTo>
                    <a:lnTo>
                      <a:pt x="25" y="11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92" name="Freeform 299">
                <a:extLst>
                  <a:ext uri="{FF2B5EF4-FFF2-40B4-BE49-F238E27FC236}">
                    <a16:creationId xmlns:a16="http://schemas.microsoft.com/office/drawing/2014/main" id="{713133E0-EACA-FA30-52DA-A402E2BBF7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2" y="2647"/>
                <a:ext cx="25" cy="22"/>
              </a:xfrm>
              <a:custGeom>
                <a:avLst/>
                <a:gdLst>
                  <a:gd name="T0" fmla="*/ 25 w 25"/>
                  <a:gd name="T1" fmla="*/ 11 h 22"/>
                  <a:gd name="T2" fmla="*/ 25 w 25"/>
                  <a:gd name="T3" fmla="*/ 11 h 22"/>
                  <a:gd name="T4" fmla="*/ 23 w 25"/>
                  <a:gd name="T5" fmla="*/ 16 h 22"/>
                  <a:gd name="T6" fmla="*/ 21 w 25"/>
                  <a:gd name="T7" fmla="*/ 20 h 22"/>
                  <a:gd name="T8" fmla="*/ 17 w 25"/>
                  <a:gd name="T9" fmla="*/ 22 h 22"/>
                  <a:gd name="T10" fmla="*/ 12 w 25"/>
                  <a:gd name="T11" fmla="*/ 22 h 22"/>
                  <a:gd name="T12" fmla="*/ 8 w 25"/>
                  <a:gd name="T13" fmla="*/ 22 h 22"/>
                  <a:gd name="T14" fmla="*/ 4 w 25"/>
                  <a:gd name="T15" fmla="*/ 20 h 22"/>
                  <a:gd name="T16" fmla="*/ 2 w 25"/>
                  <a:gd name="T17" fmla="*/ 16 h 22"/>
                  <a:gd name="T18" fmla="*/ 0 w 25"/>
                  <a:gd name="T19" fmla="*/ 11 h 22"/>
                  <a:gd name="T20" fmla="*/ 0 w 25"/>
                  <a:gd name="T21" fmla="*/ 11 h 22"/>
                  <a:gd name="T22" fmla="*/ 2 w 25"/>
                  <a:gd name="T23" fmla="*/ 5 h 22"/>
                  <a:gd name="T24" fmla="*/ 4 w 25"/>
                  <a:gd name="T25" fmla="*/ 1 h 22"/>
                  <a:gd name="T26" fmla="*/ 8 w 25"/>
                  <a:gd name="T27" fmla="*/ 0 h 22"/>
                  <a:gd name="T28" fmla="*/ 12 w 25"/>
                  <a:gd name="T29" fmla="*/ 0 h 22"/>
                  <a:gd name="T30" fmla="*/ 17 w 25"/>
                  <a:gd name="T31" fmla="*/ 0 h 22"/>
                  <a:gd name="T32" fmla="*/ 21 w 25"/>
                  <a:gd name="T33" fmla="*/ 1 h 22"/>
                  <a:gd name="T34" fmla="*/ 23 w 25"/>
                  <a:gd name="T35" fmla="*/ 5 h 22"/>
                  <a:gd name="T36" fmla="*/ 25 w 25"/>
                  <a:gd name="T37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2">
                    <a:moveTo>
                      <a:pt x="25" y="11"/>
                    </a:moveTo>
                    <a:lnTo>
                      <a:pt x="25" y="11"/>
                    </a:lnTo>
                    <a:lnTo>
                      <a:pt x="23" y="16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2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4" y="1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1" y="1"/>
                    </a:lnTo>
                    <a:lnTo>
                      <a:pt x="23" y="5"/>
                    </a:lnTo>
                    <a:lnTo>
                      <a:pt x="25" y="11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93" name="Freeform 300">
                <a:extLst>
                  <a:ext uri="{FF2B5EF4-FFF2-40B4-BE49-F238E27FC236}">
                    <a16:creationId xmlns:a16="http://schemas.microsoft.com/office/drawing/2014/main" id="{4BAA8CF8-B3CB-3190-A001-1BA370A38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4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94" name="Freeform 301">
                <a:extLst>
                  <a:ext uri="{FF2B5EF4-FFF2-40B4-BE49-F238E27FC236}">
                    <a16:creationId xmlns:a16="http://schemas.microsoft.com/office/drawing/2014/main" id="{C3B85C49-11C8-E5D7-7DFB-AD7AE15A2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4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95" name="Freeform 302">
                <a:extLst>
                  <a:ext uri="{FF2B5EF4-FFF2-40B4-BE49-F238E27FC236}">
                    <a16:creationId xmlns:a16="http://schemas.microsoft.com/office/drawing/2014/main" id="{7AE3C078-CB93-1FE7-80F8-70E556360A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0 w 24"/>
                  <a:gd name="T7" fmla="*/ 21 h 23"/>
                  <a:gd name="T8" fmla="*/ 17 w 24"/>
                  <a:gd name="T9" fmla="*/ 23 h 23"/>
                  <a:gd name="T10" fmla="*/ 13 w 24"/>
                  <a:gd name="T11" fmla="*/ 23 h 23"/>
                  <a:gd name="T12" fmla="*/ 7 w 24"/>
                  <a:gd name="T13" fmla="*/ 23 h 23"/>
                  <a:gd name="T14" fmla="*/ 3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3 w 24"/>
                  <a:gd name="T25" fmla="*/ 2 h 23"/>
                  <a:gd name="T26" fmla="*/ 7 w 24"/>
                  <a:gd name="T27" fmla="*/ 0 h 23"/>
                  <a:gd name="T28" fmla="*/ 13 w 24"/>
                  <a:gd name="T29" fmla="*/ 0 h 23"/>
                  <a:gd name="T30" fmla="*/ 17 w 24"/>
                  <a:gd name="T31" fmla="*/ 0 h 23"/>
                  <a:gd name="T32" fmla="*/ 20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2" y="6"/>
                    </a:lnTo>
                    <a:lnTo>
                      <a:pt x="24" y="12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96" name="Freeform 303">
                <a:extLst>
                  <a:ext uri="{FF2B5EF4-FFF2-40B4-BE49-F238E27FC236}">
                    <a16:creationId xmlns:a16="http://schemas.microsoft.com/office/drawing/2014/main" id="{2BF28C4F-0B5A-B7DE-69F0-5A17B7563A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0 w 24"/>
                  <a:gd name="T7" fmla="*/ 21 h 23"/>
                  <a:gd name="T8" fmla="*/ 17 w 24"/>
                  <a:gd name="T9" fmla="*/ 23 h 23"/>
                  <a:gd name="T10" fmla="*/ 13 w 24"/>
                  <a:gd name="T11" fmla="*/ 23 h 23"/>
                  <a:gd name="T12" fmla="*/ 7 w 24"/>
                  <a:gd name="T13" fmla="*/ 23 h 23"/>
                  <a:gd name="T14" fmla="*/ 3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3 w 24"/>
                  <a:gd name="T25" fmla="*/ 2 h 23"/>
                  <a:gd name="T26" fmla="*/ 7 w 24"/>
                  <a:gd name="T27" fmla="*/ 0 h 23"/>
                  <a:gd name="T28" fmla="*/ 13 w 24"/>
                  <a:gd name="T29" fmla="*/ 0 h 23"/>
                  <a:gd name="T30" fmla="*/ 17 w 24"/>
                  <a:gd name="T31" fmla="*/ 0 h 23"/>
                  <a:gd name="T32" fmla="*/ 20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2" y="6"/>
                    </a:lnTo>
                    <a:lnTo>
                      <a:pt x="24" y="12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97" name="Freeform 304">
                <a:extLst>
                  <a:ext uri="{FF2B5EF4-FFF2-40B4-BE49-F238E27FC236}">
                    <a16:creationId xmlns:a16="http://schemas.microsoft.com/office/drawing/2014/main" id="{148F1135-A5C4-5ADE-21D0-F2C95F8CD2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5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2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2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98" name="Freeform 305">
                <a:extLst>
                  <a:ext uri="{FF2B5EF4-FFF2-40B4-BE49-F238E27FC236}">
                    <a16:creationId xmlns:a16="http://schemas.microsoft.com/office/drawing/2014/main" id="{93DE284E-7750-0748-EBFA-9D3EBDF9C0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5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2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2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99" name="Freeform 306">
                <a:extLst>
                  <a:ext uri="{FF2B5EF4-FFF2-40B4-BE49-F238E27FC236}">
                    <a16:creationId xmlns:a16="http://schemas.microsoft.com/office/drawing/2014/main" id="{3BE1E9FD-F095-C4F2-AD1E-A7E33BDF4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7" y="2618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9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4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4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9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2" y="6"/>
                    </a:lnTo>
                    <a:lnTo>
                      <a:pt x="22" y="12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00" name="Freeform 307">
                <a:extLst>
                  <a:ext uri="{FF2B5EF4-FFF2-40B4-BE49-F238E27FC236}">
                    <a16:creationId xmlns:a16="http://schemas.microsoft.com/office/drawing/2014/main" id="{CD6702E0-AD36-AA72-9D46-A27EF1948E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7" y="2618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9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4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4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9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2" y="6"/>
                    </a:lnTo>
                    <a:lnTo>
                      <a:pt x="22" y="12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01" name="Freeform 308">
                <a:extLst>
                  <a:ext uri="{FF2B5EF4-FFF2-40B4-BE49-F238E27FC236}">
                    <a16:creationId xmlns:a16="http://schemas.microsoft.com/office/drawing/2014/main" id="{5498BB7E-E8F0-E357-5496-03D396A18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6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4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4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4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02" name="Freeform 309">
                <a:extLst>
                  <a:ext uri="{FF2B5EF4-FFF2-40B4-BE49-F238E27FC236}">
                    <a16:creationId xmlns:a16="http://schemas.microsoft.com/office/drawing/2014/main" id="{DF7267A9-C628-41B9-7360-E686969060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6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4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4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4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03" name="Freeform 310">
                <a:extLst>
                  <a:ext uri="{FF2B5EF4-FFF2-40B4-BE49-F238E27FC236}">
                    <a16:creationId xmlns:a16="http://schemas.microsoft.com/office/drawing/2014/main" id="{3FBB8A89-28E0-E848-4FB3-0CA6409CB5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8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3 w 24"/>
                  <a:gd name="T5" fmla="*/ 17 h 23"/>
                  <a:gd name="T6" fmla="*/ 21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8 w 24"/>
                  <a:gd name="T13" fmla="*/ 23 h 23"/>
                  <a:gd name="T14" fmla="*/ 4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4 w 24"/>
                  <a:gd name="T25" fmla="*/ 2 h 23"/>
                  <a:gd name="T26" fmla="*/ 8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1 w 24"/>
                  <a:gd name="T33" fmla="*/ 2 h 23"/>
                  <a:gd name="T34" fmla="*/ 23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4" y="12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04" name="Freeform 311">
                <a:extLst>
                  <a:ext uri="{FF2B5EF4-FFF2-40B4-BE49-F238E27FC236}">
                    <a16:creationId xmlns:a16="http://schemas.microsoft.com/office/drawing/2014/main" id="{0A95B2E4-A0FA-BAE8-A4B9-D1A16234A2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8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3 w 24"/>
                  <a:gd name="T5" fmla="*/ 17 h 23"/>
                  <a:gd name="T6" fmla="*/ 21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8 w 24"/>
                  <a:gd name="T13" fmla="*/ 23 h 23"/>
                  <a:gd name="T14" fmla="*/ 4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4 w 24"/>
                  <a:gd name="T25" fmla="*/ 2 h 23"/>
                  <a:gd name="T26" fmla="*/ 8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1 w 24"/>
                  <a:gd name="T33" fmla="*/ 2 h 23"/>
                  <a:gd name="T34" fmla="*/ 23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4" y="12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05" name="Freeform 312">
                <a:extLst>
                  <a:ext uri="{FF2B5EF4-FFF2-40B4-BE49-F238E27FC236}">
                    <a16:creationId xmlns:a16="http://schemas.microsoft.com/office/drawing/2014/main" id="{D2BDB7F2-81EB-18EC-C4F4-3E6617376D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0" y="2618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2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06" name="Freeform 313">
                <a:extLst>
                  <a:ext uri="{FF2B5EF4-FFF2-40B4-BE49-F238E27FC236}">
                    <a16:creationId xmlns:a16="http://schemas.microsoft.com/office/drawing/2014/main" id="{22CAF7F8-D499-624B-7C97-1C8960077E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0" y="2618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2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07" name="Freeform 314">
                <a:extLst>
                  <a:ext uri="{FF2B5EF4-FFF2-40B4-BE49-F238E27FC236}">
                    <a16:creationId xmlns:a16="http://schemas.microsoft.com/office/drawing/2014/main" id="{9367B2F6-246D-B267-A8AA-F9B5A3F04B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1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1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6 w 23"/>
                  <a:gd name="T13" fmla="*/ 23 h 23"/>
                  <a:gd name="T14" fmla="*/ 2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2 w 23"/>
                  <a:gd name="T25" fmla="*/ 2 h 23"/>
                  <a:gd name="T26" fmla="*/ 6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1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1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08" name="Freeform 315">
                <a:extLst>
                  <a:ext uri="{FF2B5EF4-FFF2-40B4-BE49-F238E27FC236}">
                    <a16:creationId xmlns:a16="http://schemas.microsoft.com/office/drawing/2014/main" id="{34B88B3C-2D9A-B52E-183C-A16F406A84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1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1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6 w 23"/>
                  <a:gd name="T13" fmla="*/ 23 h 23"/>
                  <a:gd name="T14" fmla="*/ 2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2 w 23"/>
                  <a:gd name="T25" fmla="*/ 2 h 23"/>
                  <a:gd name="T26" fmla="*/ 6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1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1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09" name="Freeform 316">
                <a:extLst>
                  <a:ext uri="{FF2B5EF4-FFF2-40B4-BE49-F238E27FC236}">
                    <a16:creationId xmlns:a16="http://schemas.microsoft.com/office/drawing/2014/main" id="{C4E2F768-E126-65A0-07C5-3E1F1B2AE4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1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1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4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4 w 24"/>
                  <a:gd name="T25" fmla="*/ 2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1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2" y="6"/>
                    </a:lnTo>
                    <a:lnTo>
                      <a:pt x="24" y="12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10" name="Freeform 317">
                <a:extLst>
                  <a:ext uri="{FF2B5EF4-FFF2-40B4-BE49-F238E27FC236}">
                    <a16:creationId xmlns:a16="http://schemas.microsoft.com/office/drawing/2014/main" id="{26177574-44F6-7376-EAD3-35768848A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1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1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4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4 w 24"/>
                  <a:gd name="T25" fmla="*/ 2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1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2" y="6"/>
                    </a:lnTo>
                    <a:lnTo>
                      <a:pt x="24" y="12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11" name="Freeform 318">
                <a:extLst>
                  <a:ext uri="{FF2B5EF4-FFF2-40B4-BE49-F238E27FC236}">
                    <a16:creationId xmlns:a16="http://schemas.microsoft.com/office/drawing/2014/main" id="{EF33349C-0749-E1D0-1B1A-817FD6507B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2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2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2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12" name="Freeform 319">
                <a:extLst>
                  <a:ext uri="{FF2B5EF4-FFF2-40B4-BE49-F238E27FC236}">
                    <a16:creationId xmlns:a16="http://schemas.microsoft.com/office/drawing/2014/main" id="{406817A1-6B4F-B5D5-4723-D97C8B255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2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2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2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13" name="Freeform 320">
                <a:extLst>
                  <a:ext uri="{FF2B5EF4-FFF2-40B4-BE49-F238E27FC236}">
                    <a16:creationId xmlns:a16="http://schemas.microsoft.com/office/drawing/2014/main" id="{9439E5E6-8552-65E2-02AA-11E86F6BB8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1" y="2618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2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14" name="Freeform 321">
                <a:extLst>
                  <a:ext uri="{FF2B5EF4-FFF2-40B4-BE49-F238E27FC236}">
                    <a16:creationId xmlns:a16="http://schemas.microsoft.com/office/drawing/2014/main" id="{85771AE8-1D06-5195-7976-68CB7DEAA0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1" y="2618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2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15" name="Freeform 322">
                <a:extLst>
                  <a:ext uri="{FF2B5EF4-FFF2-40B4-BE49-F238E27FC236}">
                    <a16:creationId xmlns:a16="http://schemas.microsoft.com/office/drawing/2014/main" id="{5C07EF9A-02BA-5E6A-AB5C-29EB87D99A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4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7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7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16" name="Freeform 323">
                <a:extLst>
                  <a:ext uri="{FF2B5EF4-FFF2-40B4-BE49-F238E27FC236}">
                    <a16:creationId xmlns:a16="http://schemas.microsoft.com/office/drawing/2014/main" id="{8126280B-8592-600B-8770-DEC59DA0B2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4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7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7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17" name="Freeform 324">
                <a:extLst>
                  <a:ext uri="{FF2B5EF4-FFF2-40B4-BE49-F238E27FC236}">
                    <a16:creationId xmlns:a16="http://schemas.microsoft.com/office/drawing/2014/main" id="{257E4C0C-C6F9-0DE8-C073-4C3BD8231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4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0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3 w 24"/>
                  <a:gd name="T15" fmla="*/ 21 h 23"/>
                  <a:gd name="T16" fmla="*/ 1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1 w 24"/>
                  <a:gd name="T23" fmla="*/ 6 h 23"/>
                  <a:gd name="T24" fmla="*/ 3 w 24"/>
                  <a:gd name="T25" fmla="*/ 2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0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2" y="6"/>
                    </a:lnTo>
                    <a:lnTo>
                      <a:pt x="24" y="12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18" name="Freeform 325">
                <a:extLst>
                  <a:ext uri="{FF2B5EF4-FFF2-40B4-BE49-F238E27FC236}">
                    <a16:creationId xmlns:a16="http://schemas.microsoft.com/office/drawing/2014/main" id="{56ACB4E1-4B39-FEBC-0560-7C83DD4B55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4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0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3 w 24"/>
                  <a:gd name="T15" fmla="*/ 21 h 23"/>
                  <a:gd name="T16" fmla="*/ 1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1 w 24"/>
                  <a:gd name="T23" fmla="*/ 6 h 23"/>
                  <a:gd name="T24" fmla="*/ 3 w 24"/>
                  <a:gd name="T25" fmla="*/ 2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0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2" y="6"/>
                    </a:lnTo>
                    <a:lnTo>
                      <a:pt x="24" y="12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19" name="Freeform 326">
                <a:extLst>
                  <a:ext uri="{FF2B5EF4-FFF2-40B4-BE49-F238E27FC236}">
                    <a16:creationId xmlns:a16="http://schemas.microsoft.com/office/drawing/2014/main" id="{B414C5A9-B627-2506-1E81-5C96C78D70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5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20" name="Freeform 327">
                <a:extLst>
                  <a:ext uri="{FF2B5EF4-FFF2-40B4-BE49-F238E27FC236}">
                    <a16:creationId xmlns:a16="http://schemas.microsoft.com/office/drawing/2014/main" id="{197902DA-1582-8AC3-3A65-D8C3D40757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5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21" name="Freeform 328">
                <a:extLst>
                  <a:ext uri="{FF2B5EF4-FFF2-40B4-BE49-F238E27FC236}">
                    <a16:creationId xmlns:a16="http://schemas.microsoft.com/office/drawing/2014/main" id="{C1AE3A4F-3DB6-FB6A-9217-758329E862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7" y="2618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9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9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2" y="6"/>
                    </a:lnTo>
                    <a:lnTo>
                      <a:pt x="22" y="12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22" name="Freeform 329">
                <a:extLst>
                  <a:ext uri="{FF2B5EF4-FFF2-40B4-BE49-F238E27FC236}">
                    <a16:creationId xmlns:a16="http://schemas.microsoft.com/office/drawing/2014/main" id="{E5ECD397-064C-39D4-05FC-0AD0EBE1BA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7" y="2618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9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9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2" y="6"/>
                    </a:lnTo>
                    <a:lnTo>
                      <a:pt x="22" y="12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23" name="Freeform 330">
                <a:extLst>
                  <a:ext uri="{FF2B5EF4-FFF2-40B4-BE49-F238E27FC236}">
                    <a16:creationId xmlns:a16="http://schemas.microsoft.com/office/drawing/2014/main" id="{894F84F0-7F09-068C-492A-2C01D03BC3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6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4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4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4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24" name="Freeform 331">
                <a:extLst>
                  <a:ext uri="{FF2B5EF4-FFF2-40B4-BE49-F238E27FC236}">
                    <a16:creationId xmlns:a16="http://schemas.microsoft.com/office/drawing/2014/main" id="{71EA84DF-E0A4-302D-0FC4-941A3B740F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6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4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4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4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25" name="Freeform 332">
                <a:extLst>
                  <a:ext uri="{FF2B5EF4-FFF2-40B4-BE49-F238E27FC236}">
                    <a16:creationId xmlns:a16="http://schemas.microsoft.com/office/drawing/2014/main" id="{13C47836-22DC-08EB-4E44-5966A5DE03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8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21 w 23"/>
                  <a:gd name="T7" fmla="*/ 21 h 23"/>
                  <a:gd name="T8" fmla="*/ 17 w 23"/>
                  <a:gd name="T9" fmla="*/ 23 h 23"/>
                  <a:gd name="T10" fmla="*/ 11 w 23"/>
                  <a:gd name="T11" fmla="*/ 23 h 23"/>
                  <a:gd name="T12" fmla="*/ 7 w 23"/>
                  <a:gd name="T13" fmla="*/ 23 h 23"/>
                  <a:gd name="T14" fmla="*/ 4 w 23"/>
                  <a:gd name="T15" fmla="*/ 21 h 23"/>
                  <a:gd name="T16" fmla="*/ 2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2 w 23"/>
                  <a:gd name="T23" fmla="*/ 6 h 23"/>
                  <a:gd name="T24" fmla="*/ 4 w 23"/>
                  <a:gd name="T25" fmla="*/ 2 h 23"/>
                  <a:gd name="T26" fmla="*/ 7 w 23"/>
                  <a:gd name="T27" fmla="*/ 0 h 23"/>
                  <a:gd name="T28" fmla="*/ 11 w 23"/>
                  <a:gd name="T29" fmla="*/ 0 h 23"/>
                  <a:gd name="T30" fmla="*/ 17 w 23"/>
                  <a:gd name="T31" fmla="*/ 0 h 23"/>
                  <a:gd name="T32" fmla="*/ 21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26" name="Freeform 333">
                <a:extLst>
                  <a:ext uri="{FF2B5EF4-FFF2-40B4-BE49-F238E27FC236}">
                    <a16:creationId xmlns:a16="http://schemas.microsoft.com/office/drawing/2014/main" id="{1A12190B-7266-6C4D-91A2-7B1DD11E9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8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21 w 23"/>
                  <a:gd name="T7" fmla="*/ 21 h 23"/>
                  <a:gd name="T8" fmla="*/ 17 w 23"/>
                  <a:gd name="T9" fmla="*/ 23 h 23"/>
                  <a:gd name="T10" fmla="*/ 11 w 23"/>
                  <a:gd name="T11" fmla="*/ 23 h 23"/>
                  <a:gd name="T12" fmla="*/ 7 w 23"/>
                  <a:gd name="T13" fmla="*/ 23 h 23"/>
                  <a:gd name="T14" fmla="*/ 4 w 23"/>
                  <a:gd name="T15" fmla="*/ 21 h 23"/>
                  <a:gd name="T16" fmla="*/ 2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2 w 23"/>
                  <a:gd name="T23" fmla="*/ 6 h 23"/>
                  <a:gd name="T24" fmla="*/ 4 w 23"/>
                  <a:gd name="T25" fmla="*/ 2 h 23"/>
                  <a:gd name="T26" fmla="*/ 7 w 23"/>
                  <a:gd name="T27" fmla="*/ 0 h 23"/>
                  <a:gd name="T28" fmla="*/ 11 w 23"/>
                  <a:gd name="T29" fmla="*/ 0 h 23"/>
                  <a:gd name="T30" fmla="*/ 17 w 23"/>
                  <a:gd name="T31" fmla="*/ 0 h 23"/>
                  <a:gd name="T32" fmla="*/ 21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27" name="Freeform 334">
                <a:extLst>
                  <a:ext uri="{FF2B5EF4-FFF2-40B4-BE49-F238E27FC236}">
                    <a16:creationId xmlns:a16="http://schemas.microsoft.com/office/drawing/2014/main" id="{25BFD069-E443-69DF-DA94-9D6F9C41FE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9" y="2618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9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4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4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9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2" y="6"/>
                    </a:lnTo>
                    <a:lnTo>
                      <a:pt x="22" y="12"/>
                    </a:lnTo>
                    <a:close/>
                  </a:path>
                </a:pathLst>
              </a:custGeom>
              <a:solidFill>
                <a:srgbClr val="FF7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28" name="Freeform 335">
                <a:extLst>
                  <a:ext uri="{FF2B5EF4-FFF2-40B4-BE49-F238E27FC236}">
                    <a16:creationId xmlns:a16="http://schemas.microsoft.com/office/drawing/2014/main" id="{21A18F67-49B3-C9B1-F47D-53CB811DFD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9" y="2618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9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4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4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9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2" y="6"/>
                    </a:lnTo>
                    <a:lnTo>
                      <a:pt x="22" y="12"/>
                    </a:lnTo>
                  </a:path>
                </a:pathLst>
              </a:custGeom>
              <a:noFill/>
              <a:ln w="9525">
                <a:solidFill>
                  <a:srgbClr val="FF7F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29" name="Freeform 336">
                <a:extLst>
                  <a:ext uri="{FF2B5EF4-FFF2-40B4-BE49-F238E27FC236}">
                    <a16:creationId xmlns:a16="http://schemas.microsoft.com/office/drawing/2014/main" id="{3CD3C110-AC6E-9266-4CDF-5AA6432D09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1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1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30" name="Freeform 337">
                <a:extLst>
                  <a:ext uri="{FF2B5EF4-FFF2-40B4-BE49-F238E27FC236}">
                    <a16:creationId xmlns:a16="http://schemas.microsoft.com/office/drawing/2014/main" id="{17804F83-AEB7-A41E-0006-33AF3D13D3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1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1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31" name="Freeform 338">
                <a:extLst>
                  <a:ext uri="{FF2B5EF4-FFF2-40B4-BE49-F238E27FC236}">
                    <a16:creationId xmlns:a16="http://schemas.microsoft.com/office/drawing/2014/main" id="{743C68CF-FD19-57BA-018D-3820F6FEA4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2396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32" name="Freeform 339">
                <a:extLst>
                  <a:ext uri="{FF2B5EF4-FFF2-40B4-BE49-F238E27FC236}">
                    <a16:creationId xmlns:a16="http://schemas.microsoft.com/office/drawing/2014/main" id="{145A3C0F-CD6E-5968-426E-5AC4D252F6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2396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33" name="Freeform 340">
                <a:extLst>
                  <a:ext uri="{FF2B5EF4-FFF2-40B4-BE49-F238E27FC236}">
                    <a16:creationId xmlns:a16="http://schemas.microsoft.com/office/drawing/2014/main" id="{18D35137-3136-D6FA-A5E7-ADBC66A7AF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2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2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2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34" name="Freeform 341">
                <a:extLst>
                  <a:ext uri="{FF2B5EF4-FFF2-40B4-BE49-F238E27FC236}">
                    <a16:creationId xmlns:a16="http://schemas.microsoft.com/office/drawing/2014/main" id="{CBBAA792-960B-E7DA-6381-0B0783CBDE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2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2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2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35" name="Freeform 342">
                <a:extLst>
                  <a:ext uri="{FF2B5EF4-FFF2-40B4-BE49-F238E27FC236}">
                    <a16:creationId xmlns:a16="http://schemas.microsoft.com/office/drawing/2014/main" id="{FFB2F08F-4353-E7E7-CB52-0E33A29879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1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4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4 w 24"/>
                  <a:gd name="T25" fmla="*/ 2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1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2" y="6"/>
                    </a:lnTo>
                    <a:lnTo>
                      <a:pt x="24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36" name="Freeform 343">
                <a:extLst>
                  <a:ext uri="{FF2B5EF4-FFF2-40B4-BE49-F238E27FC236}">
                    <a16:creationId xmlns:a16="http://schemas.microsoft.com/office/drawing/2014/main" id="{24A33CD5-53DE-6C71-C183-581F29DE54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1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4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4 w 24"/>
                  <a:gd name="T25" fmla="*/ 2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1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2" y="6"/>
                    </a:lnTo>
                    <a:lnTo>
                      <a:pt x="24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37" name="Freeform 344">
                <a:extLst>
                  <a:ext uri="{FF2B5EF4-FFF2-40B4-BE49-F238E27FC236}">
                    <a16:creationId xmlns:a16="http://schemas.microsoft.com/office/drawing/2014/main" id="{4897F8B2-F01B-C94D-1E50-348219B138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2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2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38" name="Freeform 345">
                <a:extLst>
                  <a:ext uri="{FF2B5EF4-FFF2-40B4-BE49-F238E27FC236}">
                    <a16:creationId xmlns:a16="http://schemas.microsoft.com/office/drawing/2014/main" id="{5711EA44-BF31-7470-C065-AFD90522D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2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2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39" name="Freeform 346">
                <a:extLst>
                  <a:ext uri="{FF2B5EF4-FFF2-40B4-BE49-F238E27FC236}">
                    <a16:creationId xmlns:a16="http://schemas.microsoft.com/office/drawing/2014/main" id="{0DA01131-CA2F-CDCB-C3FF-82BE0AD901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2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7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7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40" name="Freeform 347">
                <a:extLst>
                  <a:ext uri="{FF2B5EF4-FFF2-40B4-BE49-F238E27FC236}">
                    <a16:creationId xmlns:a16="http://schemas.microsoft.com/office/drawing/2014/main" id="{02D1FFD6-595D-32B0-5531-EFE73FF313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2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7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7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41" name="Freeform 348">
                <a:extLst>
                  <a:ext uri="{FF2B5EF4-FFF2-40B4-BE49-F238E27FC236}">
                    <a16:creationId xmlns:a16="http://schemas.microsoft.com/office/drawing/2014/main" id="{5116E5A7-C7D9-8950-56C5-5BB700F81F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2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0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3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3 w 24"/>
                  <a:gd name="T25" fmla="*/ 2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0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2" y="6"/>
                    </a:lnTo>
                    <a:lnTo>
                      <a:pt x="24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42" name="Freeform 349">
                <a:extLst>
                  <a:ext uri="{FF2B5EF4-FFF2-40B4-BE49-F238E27FC236}">
                    <a16:creationId xmlns:a16="http://schemas.microsoft.com/office/drawing/2014/main" id="{32A66DB3-EF65-E553-237B-B4B3E3CAEA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2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0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3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3 w 24"/>
                  <a:gd name="T25" fmla="*/ 2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0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2" y="6"/>
                    </a:lnTo>
                    <a:lnTo>
                      <a:pt x="24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43" name="Freeform 350">
                <a:extLst>
                  <a:ext uri="{FF2B5EF4-FFF2-40B4-BE49-F238E27FC236}">
                    <a16:creationId xmlns:a16="http://schemas.microsoft.com/office/drawing/2014/main" id="{71AA5A00-3F29-4AC2-4D99-11BA3A41AD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44" name="Freeform 351">
                <a:extLst>
                  <a:ext uri="{FF2B5EF4-FFF2-40B4-BE49-F238E27FC236}">
                    <a16:creationId xmlns:a16="http://schemas.microsoft.com/office/drawing/2014/main" id="{2F2F87B9-BE4F-DFB1-64D9-F196FE109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45" name="Freeform 352">
                <a:extLst>
                  <a:ext uri="{FF2B5EF4-FFF2-40B4-BE49-F238E27FC236}">
                    <a16:creationId xmlns:a16="http://schemas.microsoft.com/office/drawing/2014/main" id="{CD8B73FE-1B99-8D91-6D99-95634F576F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5" y="2618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9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4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4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9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2" y="6"/>
                    </a:lnTo>
                    <a:lnTo>
                      <a:pt x="22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46" name="Freeform 353">
                <a:extLst>
                  <a:ext uri="{FF2B5EF4-FFF2-40B4-BE49-F238E27FC236}">
                    <a16:creationId xmlns:a16="http://schemas.microsoft.com/office/drawing/2014/main" id="{B4AE8897-AE6B-A18F-131D-A2C767D0E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5" y="2618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9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4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4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9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2" y="6"/>
                    </a:lnTo>
                    <a:lnTo>
                      <a:pt x="22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47" name="Freeform 354">
                <a:extLst>
                  <a:ext uri="{FF2B5EF4-FFF2-40B4-BE49-F238E27FC236}">
                    <a16:creationId xmlns:a16="http://schemas.microsoft.com/office/drawing/2014/main" id="{769FA4C9-7BC7-74EE-F8A0-4CB603248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4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4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4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4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48" name="Freeform 355">
                <a:extLst>
                  <a:ext uri="{FF2B5EF4-FFF2-40B4-BE49-F238E27FC236}">
                    <a16:creationId xmlns:a16="http://schemas.microsoft.com/office/drawing/2014/main" id="{9C178987-7DED-DA87-B7F5-559BA36CA3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4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4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4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4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49" name="Freeform 356">
                <a:extLst>
                  <a:ext uri="{FF2B5EF4-FFF2-40B4-BE49-F238E27FC236}">
                    <a16:creationId xmlns:a16="http://schemas.microsoft.com/office/drawing/2014/main" id="{0034BBE9-001D-AF1D-2E64-6A48A70F90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6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2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2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50" name="Freeform 357">
                <a:extLst>
                  <a:ext uri="{FF2B5EF4-FFF2-40B4-BE49-F238E27FC236}">
                    <a16:creationId xmlns:a16="http://schemas.microsoft.com/office/drawing/2014/main" id="{BA9D0D71-E9E0-D98F-3619-5AFFC6B6EC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6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2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2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51" name="Freeform 358">
                <a:extLst>
                  <a:ext uri="{FF2B5EF4-FFF2-40B4-BE49-F238E27FC236}">
                    <a16:creationId xmlns:a16="http://schemas.microsoft.com/office/drawing/2014/main" id="{655F8B36-DB77-2070-9B45-F60A89F036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8" y="2618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52" name="Freeform 359">
                <a:extLst>
                  <a:ext uri="{FF2B5EF4-FFF2-40B4-BE49-F238E27FC236}">
                    <a16:creationId xmlns:a16="http://schemas.microsoft.com/office/drawing/2014/main" id="{B5D6A71D-A647-4C14-4DFE-EBEED73DE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8" y="2618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53" name="Freeform 360">
                <a:extLst>
                  <a:ext uri="{FF2B5EF4-FFF2-40B4-BE49-F238E27FC236}">
                    <a16:creationId xmlns:a16="http://schemas.microsoft.com/office/drawing/2014/main" id="{FE83E75A-3385-1B58-EDCF-9D1823E23E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7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3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3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54" name="Freeform 361">
                <a:extLst>
                  <a:ext uri="{FF2B5EF4-FFF2-40B4-BE49-F238E27FC236}">
                    <a16:creationId xmlns:a16="http://schemas.microsoft.com/office/drawing/2014/main" id="{10AEC6A4-E01D-F54F-922C-4DC817118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7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3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3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55" name="Freeform 362">
                <a:extLst>
                  <a:ext uri="{FF2B5EF4-FFF2-40B4-BE49-F238E27FC236}">
                    <a16:creationId xmlns:a16="http://schemas.microsoft.com/office/drawing/2014/main" id="{DE17D070-BC7D-D8F8-71C1-330E9E245E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1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2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2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56" name="Freeform 363">
                <a:extLst>
                  <a:ext uri="{FF2B5EF4-FFF2-40B4-BE49-F238E27FC236}">
                    <a16:creationId xmlns:a16="http://schemas.microsoft.com/office/drawing/2014/main" id="{8E8F85DA-655F-5F06-255A-44EA42249A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1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2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2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57" name="Freeform 364">
                <a:extLst>
                  <a:ext uri="{FF2B5EF4-FFF2-40B4-BE49-F238E27FC236}">
                    <a16:creationId xmlns:a16="http://schemas.microsoft.com/office/drawing/2014/main" id="{0858B9E0-5454-9F2F-2627-CC2428685C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0" y="2618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58" name="Freeform 365">
                <a:extLst>
                  <a:ext uri="{FF2B5EF4-FFF2-40B4-BE49-F238E27FC236}">
                    <a16:creationId xmlns:a16="http://schemas.microsoft.com/office/drawing/2014/main" id="{C7B0E0BD-ECCA-43B2-655C-8CAA5B83C3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0" y="2618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8 w 22"/>
                  <a:gd name="T7" fmla="*/ 21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21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59" name="Freeform 366">
                <a:extLst>
                  <a:ext uri="{FF2B5EF4-FFF2-40B4-BE49-F238E27FC236}">
                    <a16:creationId xmlns:a16="http://schemas.microsoft.com/office/drawing/2014/main" id="{6928918B-D910-0843-391D-3879CC093C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0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2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2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60" name="Freeform 367">
                <a:extLst>
                  <a:ext uri="{FF2B5EF4-FFF2-40B4-BE49-F238E27FC236}">
                    <a16:creationId xmlns:a16="http://schemas.microsoft.com/office/drawing/2014/main" id="{F0A79CBA-9DC0-3D21-5A94-D4C0FCC4FF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0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2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2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61" name="Freeform 368">
                <a:extLst>
                  <a:ext uri="{FF2B5EF4-FFF2-40B4-BE49-F238E27FC236}">
                    <a16:creationId xmlns:a16="http://schemas.microsoft.com/office/drawing/2014/main" id="{3AD59235-E1A5-2605-307A-0120815FBB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4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1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2 w 23"/>
                  <a:gd name="T11" fmla="*/ 23 h 23"/>
                  <a:gd name="T12" fmla="*/ 6 w 23"/>
                  <a:gd name="T13" fmla="*/ 23 h 23"/>
                  <a:gd name="T14" fmla="*/ 2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2 w 23"/>
                  <a:gd name="T25" fmla="*/ 2 h 23"/>
                  <a:gd name="T26" fmla="*/ 6 w 23"/>
                  <a:gd name="T27" fmla="*/ 0 h 23"/>
                  <a:gd name="T28" fmla="*/ 12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1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1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62" name="Freeform 369">
                <a:extLst>
                  <a:ext uri="{FF2B5EF4-FFF2-40B4-BE49-F238E27FC236}">
                    <a16:creationId xmlns:a16="http://schemas.microsoft.com/office/drawing/2014/main" id="{F06E3933-5D0E-E466-D0BA-67342DF98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4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1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2 w 23"/>
                  <a:gd name="T11" fmla="*/ 23 h 23"/>
                  <a:gd name="T12" fmla="*/ 6 w 23"/>
                  <a:gd name="T13" fmla="*/ 23 h 23"/>
                  <a:gd name="T14" fmla="*/ 2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2 w 23"/>
                  <a:gd name="T25" fmla="*/ 2 h 23"/>
                  <a:gd name="T26" fmla="*/ 6 w 23"/>
                  <a:gd name="T27" fmla="*/ 0 h 23"/>
                  <a:gd name="T28" fmla="*/ 12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1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1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63" name="Freeform 370">
                <a:extLst>
                  <a:ext uri="{FF2B5EF4-FFF2-40B4-BE49-F238E27FC236}">
                    <a16:creationId xmlns:a16="http://schemas.microsoft.com/office/drawing/2014/main" id="{6CBFF788-F276-10DE-F2B3-787E49FFE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2" y="2383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0 w 24"/>
                  <a:gd name="T7" fmla="*/ 19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3 w 24"/>
                  <a:gd name="T15" fmla="*/ 19 h 23"/>
                  <a:gd name="T16" fmla="*/ 1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1 w 24"/>
                  <a:gd name="T23" fmla="*/ 6 h 23"/>
                  <a:gd name="T24" fmla="*/ 3 w 24"/>
                  <a:gd name="T25" fmla="*/ 2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0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0" y="19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19"/>
                    </a:lnTo>
                    <a:lnTo>
                      <a:pt x="1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2" y="6"/>
                    </a:lnTo>
                    <a:lnTo>
                      <a:pt x="24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64" name="Freeform 371">
                <a:extLst>
                  <a:ext uri="{FF2B5EF4-FFF2-40B4-BE49-F238E27FC236}">
                    <a16:creationId xmlns:a16="http://schemas.microsoft.com/office/drawing/2014/main" id="{22A1882E-8D5C-F037-D67B-345C9CC07E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2" y="2383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0 w 24"/>
                  <a:gd name="T7" fmla="*/ 19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3 w 24"/>
                  <a:gd name="T15" fmla="*/ 19 h 23"/>
                  <a:gd name="T16" fmla="*/ 1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1 w 24"/>
                  <a:gd name="T23" fmla="*/ 6 h 23"/>
                  <a:gd name="T24" fmla="*/ 3 w 24"/>
                  <a:gd name="T25" fmla="*/ 2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0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0" y="19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19"/>
                    </a:lnTo>
                    <a:lnTo>
                      <a:pt x="1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2" y="6"/>
                    </a:lnTo>
                    <a:lnTo>
                      <a:pt x="24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65" name="Freeform 372">
                <a:extLst>
                  <a:ext uri="{FF2B5EF4-FFF2-40B4-BE49-F238E27FC236}">
                    <a16:creationId xmlns:a16="http://schemas.microsoft.com/office/drawing/2014/main" id="{D43D4EA4-D8DF-107B-302F-9981375FFE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3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66" name="Freeform 373">
                <a:extLst>
                  <a:ext uri="{FF2B5EF4-FFF2-40B4-BE49-F238E27FC236}">
                    <a16:creationId xmlns:a16="http://schemas.microsoft.com/office/drawing/2014/main" id="{9540B2BA-13AB-7D1E-2868-07B3BEE8BD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3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67" name="Freeform 374">
                <a:extLst>
                  <a:ext uri="{FF2B5EF4-FFF2-40B4-BE49-F238E27FC236}">
                    <a16:creationId xmlns:a16="http://schemas.microsoft.com/office/drawing/2014/main" id="{45032955-4767-12AA-5B3D-238955D80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3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1 w 24"/>
                  <a:gd name="T7" fmla="*/ 21 h 23"/>
                  <a:gd name="T8" fmla="*/ 17 w 24"/>
                  <a:gd name="T9" fmla="*/ 23 h 23"/>
                  <a:gd name="T10" fmla="*/ 13 w 24"/>
                  <a:gd name="T11" fmla="*/ 23 h 23"/>
                  <a:gd name="T12" fmla="*/ 7 w 24"/>
                  <a:gd name="T13" fmla="*/ 23 h 23"/>
                  <a:gd name="T14" fmla="*/ 4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4 w 24"/>
                  <a:gd name="T25" fmla="*/ 2 h 23"/>
                  <a:gd name="T26" fmla="*/ 7 w 24"/>
                  <a:gd name="T27" fmla="*/ 0 h 23"/>
                  <a:gd name="T28" fmla="*/ 13 w 24"/>
                  <a:gd name="T29" fmla="*/ 0 h 23"/>
                  <a:gd name="T30" fmla="*/ 17 w 24"/>
                  <a:gd name="T31" fmla="*/ 0 h 23"/>
                  <a:gd name="T32" fmla="*/ 21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2" y="6"/>
                    </a:lnTo>
                    <a:lnTo>
                      <a:pt x="24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68" name="Freeform 375">
                <a:extLst>
                  <a:ext uri="{FF2B5EF4-FFF2-40B4-BE49-F238E27FC236}">
                    <a16:creationId xmlns:a16="http://schemas.microsoft.com/office/drawing/2014/main" id="{D7A1503D-BE2F-2415-E91B-6CEBE0A3B2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3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1 w 24"/>
                  <a:gd name="T7" fmla="*/ 21 h 23"/>
                  <a:gd name="T8" fmla="*/ 17 w 24"/>
                  <a:gd name="T9" fmla="*/ 23 h 23"/>
                  <a:gd name="T10" fmla="*/ 13 w 24"/>
                  <a:gd name="T11" fmla="*/ 23 h 23"/>
                  <a:gd name="T12" fmla="*/ 7 w 24"/>
                  <a:gd name="T13" fmla="*/ 23 h 23"/>
                  <a:gd name="T14" fmla="*/ 4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4 w 24"/>
                  <a:gd name="T25" fmla="*/ 2 h 23"/>
                  <a:gd name="T26" fmla="*/ 7 w 24"/>
                  <a:gd name="T27" fmla="*/ 0 h 23"/>
                  <a:gd name="T28" fmla="*/ 13 w 24"/>
                  <a:gd name="T29" fmla="*/ 0 h 23"/>
                  <a:gd name="T30" fmla="*/ 17 w 24"/>
                  <a:gd name="T31" fmla="*/ 0 h 23"/>
                  <a:gd name="T32" fmla="*/ 21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2" y="6"/>
                    </a:lnTo>
                    <a:lnTo>
                      <a:pt x="24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69" name="Freeform 376">
                <a:extLst>
                  <a:ext uri="{FF2B5EF4-FFF2-40B4-BE49-F238E27FC236}">
                    <a16:creationId xmlns:a16="http://schemas.microsoft.com/office/drawing/2014/main" id="{4F2AAFA5-8AC6-373C-3042-91D952295E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4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2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2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70" name="Freeform 377">
                <a:extLst>
                  <a:ext uri="{FF2B5EF4-FFF2-40B4-BE49-F238E27FC236}">
                    <a16:creationId xmlns:a16="http://schemas.microsoft.com/office/drawing/2014/main" id="{A5236EF6-5759-D182-2FA2-917D40923B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4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2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2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71" name="Freeform 378">
                <a:extLst>
                  <a:ext uri="{FF2B5EF4-FFF2-40B4-BE49-F238E27FC236}">
                    <a16:creationId xmlns:a16="http://schemas.microsoft.com/office/drawing/2014/main" id="{982DA4C3-A6B4-84CD-4658-94B91BEF9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5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72" name="Freeform 379">
                <a:extLst>
                  <a:ext uri="{FF2B5EF4-FFF2-40B4-BE49-F238E27FC236}">
                    <a16:creationId xmlns:a16="http://schemas.microsoft.com/office/drawing/2014/main" id="{4D075110-6C7C-C9E5-378C-FFD75B164F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5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73" name="Freeform 380">
                <a:extLst>
                  <a:ext uri="{FF2B5EF4-FFF2-40B4-BE49-F238E27FC236}">
                    <a16:creationId xmlns:a16="http://schemas.microsoft.com/office/drawing/2014/main" id="{9887DED0-1F61-3B29-FC58-02C40CC10B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1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1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  <a:close/>
                  </a:path>
                </a:pathLst>
              </a:custGeom>
              <a:solidFill>
                <a:srgbClr val="90EE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74" name="Freeform 381">
                <a:extLst>
                  <a:ext uri="{FF2B5EF4-FFF2-40B4-BE49-F238E27FC236}">
                    <a16:creationId xmlns:a16="http://schemas.microsoft.com/office/drawing/2014/main" id="{895DA9DB-258A-F221-5EE7-F8711F4802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1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1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</a:path>
                </a:pathLst>
              </a:custGeom>
              <a:noFill/>
              <a:ln w="9525">
                <a:solidFill>
                  <a:srgbClr val="90EE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75" name="Freeform 382">
                <a:extLst>
                  <a:ext uri="{FF2B5EF4-FFF2-40B4-BE49-F238E27FC236}">
                    <a16:creationId xmlns:a16="http://schemas.microsoft.com/office/drawing/2014/main" id="{34D44713-B0DC-8393-EFF9-CCC3411A1B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2319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8 w 22"/>
                  <a:gd name="T7" fmla="*/ 19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19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8" y="19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19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2"/>
                    </a:lnTo>
                    <a:close/>
                  </a:path>
                </a:pathLst>
              </a:custGeom>
              <a:solidFill>
                <a:srgbClr val="90EE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76" name="Freeform 383">
                <a:extLst>
                  <a:ext uri="{FF2B5EF4-FFF2-40B4-BE49-F238E27FC236}">
                    <a16:creationId xmlns:a16="http://schemas.microsoft.com/office/drawing/2014/main" id="{C27AB5D3-0008-4CB2-F749-0842E69B90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8" y="2319"/>
                <a:ext cx="22" cy="23"/>
              </a:xfrm>
              <a:custGeom>
                <a:avLst/>
                <a:gdLst>
                  <a:gd name="T0" fmla="*/ 22 w 22"/>
                  <a:gd name="T1" fmla="*/ 12 h 23"/>
                  <a:gd name="T2" fmla="*/ 22 w 22"/>
                  <a:gd name="T3" fmla="*/ 12 h 23"/>
                  <a:gd name="T4" fmla="*/ 22 w 22"/>
                  <a:gd name="T5" fmla="*/ 17 h 23"/>
                  <a:gd name="T6" fmla="*/ 18 w 22"/>
                  <a:gd name="T7" fmla="*/ 19 h 23"/>
                  <a:gd name="T8" fmla="*/ 15 w 22"/>
                  <a:gd name="T9" fmla="*/ 23 h 23"/>
                  <a:gd name="T10" fmla="*/ 11 w 22"/>
                  <a:gd name="T11" fmla="*/ 23 h 23"/>
                  <a:gd name="T12" fmla="*/ 7 w 22"/>
                  <a:gd name="T13" fmla="*/ 23 h 23"/>
                  <a:gd name="T14" fmla="*/ 3 w 22"/>
                  <a:gd name="T15" fmla="*/ 19 h 23"/>
                  <a:gd name="T16" fmla="*/ 0 w 22"/>
                  <a:gd name="T17" fmla="*/ 17 h 23"/>
                  <a:gd name="T18" fmla="*/ 0 w 22"/>
                  <a:gd name="T19" fmla="*/ 12 h 23"/>
                  <a:gd name="T20" fmla="*/ 0 w 22"/>
                  <a:gd name="T21" fmla="*/ 12 h 23"/>
                  <a:gd name="T22" fmla="*/ 0 w 22"/>
                  <a:gd name="T23" fmla="*/ 6 h 23"/>
                  <a:gd name="T24" fmla="*/ 3 w 22"/>
                  <a:gd name="T25" fmla="*/ 2 h 23"/>
                  <a:gd name="T26" fmla="*/ 7 w 22"/>
                  <a:gd name="T27" fmla="*/ 0 h 23"/>
                  <a:gd name="T28" fmla="*/ 11 w 22"/>
                  <a:gd name="T29" fmla="*/ 0 h 23"/>
                  <a:gd name="T30" fmla="*/ 15 w 22"/>
                  <a:gd name="T31" fmla="*/ 0 h 23"/>
                  <a:gd name="T32" fmla="*/ 18 w 22"/>
                  <a:gd name="T33" fmla="*/ 2 h 23"/>
                  <a:gd name="T34" fmla="*/ 22 w 22"/>
                  <a:gd name="T35" fmla="*/ 6 h 23"/>
                  <a:gd name="T36" fmla="*/ 22 w 22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23">
                    <a:moveTo>
                      <a:pt x="22" y="12"/>
                    </a:moveTo>
                    <a:lnTo>
                      <a:pt x="22" y="12"/>
                    </a:lnTo>
                    <a:lnTo>
                      <a:pt x="22" y="17"/>
                    </a:lnTo>
                    <a:lnTo>
                      <a:pt x="18" y="19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19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2" y="6"/>
                    </a:lnTo>
                    <a:lnTo>
                      <a:pt x="22" y="12"/>
                    </a:lnTo>
                  </a:path>
                </a:pathLst>
              </a:custGeom>
              <a:noFill/>
              <a:ln w="9525">
                <a:solidFill>
                  <a:srgbClr val="90EE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77" name="Freeform 384">
                <a:extLst>
                  <a:ext uri="{FF2B5EF4-FFF2-40B4-BE49-F238E27FC236}">
                    <a16:creationId xmlns:a16="http://schemas.microsoft.com/office/drawing/2014/main" id="{664D8931-DA18-3EFD-17C2-ECDCCC4E5E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2259"/>
                <a:ext cx="23" cy="25"/>
              </a:xfrm>
              <a:custGeom>
                <a:avLst/>
                <a:gdLst>
                  <a:gd name="T0" fmla="*/ 23 w 23"/>
                  <a:gd name="T1" fmla="*/ 13 h 25"/>
                  <a:gd name="T2" fmla="*/ 23 w 23"/>
                  <a:gd name="T3" fmla="*/ 13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2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3 h 25"/>
                  <a:gd name="T20" fmla="*/ 0 w 23"/>
                  <a:gd name="T21" fmla="*/ 13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2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3"/>
                    </a:move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3"/>
                    </a:lnTo>
                    <a:close/>
                  </a:path>
                </a:pathLst>
              </a:custGeom>
              <a:solidFill>
                <a:srgbClr val="90EE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78" name="Freeform 385">
                <a:extLst>
                  <a:ext uri="{FF2B5EF4-FFF2-40B4-BE49-F238E27FC236}">
                    <a16:creationId xmlns:a16="http://schemas.microsoft.com/office/drawing/2014/main" id="{D2024E26-DC97-88B8-3888-2BA20A847F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" y="2259"/>
                <a:ext cx="23" cy="25"/>
              </a:xfrm>
              <a:custGeom>
                <a:avLst/>
                <a:gdLst>
                  <a:gd name="T0" fmla="*/ 23 w 23"/>
                  <a:gd name="T1" fmla="*/ 13 h 25"/>
                  <a:gd name="T2" fmla="*/ 23 w 23"/>
                  <a:gd name="T3" fmla="*/ 13 h 25"/>
                  <a:gd name="T4" fmla="*/ 23 w 23"/>
                  <a:gd name="T5" fmla="*/ 17 h 25"/>
                  <a:gd name="T6" fmla="*/ 19 w 23"/>
                  <a:gd name="T7" fmla="*/ 21 h 25"/>
                  <a:gd name="T8" fmla="*/ 15 w 23"/>
                  <a:gd name="T9" fmla="*/ 23 h 25"/>
                  <a:gd name="T10" fmla="*/ 12 w 23"/>
                  <a:gd name="T11" fmla="*/ 25 h 25"/>
                  <a:gd name="T12" fmla="*/ 8 w 23"/>
                  <a:gd name="T13" fmla="*/ 23 h 25"/>
                  <a:gd name="T14" fmla="*/ 4 w 23"/>
                  <a:gd name="T15" fmla="*/ 21 h 25"/>
                  <a:gd name="T16" fmla="*/ 0 w 23"/>
                  <a:gd name="T17" fmla="*/ 17 h 25"/>
                  <a:gd name="T18" fmla="*/ 0 w 23"/>
                  <a:gd name="T19" fmla="*/ 13 h 25"/>
                  <a:gd name="T20" fmla="*/ 0 w 23"/>
                  <a:gd name="T21" fmla="*/ 13 h 25"/>
                  <a:gd name="T22" fmla="*/ 0 w 23"/>
                  <a:gd name="T23" fmla="*/ 8 h 25"/>
                  <a:gd name="T24" fmla="*/ 4 w 23"/>
                  <a:gd name="T25" fmla="*/ 4 h 25"/>
                  <a:gd name="T26" fmla="*/ 8 w 23"/>
                  <a:gd name="T27" fmla="*/ 2 h 25"/>
                  <a:gd name="T28" fmla="*/ 12 w 23"/>
                  <a:gd name="T29" fmla="*/ 0 h 25"/>
                  <a:gd name="T30" fmla="*/ 15 w 23"/>
                  <a:gd name="T31" fmla="*/ 2 h 25"/>
                  <a:gd name="T32" fmla="*/ 19 w 23"/>
                  <a:gd name="T33" fmla="*/ 4 h 25"/>
                  <a:gd name="T34" fmla="*/ 23 w 23"/>
                  <a:gd name="T35" fmla="*/ 8 h 25"/>
                  <a:gd name="T36" fmla="*/ 23 w 23"/>
                  <a:gd name="T37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5">
                    <a:moveTo>
                      <a:pt x="23" y="13"/>
                    </a:moveTo>
                    <a:lnTo>
                      <a:pt x="23" y="13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3" y="8"/>
                    </a:lnTo>
                    <a:lnTo>
                      <a:pt x="23" y="13"/>
                    </a:lnTo>
                  </a:path>
                </a:pathLst>
              </a:custGeom>
              <a:noFill/>
              <a:ln w="9525">
                <a:solidFill>
                  <a:srgbClr val="90EE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79" name="Freeform 386">
                <a:extLst>
                  <a:ext uri="{FF2B5EF4-FFF2-40B4-BE49-F238E27FC236}">
                    <a16:creationId xmlns:a16="http://schemas.microsoft.com/office/drawing/2014/main" id="{437789A7-D7BE-AA67-B592-2036A4BAB0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2325"/>
                <a:ext cx="23" cy="24"/>
              </a:xfrm>
              <a:custGeom>
                <a:avLst/>
                <a:gdLst>
                  <a:gd name="T0" fmla="*/ 23 w 23"/>
                  <a:gd name="T1" fmla="*/ 13 h 24"/>
                  <a:gd name="T2" fmla="*/ 23 w 23"/>
                  <a:gd name="T3" fmla="*/ 13 h 24"/>
                  <a:gd name="T4" fmla="*/ 21 w 23"/>
                  <a:gd name="T5" fmla="*/ 17 h 24"/>
                  <a:gd name="T6" fmla="*/ 19 w 23"/>
                  <a:gd name="T7" fmla="*/ 21 h 24"/>
                  <a:gd name="T8" fmla="*/ 15 w 23"/>
                  <a:gd name="T9" fmla="*/ 23 h 24"/>
                  <a:gd name="T10" fmla="*/ 11 w 23"/>
                  <a:gd name="T11" fmla="*/ 24 h 24"/>
                  <a:gd name="T12" fmla="*/ 6 w 23"/>
                  <a:gd name="T13" fmla="*/ 23 h 24"/>
                  <a:gd name="T14" fmla="*/ 2 w 23"/>
                  <a:gd name="T15" fmla="*/ 21 h 24"/>
                  <a:gd name="T16" fmla="*/ 0 w 23"/>
                  <a:gd name="T17" fmla="*/ 17 h 24"/>
                  <a:gd name="T18" fmla="*/ 0 w 23"/>
                  <a:gd name="T19" fmla="*/ 13 h 24"/>
                  <a:gd name="T20" fmla="*/ 0 w 23"/>
                  <a:gd name="T21" fmla="*/ 13 h 24"/>
                  <a:gd name="T22" fmla="*/ 0 w 23"/>
                  <a:gd name="T23" fmla="*/ 8 h 24"/>
                  <a:gd name="T24" fmla="*/ 2 w 23"/>
                  <a:gd name="T25" fmla="*/ 4 h 24"/>
                  <a:gd name="T26" fmla="*/ 6 w 23"/>
                  <a:gd name="T27" fmla="*/ 2 h 24"/>
                  <a:gd name="T28" fmla="*/ 11 w 23"/>
                  <a:gd name="T29" fmla="*/ 0 h 24"/>
                  <a:gd name="T30" fmla="*/ 15 w 23"/>
                  <a:gd name="T31" fmla="*/ 2 h 24"/>
                  <a:gd name="T32" fmla="*/ 19 w 23"/>
                  <a:gd name="T33" fmla="*/ 4 h 24"/>
                  <a:gd name="T34" fmla="*/ 21 w 23"/>
                  <a:gd name="T35" fmla="*/ 8 h 24"/>
                  <a:gd name="T36" fmla="*/ 23 w 23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3"/>
                    </a:moveTo>
                    <a:lnTo>
                      <a:pt x="23" y="13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4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1" y="8"/>
                    </a:lnTo>
                    <a:lnTo>
                      <a:pt x="23" y="13"/>
                    </a:lnTo>
                    <a:close/>
                  </a:path>
                </a:pathLst>
              </a:custGeom>
              <a:solidFill>
                <a:srgbClr val="90EE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80" name="Freeform 387">
                <a:extLst>
                  <a:ext uri="{FF2B5EF4-FFF2-40B4-BE49-F238E27FC236}">
                    <a16:creationId xmlns:a16="http://schemas.microsoft.com/office/drawing/2014/main" id="{350C4CB5-45D8-A716-006B-6EAB440E85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" y="2325"/>
                <a:ext cx="23" cy="24"/>
              </a:xfrm>
              <a:custGeom>
                <a:avLst/>
                <a:gdLst>
                  <a:gd name="T0" fmla="*/ 23 w 23"/>
                  <a:gd name="T1" fmla="*/ 13 h 24"/>
                  <a:gd name="T2" fmla="*/ 23 w 23"/>
                  <a:gd name="T3" fmla="*/ 13 h 24"/>
                  <a:gd name="T4" fmla="*/ 21 w 23"/>
                  <a:gd name="T5" fmla="*/ 17 h 24"/>
                  <a:gd name="T6" fmla="*/ 19 w 23"/>
                  <a:gd name="T7" fmla="*/ 21 h 24"/>
                  <a:gd name="T8" fmla="*/ 15 w 23"/>
                  <a:gd name="T9" fmla="*/ 23 h 24"/>
                  <a:gd name="T10" fmla="*/ 11 w 23"/>
                  <a:gd name="T11" fmla="*/ 24 h 24"/>
                  <a:gd name="T12" fmla="*/ 6 w 23"/>
                  <a:gd name="T13" fmla="*/ 23 h 24"/>
                  <a:gd name="T14" fmla="*/ 2 w 23"/>
                  <a:gd name="T15" fmla="*/ 21 h 24"/>
                  <a:gd name="T16" fmla="*/ 0 w 23"/>
                  <a:gd name="T17" fmla="*/ 17 h 24"/>
                  <a:gd name="T18" fmla="*/ 0 w 23"/>
                  <a:gd name="T19" fmla="*/ 13 h 24"/>
                  <a:gd name="T20" fmla="*/ 0 w 23"/>
                  <a:gd name="T21" fmla="*/ 13 h 24"/>
                  <a:gd name="T22" fmla="*/ 0 w 23"/>
                  <a:gd name="T23" fmla="*/ 8 h 24"/>
                  <a:gd name="T24" fmla="*/ 2 w 23"/>
                  <a:gd name="T25" fmla="*/ 4 h 24"/>
                  <a:gd name="T26" fmla="*/ 6 w 23"/>
                  <a:gd name="T27" fmla="*/ 2 h 24"/>
                  <a:gd name="T28" fmla="*/ 11 w 23"/>
                  <a:gd name="T29" fmla="*/ 0 h 24"/>
                  <a:gd name="T30" fmla="*/ 15 w 23"/>
                  <a:gd name="T31" fmla="*/ 2 h 24"/>
                  <a:gd name="T32" fmla="*/ 19 w 23"/>
                  <a:gd name="T33" fmla="*/ 4 h 24"/>
                  <a:gd name="T34" fmla="*/ 21 w 23"/>
                  <a:gd name="T35" fmla="*/ 8 h 24"/>
                  <a:gd name="T36" fmla="*/ 23 w 23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3"/>
                    </a:moveTo>
                    <a:lnTo>
                      <a:pt x="23" y="13"/>
                    </a:lnTo>
                    <a:lnTo>
                      <a:pt x="21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4"/>
                    </a:lnTo>
                    <a:lnTo>
                      <a:pt x="6" y="23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4"/>
                    </a:lnTo>
                    <a:lnTo>
                      <a:pt x="21" y="8"/>
                    </a:lnTo>
                    <a:lnTo>
                      <a:pt x="23" y="13"/>
                    </a:lnTo>
                  </a:path>
                </a:pathLst>
              </a:custGeom>
              <a:noFill/>
              <a:ln w="9525">
                <a:solidFill>
                  <a:srgbClr val="90EE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81" name="Freeform 388">
                <a:extLst>
                  <a:ext uri="{FF2B5EF4-FFF2-40B4-BE49-F238E27FC236}">
                    <a16:creationId xmlns:a16="http://schemas.microsoft.com/office/drawing/2014/main" id="{02B17665-988B-F65A-6919-93AAC0EC91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3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3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  <a:close/>
                  </a:path>
                </a:pathLst>
              </a:custGeom>
              <a:solidFill>
                <a:srgbClr val="90EE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82" name="Freeform 389">
                <a:extLst>
                  <a:ext uri="{FF2B5EF4-FFF2-40B4-BE49-F238E27FC236}">
                    <a16:creationId xmlns:a16="http://schemas.microsoft.com/office/drawing/2014/main" id="{DE174AC0-6F79-7C81-644D-C25E322685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8" y="2618"/>
                <a:ext cx="25" cy="23"/>
              </a:xfrm>
              <a:custGeom>
                <a:avLst/>
                <a:gdLst>
                  <a:gd name="T0" fmla="*/ 25 w 25"/>
                  <a:gd name="T1" fmla="*/ 12 h 23"/>
                  <a:gd name="T2" fmla="*/ 25 w 25"/>
                  <a:gd name="T3" fmla="*/ 12 h 23"/>
                  <a:gd name="T4" fmla="*/ 23 w 25"/>
                  <a:gd name="T5" fmla="*/ 17 h 23"/>
                  <a:gd name="T6" fmla="*/ 21 w 25"/>
                  <a:gd name="T7" fmla="*/ 21 h 23"/>
                  <a:gd name="T8" fmla="*/ 17 w 25"/>
                  <a:gd name="T9" fmla="*/ 23 h 23"/>
                  <a:gd name="T10" fmla="*/ 13 w 25"/>
                  <a:gd name="T11" fmla="*/ 23 h 23"/>
                  <a:gd name="T12" fmla="*/ 8 w 25"/>
                  <a:gd name="T13" fmla="*/ 23 h 23"/>
                  <a:gd name="T14" fmla="*/ 4 w 25"/>
                  <a:gd name="T15" fmla="*/ 21 h 23"/>
                  <a:gd name="T16" fmla="*/ 2 w 25"/>
                  <a:gd name="T17" fmla="*/ 17 h 23"/>
                  <a:gd name="T18" fmla="*/ 0 w 25"/>
                  <a:gd name="T19" fmla="*/ 12 h 23"/>
                  <a:gd name="T20" fmla="*/ 0 w 25"/>
                  <a:gd name="T21" fmla="*/ 12 h 23"/>
                  <a:gd name="T22" fmla="*/ 2 w 25"/>
                  <a:gd name="T23" fmla="*/ 6 h 23"/>
                  <a:gd name="T24" fmla="*/ 4 w 25"/>
                  <a:gd name="T25" fmla="*/ 2 h 23"/>
                  <a:gd name="T26" fmla="*/ 8 w 25"/>
                  <a:gd name="T27" fmla="*/ 0 h 23"/>
                  <a:gd name="T28" fmla="*/ 13 w 25"/>
                  <a:gd name="T29" fmla="*/ 0 h 23"/>
                  <a:gd name="T30" fmla="*/ 17 w 25"/>
                  <a:gd name="T31" fmla="*/ 0 h 23"/>
                  <a:gd name="T32" fmla="*/ 21 w 25"/>
                  <a:gd name="T33" fmla="*/ 2 h 23"/>
                  <a:gd name="T34" fmla="*/ 23 w 25"/>
                  <a:gd name="T35" fmla="*/ 6 h 23"/>
                  <a:gd name="T36" fmla="*/ 25 w 25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3">
                    <a:moveTo>
                      <a:pt x="25" y="12"/>
                    </a:moveTo>
                    <a:lnTo>
                      <a:pt x="25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3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5" y="12"/>
                    </a:lnTo>
                  </a:path>
                </a:pathLst>
              </a:custGeom>
              <a:noFill/>
              <a:ln w="9525">
                <a:solidFill>
                  <a:srgbClr val="90EE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83" name="Freeform 390">
                <a:extLst>
                  <a:ext uri="{FF2B5EF4-FFF2-40B4-BE49-F238E27FC236}">
                    <a16:creationId xmlns:a16="http://schemas.microsoft.com/office/drawing/2014/main" id="{127F80C1-783D-5D2E-B0DC-39EE3ACFF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1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4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4 w 24"/>
                  <a:gd name="T25" fmla="*/ 2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1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2" y="6"/>
                    </a:lnTo>
                    <a:lnTo>
                      <a:pt x="24" y="12"/>
                    </a:lnTo>
                    <a:close/>
                  </a:path>
                </a:pathLst>
              </a:custGeom>
              <a:solidFill>
                <a:srgbClr val="90EE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84" name="Freeform 391">
                <a:extLst>
                  <a:ext uri="{FF2B5EF4-FFF2-40B4-BE49-F238E27FC236}">
                    <a16:creationId xmlns:a16="http://schemas.microsoft.com/office/drawing/2014/main" id="{28F67FE7-6707-AFA2-4661-4326E91588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1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4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4 w 24"/>
                  <a:gd name="T25" fmla="*/ 2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1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2" y="6"/>
                    </a:lnTo>
                    <a:lnTo>
                      <a:pt x="24" y="12"/>
                    </a:lnTo>
                  </a:path>
                </a:pathLst>
              </a:custGeom>
              <a:noFill/>
              <a:ln w="9525">
                <a:solidFill>
                  <a:srgbClr val="90EE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85" name="Freeform 392">
                <a:extLst>
                  <a:ext uri="{FF2B5EF4-FFF2-40B4-BE49-F238E27FC236}">
                    <a16:creationId xmlns:a16="http://schemas.microsoft.com/office/drawing/2014/main" id="{C50D9D06-5935-09EC-9823-B9F76B5F86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1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4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4 w 24"/>
                  <a:gd name="T25" fmla="*/ 2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1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2" y="6"/>
                    </a:lnTo>
                    <a:lnTo>
                      <a:pt x="24" y="12"/>
                    </a:lnTo>
                    <a:close/>
                  </a:path>
                </a:pathLst>
              </a:custGeom>
              <a:solidFill>
                <a:srgbClr val="90EE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86" name="Freeform 393">
                <a:extLst>
                  <a:ext uri="{FF2B5EF4-FFF2-40B4-BE49-F238E27FC236}">
                    <a16:creationId xmlns:a16="http://schemas.microsoft.com/office/drawing/2014/main" id="{26CD851A-AE2C-B81D-4192-7A2BEDA6A0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1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4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4 w 24"/>
                  <a:gd name="T25" fmla="*/ 2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1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2" y="6"/>
                    </a:lnTo>
                    <a:lnTo>
                      <a:pt x="24" y="12"/>
                    </a:lnTo>
                  </a:path>
                </a:pathLst>
              </a:custGeom>
              <a:noFill/>
              <a:ln w="9525">
                <a:solidFill>
                  <a:srgbClr val="90EE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87" name="Freeform 394">
                <a:extLst>
                  <a:ext uri="{FF2B5EF4-FFF2-40B4-BE49-F238E27FC236}">
                    <a16:creationId xmlns:a16="http://schemas.microsoft.com/office/drawing/2014/main" id="{A431630B-E88C-BEF4-F978-B5CBD7C2AB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0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3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3 w 24"/>
                  <a:gd name="T25" fmla="*/ 2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0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2" y="6"/>
                    </a:lnTo>
                    <a:lnTo>
                      <a:pt x="24" y="12"/>
                    </a:lnTo>
                    <a:close/>
                  </a:path>
                </a:pathLst>
              </a:custGeom>
              <a:solidFill>
                <a:srgbClr val="90EE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88" name="Freeform 395">
                <a:extLst>
                  <a:ext uri="{FF2B5EF4-FFF2-40B4-BE49-F238E27FC236}">
                    <a16:creationId xmlns:a16="http://schemas.microsoft.com/office/drawing/2014/main" id="{944C0E29-A6DC-DF9E-2A8C-6F70B7ECFD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" y="2618"/>
                <a:ext cx="24" cy="23"/>
              </a:xfrm>
              <a:custGeom>
                <a:avLst/>
                <a:gdLst>
                  <a:gd name="T0" fmla="*/ 24 w 24"/>
                  <a:gd name="T1" fmla="*/ 12 h 23"/>
                  <a:gd name="T2" fmla="*/ 24 w 24"/>
                  <a:gd name="T3" fmla="*/ 12 h 23"/>
                  <a:gd name="T4" fmla="*/ 22 w 24"/>
                  <a:gd name="T5" fmla="*/ 17 h 23"/>
                  <a:gd name="T6" fmla="*/ 20 w 24"/>
                  <a:gd name="T7" fmla="*/ 21 h 23"/>
                  <a:gd name="T8" fmla="*/ 17 w 24"/>
                  <a:gd name="T9" fmla="*/ 23 h 23"/>
                  <a:gd name="T10" fmla="*/ 11 w 24"/>
                  <a:gd name="T11" fmla="*/ 23 h 23"/>
                  <a:gd name="T12" fmla="*/ 7 w 24"/>
                  <a:gd name="T13" fmla="*/ 23 h 23"/>
                  <a:gd name="T14" fmla="*/ 3 w 24"/>
                  <a:gd name="T15" fmla="*/ 21 h 23"/>
                  <a:gd name="T16" fmla="*/ 2 w 24"/>
                  <a:gd name="T17" fmla="*/ 17 h 23"/>
                  <a:gd name="T18" fmla="*/ 0 w 24"/>
                  <a:gd name="T19" fmla="*/ 12 h 23"/>
                  <a:gd name="T20" fmla="*/ 0 w 24"/>
                  <a:gd name="T21" fmla="*/ 12 h 23"/>
                  <a:gd name="T22" fmla="*/ 2 w 24"/>
                  <a:gd name="T23" fmla="*/ 6 h 23"/>
                  <a:gd name="T24" fmla="*/ 3 w 24"/>
                  <a:gd name="T25" fmla="*/ 2 h 23"/>
                  <a:gd name="T26" fmla="*/ 7 w 24"/>
                  <a:gd name="T27" fmla="*/ 0 h 23"/>
                  <a:gd name="T28" fmla="*/ 11 w 24"/>
                  <a:gd name="T29" fmla="*/ 0 h 23"/>
                  <a:gd name="T30" fmla="*/ 17 w 24"/>
                  <a:gd name="T31" fmla="*/ 0 h 23"/>
                  <a:gd name="T32" fmla="*/ 20 w 24"/>
                  <a:gd name="T33" fmla="*/ 2 h 23"/>
                  <a:gd name="T34" fmla="*/ 22 w 24"/>
                  <a:gd name="T35" fmla="*/ 6 h 23"/>
                  <a:gd name="T36" fmla="*/ 24 w 24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3">
                    <a:moveTo>
                      <a:pt x="24" y="12"/>
                    </a:moveTo>
                    <a:lnTo>
                      <a:pt x="24" y="12"/>
                    </a:lnTo>
                    <a:lnTo>
                      <a:pt x="22" y="17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7" y="23"/>
                    </a:lnTo>
                    <a:lnTo>
                      <a:pt x="3" y="21"/>
                    </a:lnTo>
                    <a:lnTo>
                      <a:pt x="2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2" y="6"/>
                    </a:lnTo>
                    <a:lnTo>
                      <a:pt x="24" y="12"/>
                    </a:lnTo>
                  </a:path>
                </a:pathLst>
              </a:custGeom>
              <a:noFill/>
              <a:ln w="9525">
                <a:solidFill>
                  <a:srgbClr val="90EE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89" name="Freeform 396">
                <a:extLst>
                  <a:ext uri="{FF2B5EF4-FFF2-40B4-BE49-F238E27FC236}">
                    <a16:creationId xmlns:a16="http://schemas.microsoft.com/office/drawing/2014/main" id="{364BC0F4-0379-40AA-23CC-DA329379BF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2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2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90EE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90" name="Freeform 397">
                <a:extLst>
                  <a:ext uri="{FF2B5EF4-FFF2-40B4-BE49-F238E27FC236}">
                    <a16:creationId xmlns:a16="http://schemas.microsoft.com/office/drawing/2014/main" id="{3EC603BB-83DC-D13B-7DA0-FF18079EEE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2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2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90EE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91" name="Freeform 398">
                <a:extLst>
                  <a:ext uri="{FF2B5EF4-FFF2-40B4-BE49-F238E27FC236}">
                    <a16:creationId xmlns:a16="http://schemas.microsoft.com/office/drawing/2014/main" id="{818A4538-B62A-EE27-45C9-2789E35BC2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90EE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92" name="Freeform 399">
                <a:extLst>
                  <a:ext uri="{FF2B5EF4-FFF2-40B4-BE49-F238E27FC236}">
                    <a16:creationId xmlns:a16="http://schemas.microsoft.com/office/drawing/2014/main" id="{EAB30681-2ADF-8EC5-0944-7491AD663B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2618"/>
                <a:ext cx="23" cy="23"/>
              </a:xfrm>
              <a:custGeom>
                <a:avLst/>
                <a:gdLst>
                  <a:gd name="T0" fmla="*/ 23 w 23"/>
                  <a:gd name="T1" fmla="*/ 12 h 23"/>
                  <a:gd name="T2" fmla="*/ 23 w 23"/>
                  <a:gd name="T3" fmla="*/ 12 h 23"/>
                  <a:gd name="T4" fmla="*/ 23 w 23"/>
                  <a:gd name="T5" fmla="*/ 17 h 23"/>
                  <a:gd name="T6" fmla="*/ 19 w 23"/>
                  <a:gd name="T7" fmla="*/ 21 h 23"/>
                  <a:gd name="T8" fmla="*/ 15 w 23"/>
                  <a:gd name="T9" fmla="*/ 23 h 23"/>
                  <a:gd name="T10" fmla="*/ 11 w 23"/>
                  <a:gd name="T11" fmla="*/ 23 h 23"/>
                  <a:gd name="T12" fmla="*/ 8 w 23"/>
                  <a:gd name="T13" fmla="*/ 23 h 23"/>
                  <a:gd name="T14" fmla="*/ 4 w 23"/>
                  <a:gd name="T15" fmla="*/ 21 h 23"/>
                  <a:gd name="T16" fmla="*/ 0 w 23"/>
                  <a:gd name="T17" fmla="*/ 17 h 23"/>
                  <a:gd name="T18" fmla="*/ 0 w 23"/>
                  <a:gd name="T19" fmla="*/ 12 h 23"/>
                  <a:gd name="T20" fmla="*/ 0 w 23"/>
                  <a:gd name="T21" fmla="*/ 12 h 23"/>
                  <a:gd name="T22" fmla="*/ 0 w 23"/>
                  <a:gd name="T23" fmla="*/ 6 h 23"/>
                  <a:gd name="T24" fmla="*/ 4 w 23"/>
                  <a:gd name="T25" fmla="*/ 2 h 23"/>
                  <a:gd name="T26" fmla="*/ 8 w 23"/>
                  <a:gd name="T27" fmla="*/ 0 h 23"/>
                  <a:gd name="T28" fmla="*/ 11 w 23"/>
                  <a:gd name="T29" fmla="*/ 0 h 23"/>
                  <a:gd name="T30" fmla="*/ 15 w 23"/>
                  <a:gd name="T31" fmla="*/ 0 h 23"/>
                  <a:gd name="T32" fmla="*/ 19 w 23"/>
                  <a:gd name="T33" fmla="*/ 2 h 23"/>
                  <a:gd name="T34" fmla="*/ 23 w 23"/>
                  <a:gd name="T35" fmla="*/ 6 h 23"/>
                  <a:gd name="T36" fmla="*/ 23 w 23"/>
                  <a:gd name="T37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3">
                    <a:moveTo>
                      <a:pt x="23" y="12"/>
                    </a:moveTo>
                    <a:lnTo>
                      <a:pt x="23" y="12"/>
                    </a:lnTo>
                    <a:lnTo>
                      <a:pt x="23" y="17"/>
                    </a:lnTo>
                    <a:lnTo>
                      <a:pt x="19" y="21"/>
                    </a:lnTo>
                    <a:lnTo>
                      <a:pt x="15" y="23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6"/>
                    </a:lnTo>
                    <a:lnTo>
                      <a:pt x="23" y="12"/>
                    </a:lnTo>
                  </a:path>
                </a:pathLst>
              </a:custGeom>
              <a:noFill/>
              <a:ln w="9525">
                <a:solidFill>
                  <a:srgbClr val="90EE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93" name="Freeform 400">
                <a:extLst>
                  <a:ext uri="{FF2B5EF4-FFF2-40B4-BE49-F238E27FC236}">
                    <a16:creationId xmlns:a16="http://schemas.microsoft.com/office/drawing/2014/main" id="{B94AF1E1-6976-D0ED-79EB-3ADF090555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1" y="2487"/>
                <a:ext cx="24" cy="24"/>
              </a:xfrm>
              <a:custGeom>
                <a:avLst/>
                <a:gdLst>
                  <a:gd name="T0" fmla="*/ 24 w 24"/>
                  <a:gd name="T1" fmla="*/ 13 h 24"/>
                  <a:gd name="T2" fmla="*/ 24 w 24"/>
                  <a:gd name="T3" fmla="*/ 13 h 24"/>
                  <a:gd name="T4" fmla="*/ 22 w 24"/>
                  <a:gd name="T5" fmla="*/ 17 h 24"/>
                  <a:gd name="T6" fmla="*/ 21 w 24"/>
                  <a:gd name="T7" fmla="*/ 20 h 24"/>
                  <a:gd name="T8" fmla="*/ 17 w 24"/>
                  <a:gd name="T9" fmla="*/ 24 h 24"/>
                  <a:gd name="T10" fmla="*/ 13 w 24"/>
                  <a:gd name="T11" fmla="*/ 24 h 24"/>
                  <a:gd name="T12" fmla="*/ 7 w 24"/>
                  <a:gd name="T13" fmla="*/ 24 h 24"/>
                  <a:gd name="T14" fmla="*/ 4 w 24"/>
                  <a:gd name="T15" fmla="*/ 20 h 24"/>
                  <a:gd name="T16" fmla="*/ 2 w 24"/>
                  <a:gd name="T17" fmla="*/ 17 h 24"/>
                  <a:gd name="T18" fmla="*/ 0 w 24"/>
                  <a:gd name="T19" fmla="*/ 13 h 24"/>
                  <a:gd name="T20" fmla="*/ 0 w 24"/>
                  <a:gd name="T21" fmla="*/ 13 h 24"/>
                  <a:gd name="T22" fmla="*/ 2 w 24"/>
                  <a:gd name="T23" fmla="*/ 7 h 24"/>
                  <a:gd name="T24" fmla="*/ 4 w 24"/>
                  <a:gd name="T25" fmla="*/ 3 h 24"/>
                  <a:gd name="T26" fmla="*/ 7 w 24"/>
                  <a:gd name="T27" fmla="*/ 2 h 24"/>
                  <a:gd name="T28" fmla="*/ 13 w 24"/>
                  <a:gd name="T29" fmla="*/ 0 h 24"/>
                  <a:gd name="T30" fmla="*/ 17 w 24"/>
                  <a:gd name="T31" fmla="*/ 2 h 24"/>
                  <a:gd name="T32" fmla="*/ 21 w 24"/>
                  <a:gd name="T33" fmla="*/ 3 h 24"/>
                  <a:gd name="T34" fmla="*/ 22 w 24"/>
                  <a:gd name="T35" fmla="*/ 7 h 24"/>
                  <a:gd name="T36" fmla="*/ 24 w 24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4">
                    <a:moveTo>
                      <a:pt x="24" y="13"/>
                    </a:moveTo>
                    <a:lnTo>
                      <a:pt x="24" y="13"/>
                    </a:lnTo>
                    <a:lnTo>
                      <a:pt x="22" y="17"/>
                    </a:lnTo>
                    <a:lnTo>
                      <a:pt x="21" y="20"/>
                    </a:lnTo>
                    <a:lnTo>
                      <a:pt x="17" y="24"/>
                    </a:lnTo>
                    <a:lnTo>
                      <a:pt x="13" y="24"/>
                    </a:lnTo>
                    <a:lnTo>
                      <a:pt x="7" y="24"/>
                    </a:lnTo>
                    <a:lnTo>
                      <a:pt x="4" y="20"/>
                    </a:lnTo>
                    <a:lnTo>
                      <a:pt x="2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7"/>
                    </a:lnTo>
                    <a:lnTo>
                      <a:pt x="4" y="3"/>
                    </a:lnTo>
                    <a:lnTo>
                      <a:pt x="7" y="2"/>
                    </a:lnTo>
                    <a:lnTo>
                      <a:pt x="13" y="0"/>
                    </a:lnTo>
                    <a:lnTo>
                      <a:pt x="17" y="2"/>
                    </a:lnTo>
                    <a:lnTo>
                      <a:pt x="21" y="3"/>
                    </a:lnTo>
                    <a:lnTo>
                      <a:pt x="22" y="7"/>
                    </a:lnTo>
                    <a:lnTo>
                      <a:pt x="24" y="13"/>
                    </a:lnTo>
                    <a:close/>
                  </a:path>
                </a:pathLst>
              </a:custGeom>
              <a:solidFill>
                <a:srgbClr val="90EE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94" name="Freeform 401">
                <a:extLst>
                  <a:ext uri="{FF2B5EF4-FFF2-40B4-BE49-F238E27FC236}">
                    <a16:creationId xmlns:a16="http://schemas.microsoft.com/office/drawing/2014/main" id="{AED389C9-B23C-0737-C625-E181B960AA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1" y="2487"/>
                <a:ext cx="24" cy="24"/>
              </a:xfrm>
              <a:custGeom>
                <a:avLst/>
                <a:gdLst>
                  <a:gd name="T0" fmla="*/ 24 w 24"/>
                  <a:gd name="T1" fmla="*/ 13 h 24"/>
                  <a:gd name="T2" fmla="*/ 24 w 24"/>
                  <a:gd name="T3" fmla="*/ 13 h 24"/>
                  <a:gd name="T4" fmla="*/ 22 w 24"/>
                  <a:gd name="T5" fmla="*/ 17 h 24"/>
                  <a:gd name="T6" fmla="*/ 21 w 24"/>
                  <a:gd name="T7" fmla="*/ 20 h 24"/>
                  <a:gd name="T8" fmla="*/ 17 w 24"/>
                  <a:gd name="T9" fmla="*/ 24 h 24"/>
                  <a:gd name="T10" fmla="*/ 13 w 24"/>
                  <a:gd name="T11" fmla="*/ 24 h 24"/>
                  <a:gd name="T12" fmla="*/ 7 w 24"/>
                  <a:gd name="T13" fmla="*/ 24 h 24"/>
                  <a:gd name="T14" fmla="*/ 4 w 24"/>
                  <a:gd name="T15" fmla="*/ 20 h 24"/>
                  <a:gd name="T16" fmla="*/ 2 w 24"/>
                  <a:gd name="T17" fmla="*/ 17 h 24"/>
                  <a:gd name="T18" fmla="*/ 0 w 24"/>
                  <a:gd name="T19" fmla="*/ 13 h 24"/>
                  <a:gd name="T20" fmla="*/ 0 w 24"/>
                  <a:gd name="T21" fmla="*/ 13 h 24"/>
                  <a:gd name="T22" fmla="*/ 2 w 24"/>
                  <a:gd name="T23" fmla="*/ 7 h 24"/>
                  <a:gd name="T24" fmla="*/ 4 w 24"/>
                  <a:gd name="T25" fmla="*/ 3 h 24"/>
                  <a:gd name="T26" fmla="*/ 7 w 24"/>
                  <a:gd name="T27" fmla="*/ 2 h 24"/>
                  <a:gd name="T28" fmla="*/ 13 w 24"/>
                  <a:gd name="T29" fmla="*/ 0 h 24"/>
                  <a:gd name="T30" fmla="*/ 17 w 24"/>
                  <a:gd name="T31" fmla="*/ 2 h 24"/>
                  <a:gd name="T32" fmla="*/ 21 w 24"/>
                  <a:gd name="T33" fmla="*/ 3 h 24"/>
                  <a:gd name="T34" fmla="*/ 22 w 24"/>
                  <a:gd name="T35" fmla="*/ 7 h 24"/>
                  <a:gd name="T36" fmla="*/ 24 w 24"/>
                  <a:gd name="T3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4">
                    <a:moveTo>
                      <a:pt x="24" y="13"/>
                    </a:moveTo>
                    <a:lnTo>
                      <a:pt x="24" y="13"/>
                    </a:lnTo>
                    <a:lnTo>
                      <a:pt x="22" y="17"/>
                    </a:lnTo>
                    <a:lnTo>
                      <a:pt x="21" y="20"/>
                    </a:lnTo>
                    <a:lnTo>
                      <a:pt x="17" y="24"/>
                    </a:lnTo>
                    <a:lnTo>
                      <a:pt x="13" y="24"/>
                    </a:lnTo>
                    <a:lnTo>
                      <a:pt x="7" y="24"/>
                    </a:lnTo>
                    <a:lnTo>
                      <a:pt x="4" y="20"/>
                    </a:lnTo>
                    <a:lnTo>
                      <a:pt x="2" y="1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7"/>
                    </a:lnTo>
                    <a:lnTo>
                      <a:pt x="4" y="3"/>
                    </a:lnTo>
                    <a:lnTo>
                      <a:pt x="7" y="2"/>
                    </a:lnTo>
                    <a:lnTo>
                      <a:pt x="13" y="0"/>
                    </a:lnTo>
                    <a:lnTo>
                      <a:pt x="17" y="2"/>
                    </a:lnTo>
                    <a:lnTo>
                      <a:pt x="21" y="3"/>
                    </a:lnTo>
                    <a:lnTo>
                      <a:pt x="22" y="7"/>
                    </a:lnTo>
                    <a:lnTo>
                      <a:pt x="24" y="13"/>
                    </a:lnTo>
                  </a:path>
                </a:pathLst>
              </a:custGeom>
              <a:noFill/>
              <a:ln w="9525">
                <a:solidFill>
                  <a:srgbClr val="90EE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95" name="Freeform 402">
                <a:extLst>
                  <a:ext uri="{FF2B5EF4-FFF2-40B4-BE49-F238E27FC236}">
                    <a16:creationId xmlns:a16="http://schemas.microsoft.com/office/drawing/2014/main" id="{AE92FD8D-AF05-F34B-914A-0D12C5AFCD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2" y="244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2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2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2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  <a:close/>
                  </a:path>
                </a:pathLst>
              </a:custGeom>
              <a:solidFill>
                <a:srgbClr val="90EE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96" name="Freeform 403">
                <a:extLst>
                  <a:ext uri="{FF2B5EF4-FFF2-40B4-BE49-F238E27FC236}">
                    <a16:creationId xmlns:a16="http://schemas.microsoft.com/office/drawing/2014/main" id="{81341C2F-51CA-C9DD-BD16-C1A7587C9E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2" y="2443"/>
                <a:ext cx="25" cy="25"/>
              </a:xfrm>
              <a:custGeom>
                <a:avLst/>
                <a:gdLst>
                  <a:gd name="T0" fmla="*/ 25 w 25"/>
                  <a:gd name="T1" fmla="*/ 14 h 25"/>
                  <a:gd name="T2" fmla="*/ 25 w 25"/>
                  <a:gd name="T3" fmla="*/ 14 h 25"/>
                  <a:gd name="T4" fmla="*/ 23 w 25"/>
                  <a:gd name="T5" fmla="*/ 17 h 25"/>
                  <a:gd name="T6" fmla="*/ 21 w 25"/>
                  <a:gd name="T7" fmla="*/ 21 h 25"/>
                  <a:gd name="T8" fmla="*/ 17 w 25"/>
                  <a:gd name="T9" fmla="*/ 23 h 25"/>
                  <a:gd name="T10" fmla="*/ 12 w 25"/>
                  <a:gd name="T11" fmla="*/ 25 h 25"/>
                  <a:gd name="T12" fmla="*/ 8 w 25"/>
                  <a:gd name="T13" fmla="*/ 23 h 25"/>
                  <a:gd name="T14" fmla="*/ 4 w 25"/>
                  <a:gd name="T15" fmla="*/ 21 h 25"/>
                  <a:gd name="T16" fmla="*/ 2 w 25"/>
                  <a:gd name="T17" fmla="*/ 17 h 25"/>
                  <a:gd name="T18" fmla="*/ 0 w 25"/>
                  <a:gd name="T19" fmla="*/ 14 h 25"/>
                  <a:gd name="T20" fmla="*/ 0 w 25"/>
                  <a:gd name="T21" fmla="*/ 14 h 25"/>
                  <a:gd name="T22" fmla="*/ 2 w 25"/>
                  <a:gd name="T23" fmla="*/ 8 h 25"/>
                  <a:gd name="T24" fmla="*/ 4 w 25"/>
                  <a:gd name="T25" fmla="*/ 4 h 25"/>
                  <a:gd name="T26" fmla="*/ 8 w 25"/>
                  <a:gd name="T27" fmla="*/ 2 h 25"/>
                  <a:gd name="T28" fmla="*/ 12 w 25"/>
                  <a:gd name="T29" fmla="*/ 0 h 25"/>
                  <a:gd name="T30" fmla="*/ 17 w 25"/>
                  <a:gd name="T31" fmla="*/ 2 h 25"/>
                  <a:gd name="T32" fmla="*/ 21 w 25"/>
                  <a:gd name="T33" fmla="*/ 4 h 25"/>
                  <a:gd name="T34" fmla="*/ 23 w 25"/>
                  <a:gd name="T35" fmla="*/ 8 h 25"/>
                  <a:gd name="T36" fmla="*/ 25 w 25"/>
                  <a:gd name="T37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25">
                    <a:moveTo>
                      <a:pt x="25" y="14"/>
                    </a:moveTo>
                    <a:lnTo>
                      <a:pt x="25" y="14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7" y="23"/>
                    </a:lnTo>
                    <a:lnTo>
                      <a:pt x="12" y="25"/>
                    </a:lnTo>
                    <a:lnTo>
                      <a:pt x="8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8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3" y="8"/>
                    </a:lnTo>
                    <a:lnTo>
                      <a:pt x="25" y="14"/>
                    </a:lnTo>
                  </a:path>
                </a:pathLst>
              </a:custGeom>
              <a:noFill/>
              <a:ln w="9525">
                <a:solidFill>
                  <a:srgbClr val="90EE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97" name="Freeform 404">
                <a:extLst>
                  <a:ext uri="{FF2B5EF4-FFF2-40B4-BE49-F238E27FC236}">
                    <a16:creationId xmlns:a16="http://schemas.microsoft.com/office/drawing/2014/main" id="{9CE65290-9617-B1CD-7528-1AC93EA7E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4" y="2457"/>
                <a:ext cx="23" cy="24"/>
              </a:xfrm>
              <a:custGeom>
                <a:avLst/>
                <a:gdLst>
                  <a:gd name="T0" fmla="*/ 23 w 23"/>
                  <a:gd name="T1" fmla="*/ 11 h 24"/>
                  <a:gd name="T2" fmla="*/ 23 w 23"/>
                  <a:gd name="T3" fmla="*/ 11 h 24"/>
                  <a:gd name="T4" fmla="*/ 23 w 23"/>
                  <a:gd name="T5" fmla="*/ 17 h 24"/>
                  <a:gd name="T6" fmla="*/ 19 w 23"/>
                  <a:gd name="T7" fmla="*/ 20 h 24"/>
                  <a:gd name="T8" fmla="*/ 15 w 23"/>
                  <a:gd name="T9" fmla="*/ 22 h 24"/>
                  <a:gd name="T10" fmla="*/ 11 w 23"/>
                  <a:gd name="T11" fmla="*/ 24 h 24"/>
                  <a:gd name="T12" fmla="*/ 8 w 23"/>
                  <a:gd name="T13" fmla="*/ 22 h 24"/>
                  <a:gd name="T14" fmla="*/ 4 w 23"/>
                  <a:gd name="T15" fmla="*/ 20 h 24"/>
                  <a:gd name="T16" fmla="*/ 0 w 23"/>
                  <a:gd name="T17" fmla="*/ 17 h 24"/>
                  <a:gd name="T18" fmla="*/ 0 w 23"/>
                  <a:gd name="T19" fmla="*/ 11 h 24"/>
                  <a:gd name="T20" fmla="*/ 0 w 23"/>
                  <a:gd name="T21" fmla="*/ 11 h 24"/>
                  <a:gd name="T22" fmla="*/ 0 w 23"/>
                  <a:gd name="T23" fmla="*/ 7 h 24"/>
                  <a:gd name="T24" fmla="*/ 4 w 23"/>
                  <a:gd name="T25" fmla="*/ 3 h 24"/>
                  <a:gd name="T26" fmla="*/ 8 w 23"/>
                  <a:gd name="T27" fmla="*/ 2 h 24"/>
                  <a:gd name="T28" fmla="*/ 11 w 23"/>
                  <a:gd name="T29" fmla="*/ 0 h 24"/>
                  <a:gd name="T30" fmla="*/ 15 w 23"/>
                  <a:gd name="T31" fmla="*/ 2 h 24"/>
                  <a:gd name="T32" fmla="*/ 19 w 23"/>
                  <a:gd name="T33" fmla="*/ 3 h 24"/>
                  <a:gd name="T34" fmla="*/ 23 w 23"/>
                  <a:gd name="T35" fmla="*/ 7 h 24"/>
                  <a:gd name="T36" fmla="*/ 23 w 23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4" y="3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3"/>
                    </a:lnTo>
                    <a:lnTo>
                      <a:pt x="23" y="7"/>
                    </a:lnTo>
                    <a:lnTo>
                      <a:pt x="23" y="11"/>
                    </a:lnTo>
                    <a:close/>
                  </a:path>
                </a:pathLst>
              </a:custGeom>
              <a:solidFill>
                <a:srgbClr val="90EE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398" name="Freeform 405">
                <a:extLst>
                  <a:ext uri="{FF2B5EF4-FFF2-40B4-BE49-F238E27FC236}">
                    <a16:creationId xmlns:a16="http://schemas.microsoft.com/office/drawing/2014/main" id="{CCECF6A8-9626-5CC2-8C2E-159C7F8901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4" y="2457"/>
                <a:ext cx="23" cy="24"/>
              </a:xfrm>
              <a:custGeom>
                <a:avLst/>
                <a:gdLst>
                  <a:gd name="T0" fmla="*/ 23 w 23"/>
                  <a:gd name="T1" fmla="*/ 11 h 24"/>
                  <a:gd name="T2" fmla="*/ 23 w 23"/>
                  <a:gd name="T3" fmla="*/ 11 h 24"/>
                  <a:gd name="T4" fmla="*/ 23 w 23"/>
                  <a:gd name="T5" fmla="*/ 17 h 24"/>
                  <a:gd name="T6" fmla="*/ 19 w 23"/>
                  <a:gd name="T7" fmla="*/ 20 h 24"/>
                  <a:gd name="T8" fmla="*/ 15 w 23"/>
                  <a:gd name="T9" fmla="*/ 22 h 24"/>
                  <a:gd name="T10" fmla="*/ 11 w 23"/>
                  <a:gd name="T11" fmla="*/ 24 h 24"/>
                  <a:gd name="T12" fmla="*/ 8 w 23"/>
                  <a:gd name="T13" fmla="*/ 22 h 24"/>
                  <a:gd name="T14" fmla="*/ 4 w 23"/>
                  <a:gd name="T15" fmla="*/ 20 h 24"/>
                  <a:gd name="T16" fmla="*/ 0 w 23"/>
                  <a:gd name="T17" fmla="*/ 17 h 24"/>
                  <a:gd name="T18" fmla="*/ 0 w 23"/>
                  <a:gd name="T19" fmla="*/ 11 h 24"/>
                  <a:gd name="T20" fmla="*/ 0 w 23"/>
                  <a:gd name="T21" fmla="*/ 11 h 24"/>
                  <a:gd name="T22" fmla="*/ 0 w 23"/>
                  <a:gd name="T23" fmla="*/ 7 h 24"/>
                  <a:gd name="T24" fmla="*/ 4 w 23"/>
                  <a:gd name="T25" fmla="*/ 3 h 24"/>
                  <a:gd name="T26" fmla="*/ 8 w 23"/>
                  <a:gd name="T27" fmla="*/ 2 h 24"/>
                  <a:gd name="T28" fmla="*/ 11 w 23"/>
                  <a:gd name="T29" fmla="*/ 0 h 24"/>
                  <a:gd name="T30" fmla="*/ 15 w 23"/>
                  <a:gd name="T31" fmla="*/ 2 h 24"/>
                  <a:gd name="T32" fmla="*/ 19 w 23"/>
                  <a:gd name="T33" fmla="*/ 3 h 24"/>
                  <a:gd name="T34" fmla="*/ 23 w 23"/>
                  <a:gd name="T35" fmla="*/ 7 h 24"/>
                  <a:gd name="T36" fmla="*/ 23 w 23"/>
                  <a:gd name="T3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24">
                    <a:moveTo>
                      <a:pt x="23" y="11"/>
                    </a:moveTo>
                    <a:lnTo>
                      <a:pt x="23" y="11"/>
                    </a:lnTo>
                    <a:lnTo>
                      <a:pt x="23" y="17"/>
                    </a:lnTo>
                    <a:lnTo>
                      <a:pt x="19" y="20"/>
                    </a:lnTo>
                    <a:lnTo>
                      <a:pt x="15" y="22"/>
                    </a:lnTo>
                    <a:lnTo>
                      <a:pt x="11" y="24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4" y="3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5" y="2"/>
                    </a:lnTo>
                    <a:lnTo>
                      <a:pt x="19" y="3"/>
                    </a:lnTo>
                    <a:lnTo>
                      <a:pt x="23" y="7"/>
                    </a:lnTo>
                    <a:lnTo>
                      <a:pt x="23" y="11"/>
                    </a:lnTo>
                  </a:path>
                </a:pathLst>
              </a:custGeom>
              <a:noFill/>
              <a:ln w="9525">
                <a:solidFill>
                  <a:srgbClr val="90EE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</p:grpSp>
        <p:sp>
          <p:nvSpPr>
            <p:cNvPr id="22" name="Freeform 407">
              <a:extLst>
                <a:ext uri="{FF2B5EF4-FFF2-40B4-BE49-F238E27FC236}">
                  <a16:creationId xmlns:a16="http://schemas.microsoft.com/office/drawing/2014/main" id="{4607B0BB-D727-6477-A2E6-994F0FA64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4" y="2385"/>
              <a:ext cx="24" cy="23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2 w 24"/>
                <a:gd name="T5" fmla="*/ 15 h 23"/>
                <a:gd name="T6" fmla="*/ 20 w 24"/>
                <a:gd name="T7" fmla="*/ 19 h 23"/>
                <a:gd name="T8" fmla="*/ 17 w 24"/>
                <a:gd name="T9" fmla="*/ 23 h 23"/>
                <a:gd name="T10" fmla="*/ 13 w 24"/>
                <a:gd name="T11" fmla="*/ 23 h 23"/>
                <a:gd name="T12" fmla="*/ 7 w 24"/>
                <a:gd name="T13" fmla="*/ 23 h 23"/>
                <a:gd name="T14" fmla="*/ 3 w 24"/>
                <a:gd name="T15" fmla="*/ 19 h 23"/>
                <a:gd name="T16" fmla="*/ 2 w 24"/>
                <a:gd name="T17" fmla="*/ 15 h 23"/>
                <a:gd name="T18" fmla="*/ 0 w 24"/>
                <a:gd name="T19" fmla="*/ 11 h 23"/>
                <a:gd name="T20" fmla="*/ 0 w 24"/>
                <a:gd name="T21" fmla="*/ 11 h 23"/>
                <a:gd name="T22" fmla="*/ 2 w 24"/>
                <a:gd name="T23" fmla="*/ 6 h 23"/>
                <a:gd name="T24" fmla="*/ 3 w 24"/>
                <a:gd name="T25" fmla="*/ 2 h 23"/>
                <a:gd name="T26" fmla="*/ 7 w 24"/>
                <a:gd name="T27" fmla="*/ 0 h 23"/>
                <a:gd name="T28" fmla="*/ 13 w 24"/>
                <a:gd name="T29" fmla="*/ 0 h 23"/>
                <a:gd name="T30" fmla="*/ 17 w 24"/>
                <a:gd name="T31" fmla="*/ 0 h 23"/>
                <a:gd name="T32" fmla="*/ 20 w 24"/>
                <a:gd name="T33" fmla="*/ 2 h 23"/>
                <a:gd name="T34" fmla="*/ 22 w 24"/>
                <a:gd name="T35" fmla="*/ 6 h 23"/>
                <a:gd name="T36" fmla="*/ 24 w 24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2" y="15"/>
                  </a:lnTo>
                  <a:lnTo>
                    <a:pt x="20" y="19"/>
                  </a:lnTo>
                  <a:lnTo>
                    <a:pt x="17" y="23"/>
                  </a:lnTo>
                  <a:lnTo>
                    <a:pt x="13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2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2" y="6"/>
                  </a:lnTo>
                  <a:lnTo>
                    <a:pt x="24" y="11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408">
              <a:extLst>
                <a:ext uri="{FF2B5EF4-FFF2-40B4-BE49-F238E27FC236}">
                  <a16:creationId xmlns:a16="http://schemas.microsoft.com/office/drawing/2014/main" id="{6C1965A0-9414-B0D3-24AA-2F676940B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4" y="2385"/>
              <a:ext cx="24" cy="23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2 w 24"/>
                <a:gd name="T5" fmla="*/ 15 h 23"/>
                <a:gd name="T6" fmla="*/ 20 w 24"/>
                <a:gd name="T7" fmla="*/ 19 h 23"/>
                <a:gd name="T8" fmla="*/ 17 w 24"/>
                <a:gd name="T9" fmla="*/ 23 h 23"/>
                <a:gd name="T10" fmla="*/ 13 w 24"/>
                <a:gd name="T11" fmla="*/ 23 h 23"/>
                <a:gd name="T12" fmla="*/ 7 w 24"/>
                <a:gd name="T13" fmla="*/ 23 h 23"/>
                <a:gd name="T14" fmla="*/ 3 w 24"/>
                <a:gd name="T15" fmla="*/ 19 h 23"/>
                <a:gd name="T16" fmla="*/ 2 w 24"/>
                <a:gd name="T17" fmla="*/ 15 h 23"/>
                <a:gd name="T18" fmla="*/ 0 w 24"/>
                <a:gd name="T19" fmla="*/ 11 h 23"/>
                <a:gd name="T20" fmla="*/ 0 w 24"/>
                <a:gd name="T21" fmla="*/ 11 h 23"/>
                <a:gd name="T22" fmla="*/ 2 w 24"/>
                <a:gd name="T23" fmla="*/ 6 h 23"/>
                <a:gd name="T24" fmla="*/ 3 w 24"/>
                <a:gd name="T25" fmla="*/ 2 h 23"/>
                <a:gd name="T26" fmla="*/ 7 w 24"/>
                <a:gd name="T27" fmla="*/ 0 h 23"/>
                <a:gd name="T28" fmla="*/ 13 w 24"/>
                <a:gd name="T29" fmla="*/ 0 h 23"/>
                <a:gd name="T30" fmla="*/ 17 w 24"/>
                <a:gd name="T31" fmla="*/ 0 h 23"/>
                <a:gd name="T32" fmla="*/ 20 w 24"/>
                <a:gd name="T33" fmla="*/ 2 h 23"/>
                <a:gd name="T34" fmla="*/ 22 w 24"/>
                <a:gd name="T35" fmla="*/ 6 h 23"/>
                <a:gd name="T36" fmla="*/ 24 w 24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2" y="15"/>
                  </a:lnTo>
                  <a:lnTo>
                    <a:pt x="20" y="19"/>
                  </a:lnTo>
                  <a:lnTo>
                    <a:pt x="17" y="23"/>
                  </a:lnTo>
                  <a:lnTo>
                    <a:pt x="13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2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2" y="6"/>
                  </a:lnTo>
                  <a:lnTo>
                    <a:pt x="24" y="11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Freeform 409">
              <a:extLst>
                <a:ext uri="{FF2B5EF4-FFF2-40B4-BE49-F238E27FC236}">
                  <a16:creationId xmlns:a16="http://schemas.microsoft.com/office/drawing/2014/main" id="{3787CB65-DD4B-36B4-4FA3-E76463763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" y="2333"/>
              <a:ext cx="25" cy="24"/>
            </a:xfrm>
            <a:custGeom>
              <a:avLst/>
              <a:gdLst>
                <a:gd name="T0" fmla="*/ 25 w 25"/>
                <a:gd name="T1" fmla="*/ 11 h 24"/>
                <a:gd name="T2" fmla="*/ 25 w 25"/>
                <a:gd name="T3" fmla="*/ 11 h 24"/>
                <a:gd name="T4" fmla="*/ 23 w 25"/>
                <a:gd name="T5" fmla="*/ 16 h 24"/>
                <a:gd name="T6" fmla="*/ 21 w 25"/>
                <a:gd name="T7" fmla="*/ 20 h 24"/>
                <a:gd name="T8" fmla="*/ 17 w 25"/>
                <a:gd name="T9" fmla="*/ 22 h 24"/>
                <a:gd name="T10" fmla="*/ 12 w 25"/>
                <a:gd name="T11" fmla="*/ 24 h 24"/>
                <a:gd name="T12" fmla="*/ 8 w 25"/>
                <a:gd name="T13" fmla="*/ 22 h 24"/>
                <a:gd name="T14" fmla="*/ 4 w 25"/>
                <a:gd name="T15" fmla="*/ 20 h 24"/>
                <a:gd name="T16" fmla="*/ 2 w 25"/>
                <a:gd name="T17" fmla="*/ 16 h 24"/>
                <a:gd name="T18" fmla="*/ 0 w 25"/>
                <a:gd name="T19" fmla="*/ 11 h 24"/>
                <a:gd name="T20" fmla="*/ 0 w 25"/>
                <a:gd name="T21" fmla="*/ 11 h 24"/>
                <a:gd name="T22" fmla="*/ 2 w 25"/>
                <a:gd name="T23" fmla="*/ 7 h 24"/>
                <a:gd name="T24" fmla="*/ 4 w 25"/>
                <a:gd name="T25" fmla="*/ 3 h 24"/>
                <a:gd name="T26" fmla="*/ 8 w 25"/>
                <a:gd name="T27" fmla="*/ 0 h 24"/>
                <a:gd name="T28" fmla="*/ 12 w 25"/>
                <a:gd name="T29" fmla="*/ 0 h 24"/>
                <a:gd name="T30" fmla="*/ 17 w 25"/>
                <a:gd name="T31" fmla="*/ 0 h 24"/>
                <a:gd name="T32" fmla="*/ 21 w 25"/>
                <a:gd name="T33" fmla="*/ 3 h 24"/>
                <a:gd name="T34" fmla="*/ 23 w 25"/>
                <a:gd name="T35" fmla="*/ 7 h 24"/>
                <a:gd name="T36" fmla="*/ 25 w 25"/>
                <a:gd name="T37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4">
                  <a:moveTo>
                    <a:pt x="25" y="11"/>
                  </a:moveTo>
                  <a:lnTo>
                    <a:pt x="25" y="11"/>
                  </a:lnTo>
                  <a:lnTo>
                    <a:pt x="23" y="16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2" y="24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2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5" y="11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6" name="Freeform 410">
              <a:extLst>
                <a:ext uri="{FF2B5EF4-FFF2-40B4-BE49-F238E27FC236}">
                  <a16:creationId xmlns:a16="http://schemas.microsoft.com/office/drawing/2014/main" id="{A278FF13-CEF1-799D-8CCF-B74BF2802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" y="2333"/>
              <a:ext cx="25" cy="24"/>
            </a:xfrm>
            <a:custGeom>
              <a:avLst/>
              <a:gdLst>
                <a:gd name="T0" fmla="*/ 25 w 25"/>
                <a:gd name="T1" fmla="*/ 11 h 24"/>
                <a:gd name="T2" fmla="*/ 25 w 25"/>
                <a:gd name="T3" fmla="*/ 11 h 24"/>
                <a:gd name="T4" fmla="*/ 23 w 25"/>
                <a:gd name="T5" fmla="*/ 16 h 24"/>
                <a:gd name="T6" fmla="*/ 21 w 25"/>
                <a:gd name="T7" fmla="*/ 20 h 24"/>
                <a:gd name="T8" fmla="*/ 17 w 25"/>
                <a:gd name="T9" fmla="*/ 22 h 24"/>
                <a:gd name="T10" fmla="*/ 12 w 25"/>
                <a:gd name="T11" fmla="*/ 24 h 24"/>
                <a:gd name="T12" fmla="*/ 8 w 25"/>
                <a:gd name="T13" fmla="*/ 22 h 24"/>
                <a:gd name="T14" fmla="*/ 4 w 25"/>
                <a:gd name="T15" fmla="*/ 20 h 24"/>
                <a:gd name="T16" fmla="*/ 2 w 25"/>
                <a:gd name="T17" fmla="*/ 16 h 24"/>
                <a:gd name="T18" fmla="*/ 0 w 25"/>
                <a:gd name="T19" fmla="*/ 11 h 24"/>
                <a:gd name="T20" fmla="*/ 0 w 25"/>
                <a:gd name="T21" fmla="*/ 11 h 24"/>
                <a:gd name="T22" fmla="*/ 2 w 25"/>
                <a:gd name="T23" fmla="*/ 7 h 24"/>
                <a:gd name="T24" fmla="*/ 4 w 25"/>
                <a:gd name="T25" fmla="*/ 3 h 24"/>
                <a:gd name="T26" fmla="*/ 8 w 25"/>
                <a:gd name="T27" fmla="*/ 0 h 24"/>
                <a:gd name="T28" fmla="*/ 12 w 25"/>
                <a:gd name="T29" fmla="*/ 0 h 24"/>
                <a:gd name="T30" fmla="*/ 17 w 25"/>
                <a:gd name="T31" fmla="*/ 0 h 24"/>
                <a:gd name="T32" fmla="*/ 21 w 25"/>
                <a:gd name="T33" fmla="*/ 3 h 24"/>
                <a:gd name="T34" fmla="*/ 23 w 25"/>
                <a:gd name="T35" fmla="*/ 7 h 24"/>
                <a:gd name="T36" fmla="*/ 25 w 25"/>
                <a:gd name="T37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4">
                  <a:moveTo>
                    <a:pt x="25" y="11"/>
                  </a:moveTo>
                  <a:lnTo>
                    <a:pt x="25" y="11"/>
                  </a:lnTo>
                  <a:lnTo>
                    <a:pt x="23" y="16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2" y="24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2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5" y="11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7" name="Freeform 411">
              <a:extLst>
                <a:ext uri="{FF2B5EF4-FFF2-40B4-BE49-F238E27FC236}">
                  <a16:creationId xmlns:a16="http://schemas.microsoft.com/office/drawing/2014/main" id="{0CE49024-BF8B-5665-8DF2-9B96DB7DE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44"/>
              <a:ext cx="22" cy="22"/>
            </a:xfrm>
            <a:custGeom>
              <a:avLst/>
              <a:gdLst>
                <a:gd name="T0" fmla="*/ 22 w 22"/>
                <a:gd name="T1" fmla="*/ 11 h 22"/>
                <a:gd name="T2" fmla="*/ 22 w 22"/>
                <a:gd name="T3" fmla="*/ 11 h 22"/>
                <a:gd name="T4" fmla="*/ 22 w 22"/>
                <a:gd name="T5" fmla="*/ 15 h 22"/>
                <a:gd name="T6" fmla="*/ 19 w 22"/>
                <a:gd name="T7" fmla="*/ 19 h 22"/>
                <a:gd name="T8" fmla="*/ 15 w 22"/>
                <a:gd name="T9" fmla="*/ 22 h 22"/>
                <a:gd name="T10" fmla="*/ 11 w 22"/>
                <a:gd name="T11" fmla="*/ 22 h 22"/>
                <a:gd name="T12" fmla="*/ 7 w 22"/>
                <a:gd name="T13" fmla="*/ 22 h 22"/>
                <a:gd name="T14" fmla="*/ 4 w 22"/>
                <a:gd name="T15" fmla="*/ 19 h 22"/>
                <a:gd name="T16" fmla="*/ 0 w 22"/>
                <a:gd name="T17" fmla="*/ 15 h 22"/>
                <a:gd name="T18" fmla="*/ 0 w 22"/>
                <a:gd name="T19" fmla="*/ 11 h 22"/>
                <a:gd name="T20" fmla="*/ 0 w 22"/>
                <a:gd name="T21" fmla="*/ 11 h 22"/>
                <a:gd name="T22" fmla="*/ 0 w 22"/>
                <a:gd name="T23" fmla="*/ 5 h 22"/>
                <a:gd name="T24" fmla="*/ 4 w 22"/>
                <a:gd name="T25" fmla="*/ 2 h 22"/>
                <a:gd name="T26" fmla="*/ 7 w 22"/>
                <a:gd name="T27" fmla="*/ 0 h 22"/>
                <a:gd name="T28" fmla="*/ 11 w 22"/>
                <a:gd name="T29" fmla="*/ 0 h 22"/>
                <a:gd name="T30" fmla="*/ 15 w 22"/>
                <a:gd name="T31" fmla="*/ 0 h 22"/>
                <a:gd name="T32" fmla="*/ 19 w 22"/>
                <a:gd name="T33" fmla="*/ 2 h 22"/>
                <a:gd name="T34" fmla="*/ 22 w 22"/>
                <a:gd name="T35" fmla="*/ 5 h 22"/>
                <a:gd name="T36" fmla="*/ 22 w 22"/>
                <a:gd name="T37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lnTo>
                    <a:pt x="22" y="11"/>
                  </a:lnTo>
                  <a:lnTo>
                    <a:pt x="22" y="15"/>
                  </a:lnTo>
                  <a:lnTo>
                    <a:pt x="19" y="19"/>
                  </a:lnTo>
                  <a:lnTo>
                    <a:pt x="15" y="22"/>
                  </a:lnTo>
                  <a:lnTo>
                    <a:pt x="11" y="22"/>
                  </a:lnTo>
                  <a:lnTo>
                    <a:pt x="7" y="22"/>
                  </a:lnTo>
                  <a:lnTo>
                    <a:pt x="4" y="19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5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2" y="5"/>
                  </a:lnTo>
                  <a:lnTo>
                    <a:pt x="22" y="11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" name="Freeform 412">
              <a:extLst>
                <a:ext uri="{FF2B5EF4-FFF2-40B4-BE49-F238E27FC236}">
                  <a16:creationId xmlns:a16="http://schemas.microsoft.com/office/drawing/2014/main" id="{56F74F24-01DC-4D03-38AD-B1072C7D11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44"/>
              <a:ext cx="22" cy="22"/>
            </a:xfrm>
            <a:custGeom>
              <a:avLst/>
              <a:gdLst>
                <a:gd name="T0" fmla="*/ 22 w 22"/>
                <a:gd name="T1" fmla="*/ 11 h 22"/>
                <a:gd name="T2" fmla="*/ 22 w 22"/>
                <a:gd name="T3" fmla="*/ 11 h 22"/>
                <a:gd name="T4" fmla="*/ 22 w 22"/>
                <a:gd name="T5" fmla="*/ 15 h 22"/>
                <a:gd name="T6" fmla="*/ 19 w 22"/>
                <a:gd name="T7" fmla="*/ 19 h 22"/>
                <a:gd name="T8" fmla="*/ 15 w 22"/>
                <a:gd name="T9" fmla="*/ 22 h 22"/>
                <a:gd name="T10" fmla="*/ 11 w 22"/>
                <a:gd name="T11" fmla="*/ 22 h 22"/>
                <a:gd name="T12" fmla="*/ 7 w 22"/>
                <a:gd name="T13" fmla="*/ 22 h 22"/>
                <a:gd name="T14" fmla="*/ 4 w 22"/>
                <a:gd name="T15" fmla="*/ 19 h 22"/>
                <a:gd name="T16" fmla="*/ 0 w 22"/>
                <a:gd name="T17" fmla="*/ 15 h 22"/>
                <a:gd name="T18" fmla="*/ 0 w 22"/>
                <a:gd name="T19" fmla="*/ 11 h 22"/>
                <a:gd name="T20" fmla="*/ 0 w 22"/>
                <a:gd name="T21" fmla="*/ 11 h 22"/>
                <a:gd name="T22" fmla="*/ 0 w 22"/>
                <a:gd name="T23" fmla="*/ 5 h 22"/>
                <a:gd name="T24" fmla="*/ 4 w 22"/>
                <a:gd name="T25" fmla="*/ 2 h 22"/>
                <a:gd name="T26" fmla="*/ 7 w 22"/>
                <a:gd name="T27" fmla="*/ 0 h 22"/>
                <a:gd name="T28" fmla="*/ 11 w 22"/>
                <a:gd name="T29" fmla="*/ 0 h 22"/>
                <a:gd name="T30" fmla="*/ 15 w 22"/>
                <a:gd name="T31" fmla="*/ 0 h 22"/>
                <a:gd name="T32" fmla="*/ 19 w 22"/>
                <a:gd name="T33" fmla="*/ 2 h 22"/>
                <a:gd name="T34" fmla="*/ 22 w 22"/>
                <a:gd name="T35" fmla="*/ 5 h 22"/>
                <a:gd name="T36" fmla="*/ 22 w 22"/>
                <a:gd name="T37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lnTo>
                    <a:pt x="22" y="11"/>
                  </a:lnTo>
                  <a:lnTo>
                    <a:pt x="22" y="15"/>
                  </a:lnTo>
                  <a:lnTo>
                    <a:pt x="19" y="19"/>
                  </a:lnTo>
                  <a:lnTo>
                    <a:pt x="15" y="22"/>
                  </a:lnTo>
                  <a:lnTo>
                    <a:pt x="11" y="22"/>
                  </a:lnTo>
                  <a:lnTo>
                    <a:pt x="7" y="22"/>
                  </a:lnTo>
                  <a:lnTo>
                    <a:pt x="4" y="19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5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2" y="5"/>
                  </a:lnTo>
                  <a:lnTo>
                    <a:pt x="22" y="11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Freeform 413">
              <a:extLst>
                <a:ext uri="{FF2B5EF4-FFF2-40B4-BE49-F238E27FC236}">
                  <a16:creationId xmlns:a16="http://schemas.microsoft.com/office/drawing/2014/main" id="{D6DB9F4D-F93C-749E-BEA3-AEBA269E56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6" y="2618"/>
              <a:ext cx="25" cy="2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7 h 23"/>
                <a:gd name="T6" fmla="*/ 21 w 25"/>
                <a:gd name="T7" fmla="*/ 21 h 23"/>
                <a:gd name="T8" fmla="*/ 17 w 25"/>
                <a:gd name="T9" fmla="*/ 23 h 23"/>
                <a:gd name="T10" fmla="*/ 14 w 25"/>
                <a:gd name="T11" fmla="*/ 23 h 23"/>
                <a:gd name="T12" fmla="*/ 8 w 25"/>
                <a:gd name="T13" fmla="*/ 23 h 23"/>
                <a:gd name="T14" fmla="*/ 4 w 25"/>
                <a:gd name="T15" fmla="*/ 21 h 23"/>
                <a:gd name="T16" fmla="*/ 2 w 25"/>
                <a:gd name="T17" fmla="*/ 17 h 23"/>
                <a:gd name="T18" fmla="*/ 0 w 25"/>
                <a:gd name="T19" fmla="*/ 12 h 23"/>
                <a:gd name="T20" fmla="*/ 0 w 25"/>
                <a:gd name="T21" fmla="*/ 12 h 23"/>
                <a:gd name="T22" fmla="*/ 2 w 25"/>
                <a:gd name="T23" fmla="*/ 6 h 23"/>
                <a:gd name="T24" fmla="*/ 4 w 25"/>
                <a:gd name="T25" fmla="*/ 2 h 23"/>
                <a:gd name="T26" fmla="*/ 8 w 25"/>
                <a:gd name="T27" fmla="*/ 0 h 23"/>
                <a:gd name="T28" fmla="*/ 14 w 25"/>
                <a:gd name="T29" fmla="*/ 0 h 23"/>
                <a:gd name="T30" fmla="*/ 17 w 25"/>
                <a:gd name="T31" fmla="*/ 0 h 23"/>
                <a:gd name="T32" fmla="*/ 21 w 25"/>
                <a:gd name="T33" fmla="*/ 2 h 23"/>
                <a:gd name="T34" fmla="*/ 23 w 25"/>
                <a:gd name="T35" fmla="*/ 6 h 23"/>
                <a:gd name="T36" fmla="*/ 25 w 25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4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5" y="12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" name="Freeform 414">
              <a:extLst>
                <a:ext uri="{FF2B5EF4-FFF2-40B4-BE49-F238E27FC236}">
                  <a16:creationId xmlns:a16="http://schemas.microsoft.com/office/drawing/2014/main" id="{228E3190-E4C0-5E1E-2D8F-042E5413C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6" y="2618"/>
              <a:ext cx="25" cy="2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7 h 23"/>
                <a:gd name="T6" fmla="*/ 21 w 25"/>
                <a:gd name="T7" fmla="*/ 21 h 23"/>
                <a:gd name="T8" fmla="*/ 17 w 25"/>
                <a:gd name="T9" fmla="*/ 23 h 23"/>
                <a:gd name="T10" fmla="*/ 14 w 25"/>
                <a:gd name="T11" fmla="*/ 23 h 23"/>
                <a:gd name="T12" fmla="*/ 8 w 25"/>
                <a:gd name="T13" fmla="*/ 23 h 23"/>
                <a:gd name="T14" fmla="*/ 4 w 25"/>
                <a:gd name="T15" fmla="*/ 21 h 23"/>
                <a:gd name="T16" fmla="*/ 2 w 25"/>
                <a:gd name="T17" fmla="*/ 17 h 23"/>
                <a:gd name="T18" fmla="*/ 0 w 25"/>
                <a:gd name="T19" fmla="*/ 12 h 23"/>
                <a:gd name="T20" fmla="*/ 0 w 25"/>
                <a:gd name="T21" fmla="*/ 12 h 23"/>
                <a:gd name="T22" fmla="*/ 2 w 25"/>
                <a:gd name="T23" fmla="*/ 6 h 23"/>
                <a:gd name="T24" fmla="*/ 4 w 25"/>
                <a:gd name="T25" fmla="*/ 2 h 23"/>
                <a:gd name="T26" fmla="*/ 8 w 25"/>
                <a:gd name="T27" fmla="*/ 0 h 23"/>
                <a:gd name="T28" fmla="*/ 14 w 25"/>
                <a:gd name="T29" fmla="*/ 0 h 23"/>
                <a:gd name="T30" fmla="*/ 17 w 25"/>
                <a:gd name="T31" fmla="*/ 0 h 23"/>
                <a:gd name="T32" fmla="*/ 21 w 25"/>
                <a:gd name="T33" fmla="*/ 2 h 23"/>
                <a:gd name="T34" fmla="*/ 23 w 25"/>
                <a:gd name="T35" fmla="*/ 6 h 23"/>
                <a:gd name="T36" fmla="*/ 25 w 25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4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5" y="12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1" name="Freeform 415">
              <a:extLst>
                <a:ext uri="{FF2B5EF4-FFF2-40B4-BE49-F238E27FC236}">
                  <a16:creationId xmlns:a16="http://schemas.microsoft.com/office/drawing/2014/main" id="{A17CAC62-D074-56AF-4250-8FD991629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8" y="2385"/>
              <a:ext cx="24" cy="23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7 h 23"/>
                <a:gd name="T6" fmla="*/ 21 w 24"/>
                <a:gd name="T7" fmla="*/ 21 h 23"/>
                <a:gd name="T8" fmla="*/ 17 w 24"/>
                <a:gd name="T9" fmla="*/ 23 h 23"/>
                <a:gd name="T10" fmla="*/ 11 w 24"/>
                <a:gd name="T11" fmla="*/ 23 h 23"/>
                <a:gd name="T12" fmla="*/ 8 w 24"/>
                <a:gd name="T13" fmla="*/ 23 h 23"/>
                <a:gd name="T14" fmla="*/ 4 w 24"/>
                <a:gd name="T15" fmla="*/ 21 h 23"/>
                <a:gd name="T16" fmla="*/ 2 w 24"/>
                <a:gd name="T17" fmla="*/ 17 h 23"/>
                <a:gd name="T18" fmla="*/ 0 w 24"/>
                <a:gd name="T19" fmla="*/ 11 h 23"/>
                <a:gd name="T20" fmla="*/ 0 w 24"/>
                <a:gd name="T21" fmla="*/ 11 h 23"/>
                <a:gd name="T22" fmla="*/ 2 w 24"/>
                <a:gd name="T23" fmla="*/ 6 h 23"/>
                <a:gd name="T24" fmla="*/ 4 w 24"/>
                <a:gd name="T25" fmla="*/ 2 h 23"/>
                <a:gd name="T26" fmla="*/ 8 w 24"/>
                <a:gd name="T27" fmla="*/ 0 h 23"/>
                <a:gd name="T28" fmla="*/ 11 w 24"/>
                <a:gd name="T29" fmla="*/ 0 h 23"/>
                <a:gd name="T30" fmla="*/ 17 w 24"/>
                <a:gd name="T31" fmla="*/ 0 h 23"/>
                <a:gd name="T32" fmla="*/ 21 w 24"/>
                <a:gd name="T33" fmla="*/ 2 h 23"/>
                <a:gd name="T34" fmla="*/ 23 w 24"/>
                <a:gd name="T35" fmla="*/ 6 h 23"/>
                <a:gd name="T36" fmla="*/ 24 w 24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4" y="11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Freeform 416">
              <a:extLst>
                <a:ext uri="{FF2B5EF4-FFF2-40B4-BE49-F238E27FC236}">
                  <a16:creationId xmlns:a16="http://schemas.microsoft.com/office/drawing/2014/main" id="{63AD106E-FFDD-C898-32F2-F86A6F1D7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8" y="2385"/>
              <a:ext cx="24" cy="23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7 h 23"/>
                <a:gd name="T6" fmla="*/ 21 w 24"/>
                <a:gd name="T7" fmla="*/ 21 h 23"/>
                <a:gd name="T8" fmla="*/ 17 w 24"/>
                <a:gd name="T9" fmla="*/ 23 h 23"/>
                <a:gd name="T10" fmla="*/ 11 w 24"/>
                <a:gd name="T11" fmla="*/ 23 h 23"/>
                <a:gd name="T12" fmla="*/ 8 w 24"/>
                <a:gd name="T13" fmla="*/ 23 h 23"/>
                <a:gd name="T14" fmla="*/ 4 w 24"/>
                <a:gd name="T15" fmla="*/ 21 h 23"/>
                <a:gd name="T16" fmla="*/ 2 w 24"/>
                <a:gd name="T17" fmla="*/ 17 h 23"/>
                <a:gd name="T18" fmla="*/ 0 w 24"/>
                <a:gd name="T19" fmla="*/ 11 h 23"/>
                <a:gd name="T20" fmla="*/ 0 w 24"/>
                <a:gd name="T21" fmla="*/ 11 h 23"/>
                <a:gd name="T22" fmla="*/ 2 w 24"/>
                <a:gd name="T23" fmla="*/ 6 h 23"/>
                <a:gd name="T24" fmla="*/ 4 w 24"/>
                <a:gd name="T25" fmla="*/ 2 h 23"/>
                <a:gd name="T26" fmla="*/ 8 w 24"/>
                <a:gd name="T27" fmla="*/ 0 h 23"/>
                <a:gd name="T28" fmla="*/ 11 w 24"/>
                <a:gd name="T29" fmla="*/ 0 h 23"/>
                <a:gd name="T30" fmla="*/ 17 w 24"/>
                <a:gd name="T31" fmla="*/ 0 h 23"/>
                <a:gd name="T32" fmla="*/ 21 w 24"/>
                <a:gd name="T33" fmla="*/ 2 h 23"/>
                <a:gd name="T34" fmla="*/ 23 w 24"/>
                <a:gd name="T35" fmla="*/ 6 h 23"/>
                <a:gd name="T36" fmla="*/ 24 w 24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4" y="11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Freeform 417">
              <a:extLst>
                <a:ext uri="{FF2B5EF4-FFF2-40B4-BE49-F238E27FC236}">
                  <a16:creationId xmlns:a16="http://schemas.microsoft.com/office/drawing/2014/main" id="{3DA9FF26-22D4-9B44-913F-ADD2D45800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1" y="2178"/>
              <a:ext cx="23" cy="25"/>
            </a:xfrm>
            <a:custGeom>
              <a:avLst/>
              <a:gdLst>
                <a:gd name="T0" fmla="*/ 23 w 23"/>
                <a:gd name="T1" fmla="*/ 14 h 25"/>
                <a:gd name="T2" fmla="*/ 23 w 23"/>
                <a:gd name="T3" fmla="*/ 14 h 25"/>
                <a:gd name="T4" fmla="*/ 21 w 23"/>
                <a:gd name="T5" fmla="*/ 17 h 25"/>
                <a:gd name="T6" fmla="*/ 19 w 23"/>
                <a:gd name="T7" fmla="*/ 21 h 25"/>
                <a:gd name="T8" fmla="*/ 15 w 23"/>
                <a:gd name="T9" fmla="*/ 25 h 25"/>
                <a:gd name="T10" fmla="*/ 11 w 23"/>
                <a:gd name="T11" fmla="*/ 25 h 25"/>
                <a:gd name="T12" fmla="*/ 6 w 23"/>
                <a:gd name="T13" fmla="*/ 25 h 25"/>
                <a:gd name="T14" fmla="*/ 2 w 23"/>
                <a:gd name="T15" fmla="*/ 21 h 25"/>
                <a:gd name="T16" fmla="*/ 0 w 23"/>
                <a:gd name="T17" fmla="*/ 17 h 25"/>
                <a:gd name="T18" fmla="*/ 0 w 23"/>
                <a:gd name="T19" fmla="*/ 14 h 25"/>
                <a:gd name="T20" fmla="*/ 0 w 23"/>
                <a:gd name="T21" fmla="*/ 14 h 25"/>
                <a:gd name="T22" fmla="*/ 0 w 23"/>
                <a:gd name="T23" fmla="*/ 8 h 25"/>
                <a:gd name="T24" fmla="*/ 2 w 23"/>
                <a:gd name="T25" fmla="*/ 4 h 25"/>
                <a:gd name="T26" fmla="*/ 6 w 23"/>
                <a:gd name="T27" fmla="*/ 2 h 25"/>
                <a:gd name="T28" fmla="*/ 11 w 23"/>
                <a:gd name="T29" fmla="*/ 0 h 25"/>
                <a:gd name="T30" fmla="*/ 15 w 23"/>
                <a:gd name="T31" fmla="*/ 2 h 25"/>
                <a:gd name="T32" fmla="*/ 19 w 23"/>
                <a:gd name="T33" fmla="*/ 4 h 25"/>
                <a:gd name="T34" fmla="*/ 21 w 23"/>
                <a:gd name="T35" fmla="*/ 8 h 25"/>
                <a:gd name="T36" fmla="*/ 23 w 23"/>
                <a:gd name="T37" fmla="*/ 1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5">
                  <a:moveTo>
                    <a:pt x="23" y="14"/>
                  </a:moveTo>
                  <a:lnTo>
                    <a:pt x="23" y="14"/>
                  </a:lnTo>
                  <a:lnTo>
                    <a:pt x="21" y="17"/>
                  </a:lnTo>
                  <a:lnTo>
                    <a:pt x="19" y="21"/>
                  </a:lnTo>
                  <a:lnTo>
                    <a:pt x="15" y="25"/>
                  </a:lnTo>
                  <a:lnTo>
                    <a:pt x="11" y="25"/>
                  </a:lnTo>
                  <a:lnTo>
                    <a:pt x="6" y="25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2" y="4"/>
                  </a:lnTo>
                  <a:lnTo>
                    <a:pt x="6" y="2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1" y="8"/>
                  </a:lnTo>
                  <a:lnTo>
                    <a:pt x="23" y="14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Freeform 418">
              <a:extLst>
                <a:ext uri="{FF2B5EF4-FFF2-40B4-BE49-F238E27FC236}">
                  <a16:creationId xmlns:a16="http://schemas.microsoft.com/office/drawing/2014/main" id="{6B7324D1-1D08-7CEA-9A9D-32BC4E555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1" y="2178"/>
              <a:ext cx="23" cy="25"/>
            </a:xfrm>
            <a:custGeom>
              <a:avLst/>
              <a:gdLst>
                <a:gd name="T0" fmla="*/ 23 w 23"/>
                <a:gd name="T1" fmla="*/ 14 h 25"/>
                <a:gd name="T2" fmla="*/ 23 w 23"/>
                <a:gd name="T3" fmla="*/ 14 h 25"/>
                <a:gd name="T4" fmla="*/ 21 w 23"/>
                <a:gd name="T5" fmla="*/ 17 h 25"/>
                <a:gd name="T6" fmla="*/ 19 w 23"/>
                <a:gd name="T7" fmla="*/ 21 h 25"/>
                <a:gd name="T8" fmla="*/ 15 w 23"/>
                <a:gd name="T9" fmla="*/ 25 h 25"/>
                <a:gd name="T10" fmla="*/ 11 w 23"/>
                <a:gd name="T11" fmla="*/ 25 h 25"/>
                <a:gd name="T12" fmla="*/ 6 w 23"/>
                <a:gd name="T13" fmla="*/ 25 h 25"/>
                <a:gd name="T14" fmla="*/ 2 w 23"/>
                <a:gd name="T15" fmla="*/ 21 h 25"/>
                <a:gd name="T16" fmla="*/ 0 w 23"/>
                <a:gd name="T17" fmla="*/ 17 h 25"/>
                <a:gd name="T18" fmla="*/ 0 w 23"/>
                <a:gd name="T19" fmla="*/ 14 h 25"/>
                <a:gd name="T20" fmla="*/ 0 w 23"/>
                <a:gd name="T21" fmla="*/ 14 h 25"/>
                <a:gd name="T22" fmla="*/ 0 w 23"/>
                <a:gd name="T23" fmla="*/ 8 h 25"/>
                <a:gd name="T24" fmla="*/ 2 w 23"/>
                <a:gd name="T25" fmla="*/ 4 h 25"/>
                <a:gd name="T26" fmla="*/ 6 w 23"/>
                <a:gd name="T27" fmla="*/ 2 h 25"/>
                <a:gd name="T28" fmla="*/ 11 w 23"/>
                <a:gd name="T29" fmla="*/ 0 h 25"/>
                <a:gd name="T30" fmla="*/ 15 w 23"/>
                <a:gd name="T31" fmla="*/ 2 h 25"/>
                <a:gd name="T32" fmla="*/ 19 w 23"/>
                <a:gd name="T33" fmla="*/ 4 h 25"/>
                <a:gd name="T34" fmla="*/ 21 w 23"/>
                <a:gd name="T35" fmla="*/ 8 h 25"/>
                <a:gd name="T36" fmla="*/ 23 w 23"/>
                <a:gd name="T37" fmla="*/ 1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5">
                  <a:moveTo>
                    <a:pt x="23" y="14"/>
                  </a:moveTo>
                  <a:lnTo>
                    <a:pt x="23" y="14"/>
                  </a:lnTo>
                  <a:lnTo>
                    <a:pt x="21" y="17"/>
                  </a:lnTo>
                  <a:lnTo>
                    <a:pt x="19" y="21"/>
                  </a:lnTo>
                  <a:lnTo>
                    <a:pt x="15" y="25"/>
                  </a:lnTo>
                  <a:lnTo>
                    <a:pt x="11" y="25"/>
                  </a:lnTo>
                  <a:lnTo>
                    <a:pt x="6" y="25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2" y="4"/>
                  </a:lnTo>
                  <a:lnTo>
                    <a:pt x="6" y="2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1" y="8"/>
                  </a:lnTo>
                  <a:lnTo>
                    <a:pt x="23" y="14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Freeform 419">
              <a:extLst>
                <a:ext uri="{FF2B5EF4-FFF2-40B4-BE49-F238E27FC236}">
                  <a16:creationId xmlns:a16="http://schemas.microsoft.com/office/drawing/2014/main" id="{1ECA93A6-ADF1-4201-8FF9-0D9425ACC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0" y="2370"/>
              <a:ext cx="22" cy="23"/>
            </a:xfrm>
            <a:custGeom>
              <a:avLst/>
              <a:gdLst>
                <a:gd name="T0" fmla="*/ 22 w 22"/>
                <a:gd name="T1" fmla="*/ 11 h 23"/>
                <a:gd name="T2" fmla="*/ 22 w 22"/>
                <a:gd name="T3" fmla="*/ 11 h 23"/>
                <a:gd name="T4" fmla="*/ 22 w 22"/>
                <a:gd name="T5" fmla="*/ 17 h 23"/>
                <a:gd name="T6" fmla="*/ 18 w 22"/>
                <a:gd name="T7" fmla="*/ 21 h 23"/>
                <a:gd name="T8" fmla="*/ 15 w 22"/>
                <a:gd name="T9" fmla="*/ 23 h 23"/>
                <a:gd name="T10" fmla="*/ 11 w 22"/>
                <a:gd name="T11" fmla="*/ 23 h 23"/>
                <a:gd name="T12" fmla="*/ 7 w 22"/>
                <a:gd name="T13" fmla="*/ 23 h 23"/>
                <a:gd name="T14" fmla="*/ 3 w 22"/>
                <a:gd name="T15" fmla="*/ 21 h 23"/>
                <a:gd name="T16" fmla="*/ 0 w 22"/>
                <a:gd name="T17" fmla="*/ 17 h 23"/>
                <a:gd name="T18" fmla="*/ 0 w 22"/>
                <a:gd name="T19" fmla="*/ 11 h 23"/>
                <a:gd name="T20" fmla="*/ 0 w 22"/>
                <a:gd name="T21" fmla="*/ 11 h 23"/>
                <a:gd name="T22" fmla="*/ 0 w 22"/>
                <a:gd name="T23" fmla="*/ 6 h 23"/>
                <a:gd name="T24" fmla="*/ 3 w 22"/>
                <a:gd name="T25" fmla="*/ 2 h 23"/>
                <a:gd name="T26" fmla="*/ 7 w 22"/>
                <a:gd name="T27" fmla="*/ 0 h 23"/>
                <a:gd name="T28" fmla="*/ 11 w 22"/>
                <a:gd name="T29" fmla="*/ 0 h 23"/>
                <a:gd name="T30" fmla="*/ 15 w 22"/>
                <a:gd name="T31" fmla="*/ 0 h 23"/>
                <a:gd name="T32" fmla="*/ 18 w 22"/>
                <a:gd name="T33" fmla="*/ 2 h 23"/>
                <a:gd name="T34" fmla="*/ 22 w 22"/>
                <a:gd name="T35" fmla="*/ 6 h 23"/>
                <a:gd name="T36" fmla="*/ 22 w 22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3">
                  <a:moveTo>
                    <a:pt x="22" y="11"/>
                  </a:moveTo>
                  <a:lnTo>
                    <a:pt x="22" y="11"/>
                  </a:lnTo>
                  <a:lnTo>
                    <a:pt x="22" y="17"/>
                  </a:lnTo>
                  <a:lnTo>
                    <a:pt x="18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8" y="2"/>
                  </a:lnTo>
                  <a:lnTo>
                    <a:pt x="22" y="6"/>
                  </a:lnTo>
                  <a:lnTo>
                    <a:pt x="22" y="11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Freeform 420">
              <a:extLst>
                <a:ext uri="{FF2B5EF4-FFF2-40B4-BE49-F238E27FC236}">
                  <a16:creationId xmlns:a16="http://schemas.microsoft.com/office/drawing/2014/main" id="{B3DBEEC4-B78D-E8C0-1BBC-FE1990142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0" y="2370"/>
              <a:ext cx="22" cy="23"/>
            </a:xfrm>
            <a:custGeom>
              <a:avLst/>
              <a:gdLst>
                <a:gd name="T0" fmla="*/ 22 w 22"/>
                <a:gd name="T1" fmla="*/ 11 h 23"/>
                <a:gd name="T2" fmla="*/ 22 w 22"/>
                <a:gd name="T3" fmla="*/ 11 h 23"/>
                <a:gd name="T4" fmla="*/ 22 w 22"/>
                <a:gd name="T5" fmla="*/ 17 h 23"/>
                <a:gd name="T6" fmla="*/ 18 w 22"/>
                <a:gd name="T7" fmla="*/ 21 h 23"/>
                <a:gd name="T8" fmla="*/ 15 w 22"/>
                <a:gd name="T9" fmla="*/ 23 h 23"/>
                <a:gd name="T10" fmla="*/ 11 w 22"/>
                <a:gd name="T11" fmla="*/ 23 h 23"/>
                <a:gd name="T12" fmla="*/ 7 w 22"/>
                <a:gd name="T13" fmla="*/ 23 h 23"/>
                <a:gd name="T14" fmla="*/ 3 w 22"/>
                <a:gd name="T15" fmla="*/ 21 h 23"/>
                <a:gd name="T16" fmla="*/ 0 w 22"/>
                <a:gd name="T17" fmla="*/ 17 h 23"/>
                <a:gd name="T18" fmla="*/ 0 w 22"/>
                <a:gd name="T19" fmla="*/ 11 h 23"/>
                <a:gd name="T20" fmla="*/ 0 w 22"/>
                <a:gd name="T21" fmla="*/ 11 h 23"/>
                <a:gd name="T22" fmla="*/ 0 w 22"/>
                <a:gd name="T23" fmla="*/ 6 h 23"/>
                <a:gd name="T24" fmla="*/ 3 w 22"/>
                <a:gd name="T25" fmla="*/ 2 h 23"/>
                <a:gd name="T26" fmla="*/ 7 w 22"/>
                <a:gd name="T27" fmla="*/ 0 h 23"/>
                <a:gd name="T28" fmla="*/ 11 w 22"/>
                <a:gd name="T29" fmla="*/ 0 h 23"/>
                <a:gd name="T30" fmla="*/ 15 w 22"/>
                <a:gd name="T31" fmla="*/ 0 h 23"/>
                <a:gd name="T32" fmla="*/ 18 w 22"/>
                <a:gd name="T33" fmla="*/ 2 h 23"/>
                <a:gd name="T34" fmla="*/ 22 w 22"/>
                <a:gd name="T35" fmla="*/ 6 h 23"/>
                <a:gd name="T36" fmla="*/ 22 w 22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3">
                  <a:moveTo>
                    <a:pt x="22" y="11"/>
                  </a:moveTo>
                  <a:lnTo>
                    <a:pt x="22" y="11"/>
                  </a:lnTo>
                  <a:lnTo>
                    <a:pt x="22" y="17"/>
                  </a:lnTo>
                  <a:lnTo>
                    <a:pt x="18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8" y="2"/>
                  </a:lnTo>
                  <a:lnTo>
                    <a:pt x="22" y="6"/>
                  </a:lnTo>
                  <a:lnTo>
                    <a:pt x="22" y="11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Freeform 421">
              <a:extLst>
                <a:ext uri="{FF2B5EF4-FFF2-40B4-BE49-F238E27FC236}">
                  <a16:creationId xmlns:a16="http://schemas.microsoft.com/office/drawing/2014/main" id="{8243445D-377B-C42B-0E4C-2671BDCD7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1" y="2331"/>
              <a:ext cx="24" cy="24"/>
            </a:xfrm>
            <a:custGeom>
              <a:avLst/>
              <a:gdLst>
                <a:gd name="T0" fmla="*/ 24 w 24"/>
                <a:gd name="T1" fmla="*/ 11 h 24"/>
                <a:gd name="T2" fmla="*/ 24 w 24"/>
                <a:gd name="T3" fmla="*/ 11 h 24"/>
                <a:gd name="T4" fmla="*/ 22 w 24"/>
                <a:gd name="T5" fmla="*/ 17 h 24"/>
                <a:gd name="T6" fmla="*/ 21 w 24"/>
                <a:gd name="T7" fmla="*/ 20 h 24"/>
                <a:gd name="T8" fmla="*/ 17 w 24"/>
                <a:gd name="T9" fmla="*/ 22 h 24"/>
                <a:gd name="T10" fmla="*/ 11 w 24"/>
                <a:gd name="T11" fmla="*/ 24 h 24"/>
                <a:gd name="T12" fmla="*/ 7 w 24"/>
                <a:gd name="T13" fmla="*/ 22 h 24"/>
                <a:gd name="T14" fmla="*/ 4 w 24"/>
                <a:gd name="T15" fmla="*/ 20 h 24"/>
                <a:gd name="T16" fmla="*/ 2 w 24"/>
                <a:gd name="T17" fmla="*/ 17 h 24"/>
                <a:gd name="T18" fmla="*/ 0 w 24"/>
                <a:gd name="T19" fmla="*/ 11 h 24"/>
                <a:gd name="T20" fmla="*/ 0 w 24"/>
                <a:gd name="T21" fmla="*/ 11 h 24"/>
                <a:gd name="T22" fmla="*/ 2 w 24"/>
                <a:gd name="T23" fmla="*/ 7 h 24"/>
                <a:gd name="T24" fmla="*/ 4 w 24"/>
                <a:gd name="T25" fmla="*/ 3 h 24"/>
                <a:gd name="T26" fmla="*/ 7 w 24"/>
                <a:gd name="T27" fmla="*/ 0 h 24"/>
                <a:gd name="T28" fmla="*/ 11 w 24"/>
                <a:gd name="T29" fmla="*/ 0 h 24"/>
                <a:gd name="T30" fmla="*/ 17 w 24"/>
                <a:gd name="T31" fmla="*/ 0 h 24"/>
                <a:gd name="T32" fmla="*/ 21 w 24"/>
                <a:gd name="T33" fmla="*/ 3 h 24"/>
                <a:gd name="T34" fmla="*/ 22 w 24"/>
                <a:gd name="T35" fmla="*/ 7 h 24"/>
                <a:gd name="T36" fmla="*/ 24 w 24"/>
                <a:gd name="T37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4">
                  <a:moveTo>
                    <a:pt x="24" y="11"/>
                  </a:moveTo>
                  <a:lnTo>
                    <a:pt x="24" y="11"/>
                  </a:lnTo>
                  <a:lnTo>
                    <a:pt x="22" y="17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1" y="24"/>
                  </a:lnTo>
                  <a:lnTo>
                    <a:pt x="7" y="22"/>
                  </a:lnTo>
                  <a:lnTo>
                    <a:pt x="4" y="20"/>
                  </a:lnTo>
                  <a:lnTo>
                    <a:pt x="2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2" y="7"/>
                  </a:lnTo>
                  <a:lnTo>
                    <a:pt x="24" y="11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422">
              <a:extLst>
                <a:ext uri="{FF2B5EF4-FFF2-40B4-BE49-F238E27FC236}">
                  <a16:creationId xmlns:a16="http://schemas.microsoft.com/office/drawing/2014/main" id="{9B780AF0-8C85-4A3F-3F3E-C63BA1773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1" y="2331"/>
              <a:ext cx="24" cy="24"/>
            </a:xfrm>
            <a:custGeom>
              <a:avLst/>
              <a:gdLst>
                <a:gd name="T0" fmla="*/ 24 w 24"/>
                <a:gd name="T1" fmla="*/ 11 h 24"/>
                <a:gd name="T2" fmla="*/ 24 w 24"/>
                <a:gd name="T3" fmla="*/ 11 h 24"/>
                <a:gd name="T4" fmla="*/ 22 w 24"/>
                <a:gd name="T5" fmla="*/ 17 h 24"/>
                <a:gd name="T6" fmla="*/ 21 w 24"/>
                <a:gd name="T7" fmla="*/ 20 h 24"/>
                <a:gd name="T8" fmla="*/ 17 w 24"/>
                <a:gd name="T9" fmla="*/ 22 h 24"/>
                <a:gd name="T10" fmla="*/ 11 w 24"/>
                <a:gd name="T11" fmla="*/ 24 h 24"/>
                <a:gd name="T12" fmla="*/ 7 w 24"/>
                <a:gd name="T13" fmla="*/ 22 h 24"/>
                <a:gd name="T14" fmla="*/ 4 w 24"/>
                <a:gd name="T15" fmla="*/ 20 h 24"/>
                <a:gd name="T16" fmla="*/ 2 w 24"/>
                <a:gd name="T17" fmla="*/ 17 h 24"/>
                <a:gd name="T18" fmla="*/ 0 w 24"/>
                <a:gd name="T19" fmla="*/ 11 h 24"/>
                <a:gd name="T20" fmla="*/ 0 w 24"/>
                <a:gd name="T21" fmla="*/ 11 h 24"/>
                <a:gd name="T22" fmla="*/ 2 w 24"/>
                <a:gd name="T23" fmla="*/ 7 h 24"/>
                <a:gd name="T24" fmla="*/ 4 w 24"/>
                <a:gd name="T25" fmla="*/ 3 h 24"/>
                <a:gd name="T26" fmla="*/ 7 w 24"/>
                <a:gd name="T27" fmla="*/ 0 h 24"/>
                <a:gd name="T28" fmla="*/ 11 w 24"/>
                <a:gd name="T29" fmla="*/ 0 h 24"/>
                <a:gd name="T30" fmla="*/ 17 w 24"/>
                <a:gd name="T31" fmla="*/ 0 h 24"/>
                <a:gd name="T32" fmla="*/ 21 w 24"/>
                <a:gd name="T33" fmla="*/ 3 h 24"/>
                <a:gd name="T34" fmla="*/ 22 w 24"/>
                <a:gd name="T35" fmla="*/ 7 h 24"/>
                <a:gd name="T36" fmla="*/ 24 w 24"/>
                <a:gd name="T37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4">
                  <a:moveTo>
                    <a:pt x="24" y="11"/>
                  </a:moveTo>
                  <a:lnTo>
                    <a:pt x="24" y="11"/>
                  </a:lnTo>
                  <a:lnTo>
                    <a:pt x="22" y="17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1" y="24"/>
                  </a:lnTo>
                  <a:lnTo>
                    <a:pt x="7" y="22"/>
                  </a:lnTo>
                  <a:lnTo>
                    <a:pt x="4" y="20"/>
                  </a:lnTo>
                  <a:lnTo>
                    <a:pt x="2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7"/>
                  </a:lnTo>
                  <a:lnTo>
                    <a:pt x="4" y="3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2" y="7"/>
                  </a:lnTo>
                  <a:lnTo>
                    <a:pt x="24" y="11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423">
              <a:extLst>
                <a:ext uri="{FF2B5EF4-FFF2-40B4-BE49-F238E27FC236}">
                  <a16:creationId xmlns:a16="http://schemas.microsoft.com/office/drawing/2014/main" id="{7676F708-B5DE-74CA-A4AF-288E2D23D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2" y="2366"/>
              <a:ext cx="23" cy="25"/>
            </a:xfrm>
            <a:custGeom>
              <a:avLst/>
              <a:gdLst>
                <a:gd name="T0" fmla="*/ 23 w 23"/>
                <a:gd name="T1" fmla="*/ 14 h 25"/>
                <a:gd name="T2" fmla="*/ 23 w 23"/>
                <a:gd name="T3" fmla="*/ 14 h 25"/>
                <a:gd name="T4" fmla="*/ 23 w 23"/>
                <a:gd name="T5" fmla="*/ 17 h 25"/>
                <a:gd name="T6" fmla="*/ 19 w 23"/>
                <a:gd name="T7" fmla="*/ 21 h 25"/>
                <a:gd name="T8" fmla="*/ 15 w 23"/>
                <a:gd name="T9" fmla="*/ 23 h 25"/>
                <a:gd name="T10" fmla="*/ 12 w 23"/>
                <a:gd name="T11" fmla="*/ 25 h 25"/>
                <a:gd name="T12" fmla="*/ 8 w 23"/>
                <a:gd name="T13" fmla="*/ 23 h 25"/>
                <a:gd name="T14" fmla="*/ 4 w 23"/>
                <a:gd name="T15" fmla="*/ 21 h 25"/>
                <a:gd name="T16" fmla="*/ 0 w 23"/>
                <a:gd name="T17" fmla="*/ 17 h 25"/>
                <a:gd name="T18" fmla="*/ 0 w 23"/>
                <a:gd name="T19" fmla="*/ 14 h 25"/>
                <a:gd name="T20" fmla="*/ 0 w 23"/>
                <a:gd name="T21" fmla="*/ 14 h 25"/>
                <a:gd name="T22" fmla="*/ 0 w 23"/>
                <a:gd name="T23" fmla="*/ 8 h 25"/>
                <a:gd name="T24" fmla="*/ 4 w 23"/>
                <a:gd name="T25" fmla="*/ 4 h 25"/>
                <a:gd name="T26" fmla="*/ 8 w 23"/>
                <a:gd name="T27" fmla="*/ 2 h 25"/>
                <a:gd name="T28" fmla="*/ 12 w 23"/>
                <a:gd name="T29" fmla="*/ 0 h 25"/>
                <a:gd name="T30" fmla="*/ 15 w 23"/>
                <a:gd name="T31" fmla="*/ 2 h 25"/>
                <a:gd name="T32" fmla="*/ 19 w 23"/>
                <a:gd name="T33" fmla="*/ 4 h 25"/>
                <a:gd name="T34" fmla="*/ 23 w 23"/>
                <a:gd name="T35" fmla="*/ 8 h 25"/>
                <a:gd name="T36" fmla="*/ 23 w 23"/>
                <a:gd name="T37" fmla="*/ 1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5">
                  <a:moveTo>
                    <a:pt x="23" y="14"/>
                  </a:moveTo>
                  <a:lnTo>
                    <a:pt x="23" y="14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5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4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424">
              <a:extLst>
                <a:ext uri="{FF2B5EF4-FFF2-40B4-BE49-F238E27FC236}">
                  <a16:creationId xmlns:a16="http://schemas.microsoft.com/office/drawing/2014/main" id="{53D9B5B4-5E49-E7FF-5FE4-58AC28788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2" y="2366"/>
              <a:ext cx="23" cy="25"/>
            </a:xfrm>
            <a:custGeom>
              <a:avLst/>
              <a:gdLst>
                <a:gd name="T0" fmla="*/ 23 w 23"/>
                <a:gd name="T1" fmla="*/ 14 h 25"/>
                <a:gd name="T2" fmla="*/ 23 w 23"/>
                <a:gd name="T3" fmla="*/ 14 h 25"/>
                <a:gd name="T4" fmla="*/ 23 w 23"/>
                <a:gd name="T5" fmla="*/ 17 h 25"/>
                <a:gd name="T6" fmla="*/ 19 w 23"/>
                <a:gd name="T7" fmla="*/ 21 h 25"/>
                <a:gd name="T8" fmla="*/ 15 w 23"/>
                <a:gd name="T9" fmla="*/ 23 h 25"/>
                <a:gd name="T10" fmla="*/ 12 w 23"/>
                <a:gd name="T11" fmla="*/ 25 h 25"/>
                <a:gd name="T12" fmla="*/ 8 w 23"/>
                <a:gd name="T13" fmla="*/ 23 h 25"/>
                <a:gd name="T14" fmla="*/ 4 w 23"/>
                <a:gd name="T15" fmla="*/ 21 h 25"/>
                <a:gd name="T16" fmla="*/ 0 w 23"/>
                <a:gd name="T17" fmla="*/ 17 h 25"/>
                <a:gd name="T18" fmla="*/ 0 w 23"/>
                <a:gd name="T19" fmla="*/ 14 h 25"/>
                <a:gd name="T20" fmla="*/ 0 w 23"/>
                <a:gd name="T21" fmla="*/ 14 h 25"/>
                <a:gd name="T22" fmla="*/ 0 w 23"/>
                <a:gd name="T23" fmla="*/ 8 h 25"/>
                <a:gd name="T24" fmla="*/ 4 w 23"/>
                <a:gd name="T25" fmla="*/ 4 h 25"/>
                <a:gd name="T26" fmla="*/ 8 w 23"/>
                <a:gd name="T27" fmla="*/ 2 h 25"/>
                <a:gd name="T28" fmla="*/ 12 w 23"/>
                <a:gd name="T29" fmla="*/ 0 h 25"/>
                <a:gd name="T30" fmla="*/ 15 w 23"/>
                <a:gd name="T31" fmla="*/ 2 h 25"/>
                <a:gd name="T32" fmla="*/ 19 w 23"/>
                <a:gd name="T33" fmla="*/ 4 h 25"/>
                <a:gd name="T34" fmla="*/ 23 w 23"/>
                <a:gd name="T35" fmla="*/ 8 h 25"/>
                <a:gd name="T36" fmla="*/ 23 w 23"/>
                <a:gd name="T37" fmla="*/ 1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5">
                  <a:moveTo>
                    <a:pt x="23" y="14"/>
                  </a:moveTo>
                  <a:lnTo>
                    <a:pt x="23" y="14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5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4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Freeform 425">
              <a:extLst>
                <a:ext uri="{FF2B5EF4-FFF2-40B4-BE49-F238E27FC236}">
                  <a16:creationId xmlns:a16="http://schemas.microsoft.com/office/drawing/2014/main" id="{0A3EA889-E118-C2DB-1F7B-55D25FCC5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4" y="2314"/>
              <a:ext cx="23" cy="24"/>
            </a:xfrm>
            <a:custGeom>
              <a:avLst/>
              <a:gdLst>
                <a:gd name="T0" fmla="*/ 23 w 23"/>
                <a:gd name="T1" fmla="*/ 13 h 24"/>
                <a:gd name="T2" fmla="*/ 23 w 23"/>
                <a:gd name="T3" fmla="*/ 13 h 24"/>
                <a:gd name="T4" fmla="*/ 23 w 23"/>
                <a:gd name="T5" fmla="*/ 17 h 24"/>
                <a:gd name="T6" fmla="*/ 19 w 23"/>
                <a:gd name="T7" fmla="*/ 20 h 24"/>
                <a:gd name="T8" fmla="*/ 15 w 23"/>
                <a:gd name="T9" fmla="*/ 24 h 24"/>
                <a:gd name="T10" fmla="*/ 11 w 23"/>
                <a:gd name="T11" fmla="*/ 24 h 24"/>
                <a:gd name="T12" fmla="*/ 7 w 23"/>
                <a:gd name="T13" fmla="*/ 24 h 24"/>
                <a:gd name="T14" fmla="*/ 4 w 23"/>
                <a:gd name="T15" fmla="*/ 20 h 24"/>
                <a:gd name="T16" fmla="*/ 0 w 23"/>
                <a:gd name="T17" fmla="*/ 17 h 24"/>
                <a:gd name="T18" fmla="*/ 0 w 23"/>
                <a:gd name="T19" fmla="*/ 13 h 24"/>
                <a:gd name="T20" fmla="*/ 0 w 23"/>
                <a:gd name="T21" fmla="*/ 13 h 24"/>
                <a:gd name="T22" fmla="*/ 0 w 23"/>
                <a:gd name="T23" fmla="*/ 7 h 24"/>
                <a:gd name="T24" fmla="*/ 4 w 23"/>
                <a:gd name="T25" fmla="*/ 4 h 24"/>
                <a:gd name="T26" fmla="*/ 7 w 23"/>
                <a:gd name="T27" fmla="*/ 2 h 24"/>
                <a:gd name="T28" fmla="*/ 11 w 23"/>
                <a:gd name="T29" fmla="*/ 0 h 24"/>
                <a:gd name="T30" fmla="*/ 15 w 23"/>
                <a:gd name="T31" fmla="*/ 2 h 24"/>
                <a:gd name="T32" fmla="*/ 19 w 23"/>
                <a:gd name="T33" fmla="*/ 4 h 24"/>
                <a:gd name="T34" fmla="*/ 23 w 23"/>
                <a:gd name="T35" fmla="*/ 7 h 24"/>
                <a:gd name="T36" fmla="*/ 23 w 23"/>
                <a:gd name="T37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4">
                  <a:moveTo>
                    <a:pt x="23" y="13"/>
                  </a:moveTo>
                  <a:lnTo>
                    <a:pt x="23" y="13"/>
                  </a:lnTo>
                  <a:lnTo>
                    <a:pt x="23" y="17"/>
                  </a:lnTo>
                  <a:lnTo>
                    <a:pt x="19" y="20"/>
                  </a:lnTo>
                  <a:lnTo>
                    <a:pt x="15" y="24"/>
                  </a:lnTo>
                  <a:lnTo>
                    <a:pt x="11" y="24"/>
                  </a:lnTo>
                  <a:lnTo>
                    <a:pt x="7" y="24"/>
                  </a:lnTo>
                  <a:lnTo>
                    <a:pt x="4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7"/>
                  </a:lnTo>
                  <a:lnTo>
                    <a:pt x="23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426">
              <a:extLst>
                <a:ext uri="{FF2B5EF4-FFF2-40B4-BE49-F238E27FC236}">
                  <a16:creationId xmlns:a16="http://schemas.microsoft.com/office/drawing/2014/main" id="{14775030-119D-48D2-A8B8-45C92ACC85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4" y="2314"/>
              <a:ext cx="23" cy="24"/>
            </a:xfrm>
            <a:custGeom>
              <a:avLst/>
              <a:gdLst>
                <a:gd name="T0" fmla="*/ 23 w 23"/>
                <a:gd name="T1" fmla="*/ 13 h 24"/>
                <a:gd name="T2" fmla="*/ 23 w 23"/>
                <a:gd name="T3" fmla="*/ 13 h 24"/>
                <a:gd name="T4" fmla="*/ 23 w 23"/>
                <a:gd name="T5" fmla="*/ 17 h 24"/>
                <a:gd name="T6" fmla="*/ 19 w 23"/>
                <a:gd name="T7" fmla="*/ 20 h 24"/>
                <a:gd name="T8" fmla="*/ 15 w 23"/>
                <a:gd name="T9" fmla="*/ 24 h 24"/>
                <a:gd name="T10" fmla="*/ 11 w 23"/>
                <a:gd name="T11" fmla="*/ 24 h 24"/>
                <a:gd name="T12" fmla="*/ 7 w 23"/>
                <a:gd name="T13" fmla="*/ 24 h 24"/>
                <a:gd name="T14" fmla="*/ 4 w 23"/>
                <a:gd name="T15" fmla="*/ 20 h 24"/>
                <a:gd name="T16" fmla="*/ 0 w 23"/>
                <a:gd name="T17" fmla="*/ 17 h 24"/>
                <a:gd name="T18" fmla="*/ 0 w 23"/>
                <a:gd name="T19" fmla="*/ 13 h 24"/>
                <a:gd name="T20" fmla="*/ 0 w 23"/>
                <a:gd name="T21" fmla="*/ 13 h 24"/>
                <a:gd name="T22" fmla="*/ 0 w 23"/>
                <a:gd name="T23" fmla="*/ 7 h 24"/>
                <a:gd name="T24" fmla="*/ 4 w 23"/>
                <a:gd name="T25" fmla="*/ 4 h 24"/>
                <a:gd name="T26" fmla="*/ 7 w 23"/>
                <a:gd name="T27" fmla="*/ 2 h 24"/>
                <a:gd name="T28" fmla="*/ 11 w 23"/>
                <a:gd name="T29" fmla="*/ 0 h 24"/>
                <a:gd name="T30" fmla="*/ 15 w 23"/>
                <a:gd name="T31" fmla="*/ 2 h 24"/>
                <a:gd name="T32" fmla="*/ 19 w 23"/>
                <a:gd name="T33" fmla="*/ 4 h 24"/>
                <a:gd name="T34" fmla="*/ 23 w 23"/>
                <a:gd name="T35" fmla="*/ 7 h 24"/>
                <a:gd name="T36" fmla="*/ 23 w 23"/>
                <a:gd name="T37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4">
                  <a:moveTo>
                    <a:pt x="23" y="13"/>
                  </a:moveTo>
                  <a:lnTo>
                    <a:pt x="23" y="13"/>
                  </a:lnTo>
                  <a:lnTo>
                    <a:pt x="23" y="17"/>
                  </a:lnTo>
                  <a:lnTo>
                    <a:pt x="19" y="20"/>
                  </a:lnTo>
                  <a:lnTo>
                    <a:pt x="15" y="24"/>
                  </a:lnTo>
                  <a:lnTo>
                    <a:pt x="11" y="24"/>
                  </a:lnTo>
                  <a:lnTo>
                    <a:pt x="7" y="24"/>
                  </a:lnTo>
                  <a:lnTo>
                    <a:pt x="4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7"/>
                  </a:lnTo>
                  <a:lnTo>
                    <a:pt x="23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427">
              <a:extLst>
                <a:ext uri="{FF2B5EF4-FFF2-40B4-BE49-F238E27FC236}">
                  <a16:creationId xmlns:a16="http://schemas.microsoft.com/office/drawing/2014/main" id="{195D3942-26CE-D729-2572-C57E299A9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4" y="2318"/>
              <a:ext cx="24" cy="24"/>
            </a:xfrm>
            <a:custGeom>
              <a:avLst/>
              <a:gdLst>
                <a:gd name="T0" fmla="*/ 24 w 24"/>
                <a:gd name="T1" fmla="*/ 13 h 24"/>
                <a:gd name="T2" fmla="*/ 24 w 24"/>
                <a:gd name="T3" fmla="*/ 13 h 24"/>
                <a:gd name="T4" fmla="*/ 22 w 24"/>
                <a:gd name="T5" fmla="*/ 16 h 24"/>
                <a:gd name="T6" fmla="*/ 20 w 24"/>
                <a:gd name="T7" fmla="*/ 20 h 24"/>
                <a:gd name="T8" fmla="*/ 17 w 24"/>
                <a:gd name="T9" fmla="*/ 22 h 24"/>
                <a:gd name="T10" fmla="*/ 11 w 24"/>
                <a:gd name="T11" fmla="*/ 24 h 24"/>
                <a:gd name="T12" fmla="*/ 7 w 24"/>
                <a:gd name="T13" fmla="*/ 22 h 24"/>
                <a:gd name="T14" fmla="*/ 3 w 24"/>
                <a:gd name="T15" fmla="*/ 20 h 24"/>
                <a:gd name="T16" fmla="*/ 1 w 24"/>
                <a:gd name="T17" fmla="*/ 16 h 24"/>
                <a:gd name="T18" fmla="*/ 0 w 24"/>
                <a:gd name="T19" fmla="*/ 13 h 24"/>
                <a:gd name="T20" fmla="*/ 0 w 24"/>
                <a:gd name="T21" fmla="*/ 13 h 24"/>
                <a:gd name="T22" fmla="*/ 1 w 24"/>
                <a:gd name="T23" fmla="*/ 7 h 24"/>
                <a:gd name="T24" fmla="*/ 3 w 24"/>
                <a:gd name="T25" fmla="*/ 3 h 24"/>
                <a:gd name="T26" fmla="*/ 7 w 24"/>
                <a:gd name="T27" fmla="*/ 1 h 24"/>
                <a:gd name="T28" fmla="*/ 11 w 24"/>
                <a:gd name="T29" fmla="*/ 0 h 24"/>
                <a:gd name="T30" fmla="*/ 17 w 24"/>
                <a:gd name="T31" fmla="*/ 1 h 24"/>
                <a:gd name="T32" fmla="*/ 20 w 24"/>
                <a:gd name="T33" fmla="*/ 3 h 24"/>
                <a:gd name="T34" fmla="*/ 22 w 24"/>
                <a:gd name="T35" fmla="*/ 7 h 24"/>
                <a:gd name="T36" fmla="*/ 24 w 24"/>
                <a:gd name="T37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4">
                  <a:moveTo>
                    <a:pt x="24" y="13"/>
                  </a:moveTo>
                  <a:lnTo>
                    <a:pt x="24" y="13"/>
                  </a:lnTo>
                  <a:lnTo>
                    <a:pt x="22" y="16"/>
                  </a:lnTo>
                  <a:lnTo>
                    <a:pt x="20" y="20"/>
                  </a:lnTo>
                  <a:lnTo>
                    <a:pt x="17" y="22"/>
                  </a:lnTo>
                  <a:lnTo>
                    <a:pt x="11" y="24"/>
                  </a:lnTo>
                  <a:lnTo>
                    <a:pt x="7" y="22"/>
                  </a:lnTo>
                  <a:lnTo>
                    <a:pt x="3" y="20"/>
                  </a:lnTo>
                  <a:lnTo>
                    <a:pt x="1" y="16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2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428">
              <a:extLst>
                <a:ext uri="{FF2B5EF4-FFF2-40B4-BE49-F238E27FC236}">
                  <a16:creationId xmlns:a16="http://schemas.microsoft.com/office/drawing/2014/main" id="{F2DF4CD4-BA7B-65F8-483A-4D33D808A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4" y="2318"/>
              <a:ext cx="24" cy="24"/>
            </a:xfrm>
            <a:custGeom>
              <a:avLst/>
              <a:gdLst>
                <a:gd name="T0" fmla="*/ 24 w 24"/>
                <a:gd name="T1" fmla="*/ 13 h 24"/>
                <a:gd name="T2" fmla="*/ 24 w 24"/>
                <a:gd name="T3" fmla="*/ 13 h 24"/>
                <a:gd name="T4" fmla="*/ 22 w 24"/>
                <a:gd name="T5" fmla="*/ 16 h 24"/>
                <a:gd name="T6" fmla="*/ 20 w 24"/>
                <a:gd name="T7" fmla="*/ 20 h 24"/>
                <a:gd name="T8" fmla="*/ 17 w 24"/>
                <a:gd name="T9" fmla="*/ 22 h 24"/>
                <a:gd name="T10" fmla="*/ 11 w 24"/>
                <a:gd name="T11" fmla="*/ 24 h 24"/>
                <a:gd name="T12" fmla="*/ 7 w 24"/>
                <a:gd name="T13" fmla="*/ 22 h 24"/>
                <a:gd name="T14" fmla="*/ 3 w 24"/>
                <a:gd name="T15" fmla="*/ 20 h 24"/>
                <a:gd name="T16" fmla="*/ 1 w 24"/>
                <a:gd name="T17" fmla="*/ 16 h 24"/>
                <a:gd name="T18" fmla="*/ 0 w 24"/>
                <a:gd name="T19" fmla="*/ 13 h 24"/>
                <a:gd name="T20" fmla="*/ 0 w 24"/>
                <a:gd name="T21" fmla="*/ 13 h 24"/>
                <a:gd name="T22" fmla="*/ 1 w 24"/>
                <a:gd name="T23" fmla="*/ 7 h 24"/>
                <a:gd name="T24" fmla="*/ 3 w 24"/>
                <a:gd name="T25" fmla="*/ 3 h 24"/>
                <a:gd name="T26" fmla="*/ 7 w 24"/>
                <a:gd name="T27" fmla="*/ 1 h 24"/>
                <a:gd name="T28" fmla="*/ 11 w 24"/>
                <a:gd name="T29" fmla="*/ 0 h 24"/>
                <a:gd name="T30" fmla="*/ 17 w 24"/>
                <a:gd name="T31" fmla="*/ 1 h 24"/>
                <a:gd name="T32" fmla="*/ 20 w 24"/>
                <a:gd name="T33" fmla="*/ 3 h 24"/>
                <a:gd name="T34" fmla="*/ 22 w 24"/>
                <a:gd name="T35" fmla="*/ 7 h 24"/>
                <a:gd name="T36" fmla="*/ 24 w 24"/>
                <a:gd name="T37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4">
                  <a:moveTo>
                    <a:pt x="24" y="13"/>
                  </a:moveTo>
                  <a:lnTo>
                    <a:pt x="24" y="13"/>
                  </a:lnTo>
                  <a:lnTo>
                    <a:pt x="22" y="16"/>
                  </a:lnTo>
                  <a:lnTo>
                    <a:pt x="20" y="20"/>
                  </a:lnTo>
                  <a:lnTo>
                    <a:pt x="17" y="22"/>
                  </a:lnTo>
                  <a:lnTo>
                    <a:pt x="11" y="24"/>
                  </a:lnTo>
                  <a:lnTo>
                    <a:pt x="7" y="22"/>
                  </a:lnTo>
                  <a:lnTo>
                    <a:pt x="3" y="20"/>
                  </a:lnTo>
                  <a:lnTo>
                    <a:pt x="1" y="16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2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429">
              <a:extLst>
                <a:ext uri="{FF2B5EF4-FFF2-40B4-BE49-F238E27FC236}">
                  <a16:creationId xmlns:a16="http://schemas.microsoft.com/office/drawing/2014/main" id="{5E353A62-92B4-C314-25DD-214E70A16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5" y="2287"/>
              <a:ext cx="23" cy="25"/>
            </a:xfrm>
            <a:custGeom>
              <a:avLst/>
              <a:gdLst>
                <a:gd name="T0" fmla="*/ 23 w 23"/>
                <a:gd name="T1" fmla="*/ 12 h 25"/>
                <a:gd name="T2" fmla="*/ 23 w 23"/>
                <a:gd name="T3" fmla="*/ 12 h 25"/>
                <a:gd name="T4" fmla="*/ 23 w 23"/>
                <a:gd name="T5" fmla="*/ 17 h 25"/>
                <a:gd name="T6" fmla="*/ 19 w 23"/>
                <a:gd name="T7" fmla="*/ 21 h 25"/>
                <a:gd name="T8" fmla="*/ 15 w 23"/>
                <a:gd name="T9" fmla="*/ 23 h 25"/>
                <a:gd name="T10" fmla="*/ 11 w 23"/>
                <a:gd name="T11" fmla="*/ 25 h 25"/>
                <a:gd name="T12" fmla="*/ 8 w 23"/>
                <a:gd name="T13" fmla="*/ 23 h 25"/>
                <a:gd name="T14" fmla="*/ 4 w 23"/>
                <a:gd name="T15" fmla="*/ 21 h 25"/>
                <a:gd name="T16" fmla="*/ 0 w 23"/>
                <a:gd name="T17" fmla="*/ 17 h 25"/>
                <a:gd name="T18" fmla="*/ 0 w 23"/>
                <a:gd name="T19" fmla="*/ 12 h 25"/>
                <a:gd name="T20" fmla="*/ 0 w 23"/>
                <a:gd name="T21" fmla="*/ 12 h 25"/>
                <a:gd name="T22" fmla="*/ 0 w 23"/>
                <a:gd name="T23" fmla="*/ 8 h 25"/>
                <a:gd name="T24" fmla="*/ 4 w 23"/>
                <a:gd name="T25" fmla="*/ 4 h 25"/>
                <a:gd name="T26" fmla="*/ 8 w 23"/>
                <a:gd name="T27" fmla="*/ 2 h 25"/>
                <a:gd name="T28" fmla="*/ 11 w 23"/>
                <a:gd name="T29" fmla="*/ 0 h 25"/>
                <a:gd name="T30" fmla="*/ 15 w 23"/>
                <a:gd name="T31" fmla="*/ 2 h 25"/>
                <a:gd name="T32" fmla="*/ 19 w 23"/>
                <a:gd name="T33" fmla="*/ 4 h 25"/>
                <a:gd name="T34" fmla="*/ 23 w 23"/>
                <a:gd name="T35" fmla="*/ 8 h 25"/>
                <a:gd name="T36" fmla="*/ 23 w 23"/>
                <a:gd name="T3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5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5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2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430">
              <a:extLst>
                <a:ext uri="{FF2B5EF4-FFF2-40B4-BE49-F238E27FC236}">
                  <a16:creationId xmlns:a16="http://schemas.microsoft.com/office/drawing/2014/main" id="{39D4E37E-1800-0704-BBCB-38565CE374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5" y="2287"/>
              <a:ext cx="23" cy="25"/>
            </a:xfrm>
            <a:custGeom>
              <a:avLst/>
              <a:gdLst>
                <a:gd name="T0" fmla="*/ 23 w 23"/>
                <a:gd name="T1" fmla="*/ 12 h 25"/>
                <a:gd name="T2" fmla="*/ 23 w 23"/>
                <a:gd name="T3" fmla="*/ 12 h 25"/>
                <a:gd name="T4" fmla="*/ 23 w 23"/>
                <a:gd name="T5" fmla="*/ 17 h 25"/>
                <a:gd name="T6" fmla="*/ 19 w 23"/>
                <a:gd name="T7" fmla="*/ 21 h 25"/>
                <a:gd name="T8" fmla="*/ 15 w 23"/>
                <a:gd name="T9" fmla="*/ 23 h 25"/>
                <a:gd name="T10" fmla="*/ 11 w 23"/>
                <a:gd name="T11" fmla="*/ 25 h 25"/>
                <a:gd name="T12" fmla="*/ 8 w 23"/>
                <a:gd name="T13" fmla="*/ 23 h 25"/>
                <a:gd name="T14" fmla="*/ 4 w 23"/>
                <a:gd name="T15" fmla="*/ 21 h 25"/>
                <a:gd name="T16" fmla="*/ 0 w 23"/>
                <a:gd name="T17" fmla="*/ 17 h 25"/>
                <a:gd name="T18" fmla="*/ 0 w 23"/>
                <a:gd name="T19" fmla="*/ 12 h 25"/>
                <a:gd name="T20" fmla="*/ 0 w 23"/>
                <a:gd name="T21" fmla="*/ 12 h 25"/>
                <a:gd name="T22" fmla="*/ 0 w 23"/>
                <a:gd name="T23" fmla="*/ 8 h 25"/>
                <a:gd name="T24" fmla="*/ 4 w 23"/>
                <a:gd name="T25" fmla="*/ 4 h 25"/>
                <a:gd name="T26" fmla="*/ 8 w 23"/>
                <a:gd name="T27" fmla="*/ 2 h 25"/>
                <a:gd name="T28" fmla="*/ 11 w 23"/>
                <a:gd name="T29" fmla="*/ 0 h 25"/>
                <a:gd name="T30" fmla="*/ 15 w 23"/>
                <a:gd name="T31" fmla="*/ 2 h 25"/>
                <a:gd name="T32" fmla="*/ 19 w 23"/>
                <a:gd name="T33" fmla="*/ 4 h 25"/>
                <a:gd name="T34" fmla="*/ 23 w 23"/>
                <a:gd name="T35" fmla="*/ 8 h 25"/>
                <a:gd name="T36" fmla="*/ 23 w 23"/>
                <a:gd name="T3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5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5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2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431">
              <a:extLst>
                <a:ext uri="{FF2B5EF4-FFF2-40B4-BE49-F238E27FC236}">
                  <a16:creationId xmlns:a16="http://schemas.microsoft.com/office/drawing/2014/main" id="{77E14D27-C621-4AEC-5D24-DD0D596CCE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6" y="2259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5 h 23"/>
                <a:gd name="T6" fmla="*/ 19 w 23"/>
                <a:gd name="T7" fmla="*/ 19 h 23"/>
                <a:gd name="T8" fmla="*/ 15 w 23"/>
                <a:gd name="T9" fmla="*/ 23 h 23"/>
                <a:gd name="T10" fmla="*/ 11 w 23"/>
                <a:gd name="T11" fmla="*/ 23 h 23"/>
                <a:gd name="T12" fmla="*/ 7 w 23"/>
                <a:gd name="T13" fmla="*/ 23 h 23"/>
                <a:gd name="T14" fmla="*/ 4 w 23"/>
                <a:gd name="T15" fmla="*/ 19 h 23"/>
                <a:gd name="T16" fmla="*/ 0 w 23"/>
                <a:gd name="T17" fmla="*/ 15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4 w 23"/>
                <a:gd name="T25" fmla="*/ 2 h 23"/>
                <a:gd name="T26" fmla="*/ 7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5"/>
                  </a:lnTo>
                  <a:lnTo>
                    <a:pt x="19" y="19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2"/>
                  </a:lnTo>
                  <a:close/>
                </a:path>
              </a:pathLst>
            </a:custGeom>
            <a:solidFill>
              <a:srgbClr val="90EE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432">
              <a:extLst>
                <a:ext uri="{FF2B5EF4-FFF2-40B4-BE49-F238E27FC236}">
                  <a16:creationId xmlns:a16="http://schemas.microsoft.com/office/drawing/2014/main" id="{FC92878D-F4F7-5430-7C36-2535720E3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6" y="2259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5 h 23"/>
                <a:gd name="T6" fmla="*/ 19 w 23"/>
                <a:gd name="T7" fmla="*/ 19 h 23"/>
                <a:gd name="T8" fmla="*/ 15 w 23"/>
                <a:gd name="T9" fmla="*/ 23 h 23"/>
                <a:gd name="T10" fmla="*/ 11 w 23"/>
                <a:gd name="T11" fmla="*/ 23 h 23"/>
                <a:gd name="T12" fmla="*/ 7 w 23"/>
                <a:gd name="T13" fmla="*/ 23 h 23"/>
                <a:gd name="T14" fmla="*/ 4 w 23"/>
                <a:gd name="T15" fmla="*/ 19 h 23"/>
                <a:gd name="T16" fmla="*/ 0 w 23"/>
                <a:gd name="T17" fmla="*/ 15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4 w 23"/>
                <a:gd name="T25" fmla="*/ 2 h 23"/>
                <a:gd name="T26" fmla="*/ 7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5"/>
                  </a:lnTo>
                  <a:lnTo>
                    <a:pt x="19" y="19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2"/>
                  </a:lnTo>
                </a:path>
              </a:pathLst>
            </a:custGeom>
            <a:noFill/>
            <a:ln w="9525">
              <a:solidFill>
                <a:srgbClr val="90EE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433">
              <a:extLst>
                <a:ext uri="{FF2B5EF4-FFF2-40B4-BE49-F238E27FC236}">
                  <a16:creationId xmlns:a16="http://schemas.microsoft.com/office/drawing/2014/main" id="{4C519F70-9DE4-50B5-3094-EB9165945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2618"/>
              <a:ext cx="22" cy="23"/>
            </a:xfrm>
            <a:custGeom>
              <a:avLst/>
              <a:gdLst>
                <a:gd name="T0" fmla="*/ 22 w 22"/>
                <a:gd name="T1" fmla="*/ 12 h 23"/>
                <a:gd name="T2" fmla="*/ 22 w 22"/>
                <a:gd name="T3" fmla="*/ 12 h 23"/>
                <a:gd name="T4" fmla="*/ 22 w 22"/>
                <a:gd name="T5" fmla="*/ 17 h 23"/>
                <a:gd name="T6" fmla="*/ 20 w 22"/>
                <a:gd name="T7" fmla="*/ 21 h 23"/>
                <a:gd name="T8" fmla="*/ 17 w 22"/>
                <a:gd name="T9" fmla="*/ 23 h 23"/>
                <a:gd name="T10" fmla="*/ 11 w 22"/>
                <a:gd name="T11" fmla="*/ 23 h 23"/>
                <a:gd name="T12" fmla="*/ 7 w 22"/>
                <a:gd name="T13" fmla="*/ 23 h 23"/>
                <a:gd name="T14" fmla="*/ 3 w 22"/>
                <a:gd name="T15" fmla="*/ 21 h 23"/>
                <a:gd name="T16" fmla="*/ 1 w 22"/>
                <a:gd name="T17" fmla="*/ 17 h 23"/>
                <a:gd name="T18" fmla="*/ 0 w 22"/>
                <a:gd name="T19" fmla="*/ 12 h 23"/>
                <a:gd name="T20" fmla="*/ 0 w 22"/>
                <a:gd name="T21" fmla="*/ 12 h 23"/>
                <a:gd name="T22" fmla="*/ 1 w 22"/>
                <a:gd name="T23" fmla="*/ 6 h 23"/>
                <a:gd name="T24" fmla="*/ 3 w 22"/>
                <a:gd name="T25" fmla="*/ 2 h 23"/>
                <a:gd name="T26" fmla="*/ 7 w 22"/>
                <a:gd name="T27" fmla="*/ 0 h 23"/>
                <a:gd name="T28" fmla="*/ 11 w 22"/>
                <a:gd name="T29" fmla="*/ 0 h 23"/>
                <a:gd name="T30" fmla="*/ 17 w 22"/>
                <a:gd name="T31" fmla="*/ 0 h 23"/>
                <a:gd name="T32" fmla="*/ 20 w 22"/>
                <a:gd name="T33" fmla="*/ 2 h 23"/>
                <a:gd name="T34" fmla="*/ 22 w 22"/>
                <a:gd name="T35" fmla="*/ 6 h 23"/>
                <a:gd name="T36" fmla="*/ 22 w 22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3">
                  <a:moveTo>
                    <a:pt x="22" y="12"/>
                  </a:moveTo>
                  <a:lnTo>
                    <a:pt x="22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2" y="6"/>
                  </a:lnTo>
                  <a:lnTo>
                    <a:pt x="22" y="12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434">
              <a:extLst>
                <a:ext uri="{FF2B5EF4-FFF2-40B4-BE49-F238E27FC236}">
                  <a16:creationId xmlns:a16="http://schemas.microsoft.com/office/drawing/2014/main" id="{7AB9363A-F9E8-62B1-D07F-7C2810769BA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2618"/>
              <a:ext cx="22" cy="23"/>
            </a:xfrm>
            <a:custGeom>
              <a:avLst/>
              <a:gdLst>
                <a:gd name="T0" fmla="*/ 22 w 22"/>
                <a:gd name="T1" fmla="*/ 12 h 23"/>
                <a:gd name="T2" fmla="*/ 22 w 22"/>
                <a:gd name="T3" fmla="*/ 12 h 23"/>
                <a:gd name="T4" fmla="*/ 22 w 22"/>
                <a:gd name="T5" fmla="*/ 17 h 23"/>
                <a:gd name="T6" fmla="*/ 20 w 22"/>
                <a:gd name="T7" fmla="*/ 21 h 23"/>
                <a:gd name="T8" fmla="*/ 17 w 22"/>
                <a:gd name="T9" fmla="*/ 23 h 23"/>
                <a:gd name="T10" fmla="*/ 11 w 22"/>
                <a:gd name="T11" fmla="*/ 23 h 23"/>
                <a:gd name="T12" fmla="*/ 7 w 22"/>
                <a:gd name="T13" fmla="*/ 23 h 23"/>
                <a:gd name="T14" fmla="*/ 3 w 22"/>
                <a:gd name="T15" fmla="*/ 21 h 23"/>
                <a:gd name="T16" fmla="*/ 1 w 22"/>
                <a:gd name="T17" fmla="*/ 17 h 23"/>
                <a:gd name="T18" fmla="*/ 0 w 22"/>
                <a:gd name="T19" fmla="*/ 12 h 23"/>
                <a:gd name="T20" fmla="*/ 0 w 22"/>
                <a:gd name="T21" fmla="*/ 12 h 23"/>
                <a:gd name="T22" fmla="*/ 1 w 22"/>
                <a:gd name="T23" fmla="*/ 6 h 23"/>
                <a:gd name="T24" fmla="*/ 3 w 22"/>
                <a:gd name="T25" fmla="*/ 2 h 23"/>
                <a:gd name="T26" fmla="*/ 7 w 22"/>
                <a:gd name="T27" fmla="*/ 0 h 23"/>
                <a:gd name="T28" fmla="*/ 11 w 22"/>
                <a:gd name="T29" fmla="*/ 0 h 23"/>
                <a:gd name="T30" fmla="*/ 17 w 22"/>
                <a:gd name="T31" fmla="*/ 0 h 23"/>
                <a:gd name="T32" fmla="*/ 20 w 22"/>
                <a:gd name="T33" fmla="*/ 2 h 23"/>
                <a:gd name="T34" fmla="*/ 22 w 22"/>
                <a:gd name="T35" fmla="*/ 6 h 23"/>
                <a:gd name="T36" fmla="*/ 22 w 22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3">
                  <a:moveTo>
                    <a:pt x="22" y="12"/>
                  </a:moveTo>
                  <a:lnTo>
                    <a:pt x="22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2" y="6"/>
                  </a:lnTo>
                  <a:lnTo>
                    <a:pt x="22" y="12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435">
              <a:extLst>
                <a:ext uri="{FF2B5EF4-FFF2-40B4-BE49-F238E27FC236}">
                  <a16:creationId xmlns:a16="http://schemas.microsoft.com/office/drawing/2014/main" id="{8C61B75F-43DB-B65D-DD6A-8666504EE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" y="2396"/>
              <a:ext cx="22" cy="23"/>
            </a:xfrm>
            <a:custGeom>
              <a:avLst/>
              <a:gdLst>
                <a:gd name="T0" fmla="*/ 22 w 22"/>
                <a:gd name="T1" fmla="*/ 12 h 23"/>
                <a:gd name="T2" fmla="*/ 22 w 22"/>
                <a:gd name="T3" fmla="*/ 12 h 23"/>
                <a:gd name="T4" fmla="*/ 22 w 22"/>
                <a:gd name="T5" fmla="*/ 17 h 23"/>
                <a:gd name="T6" fmla="*/ 18 w 22"/>
                <a:gd name="T7" fmla="*/ 21 h 23"/>
                <a:gd name="T8" fmla="*/ 15 w 22"/>
                <a:gd name="T9" fmla="*/ 23 h 23"/>
                <a:gd name="T10" fmla="*/ 11 w 22"/>
                <a:gd name="T11" fmla="*/ 23 h 23"/>
                <a:gd name="T12" fmla="*/ 7 w 22"/>
                <a:gd name="T13" fmla="*/ 23 h 23"/>
                <a:gd name="T14" fmla="*/ 3 w 22"/>
                <a:gd name="T15" fmla="*/ 21 h 23"/>
                <a:gd name="T16" fmla="*/ 0 w 22"/>
                <a:gd name="T17" fmla="*/ 17 h 23"/>
                <a:gd name="T18" fmla="*/ 0 w 22"/>
                <a:gd name="T19" fmla="*/ 12 h 23"/>
                <a:gd name="T20" fmla="*/ 0 w 22"/>
                <a:gd name="T21" fmla="*/ 12 h 23"/>
                <a:gd name="T22" fmla="*/ 0 w 22"/>
                <a:gd name="T23" fmla="*/ 6 h 23"/>
                <a:gd name="T24" fmla="*/ 3 w 22"/>
                <a:gd name="T25" fmla="*/ 2 h 23"/>
                <a:gd name="T26" fmla="*/ 7 w 22"/>
                <a:gd name="T27" fmla="*/ 0 h 23"/>
                <a:gd name="T28" fmla="*/ 11 w 22"/>
                <a:gd name="T29" fmla="*/ 0 h 23"/>
                <a:gd name="T30" fmla="*/ 15 w 22"/>
                <a:gd name="T31" fmla="*/ 0 h 23"/>
                <a:gd name="T32" fmla="*/ 18 w 22"/>
                <a:gd name="T33" fmla="*/ 2 h 23"/>
                <a:gd name="T34" fmla="*/ 22 w 22"/>
                <a:gd name="T35" fmla="*/ 6 h 23"/>
                <a:gd name="T36" fmla="*/ 22 w 22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3">
                  <a:moveTo>
                    <a:pt x="22" y="12"/>
                  </a:moveTo>
                  <a:lnTo>
                    <a:pt x="22" y="12"/>
                  </a:lnTo>
                  <a:lnTo>
                    <a:pt x="22" y="17"/>
                  </a:lnTo>
                  <a:lnTo>
                    <a:pt x="18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8" y="2"/>
                  </a:lnTo>
                  <a:lnTo>
                    <a:pt x="22" y="6"/>
                  </a:lnTo>
                  <a:lnTo>
                    <a:pt x="22" y="12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3" name="Freeform 436">
              <a:extLst>
                <a:ext uri="{FF2B5EF4-FFF2-40B4-BE49-F238E27FC236}">
                  <a16:creationId xmlns:a16="http://schemas.microsoft.com/office/drawing/2014/main" id="{52E091E6-7A97-FC28-71AA-ADBA19A6E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" y="2396"/>
              <a:ext cx="22" cy="23"/>
            </a:xfrm>
            <a:custGeom>
              <a:avLst/>
              <a:gdLst>
                <a:gd name="T0" fmla="*/ 22 w 22"/>
                <a:gd name="T1" fmla="*/ 12 h 23"/>
                <a:gd name="T2" fmla="*/ 22 w 22"/>
                <a:gd name="T3" fmla="*/ 12 h 23"/>
                <a:gd name="T4" fmla="*/ 22 w 22"/>
                <a:gd name="T5" fmla="*/ 17 h 23"/>
                <a:gd name="T6" fmla="*/ 18 w 22"/>
                <a:gd name="T7" fmla="*/ 21 h 23"/>
                <a:gd name="T8" fmla="*/ 15 w 22"/>
                <a:gd name="T9" fmla="*/ 23 h 23"/>
                <a:gd name="T10" fmla="*/ 11 w 22"/>
                <a:gd name="T11" fmla="*/ 23 h 23"/>
                <a:gd name="T12" fmla="*/ 7 w 22"/>
                <a:gd name="T13" fmla="*/ 23 h 23"/>
                <a:gd name="T14" fmla="*/ 3 w 22"/>
                <a:gd name="T15" fmla="*/ 21 h 23"/>
                <a:gd name="T16" fmla="*/ 0 w 22"/>
                <a:gd name="T17" fmla="*/ 17 h 23"/>
                <a:gd name="T18" fmla="*/ 0 w 22"/>
                <a:gd name="T19" fmla="*/ 12 h 23"/>
                <a:gd name="T20" fmla="*/ 0 w 22"/>
                <a:gd name="T21" fmla="*/ 12 h 23"/>
                <a:gd name="T22" fmla="*/ 0 w 22"/>
                <a:gd name="T23" fmla="*/ 6 h 23"/>
                <a:gd name="T24" fmla="*/ 3 w 22"/>
                <a:gd name="T25" fmla="*/ 2 h 23"/>
                <a:gd name="T26" fmla="*/ 7 w 22"/>
                <a:gd name="T27" fmla="*/ 0 h 23"/>
                <a:gd name="T28" fmla="*/ 11 w 22"/>
                <a:gd name="T29" fmla="*/ 0 h 23"/>
                <a:gd name="T30" fmla="*/ 15 w 22"/>
                <a:gd name="T31" fmla="*/ 0 h 23"/>
                <a:gd name="T32" fmla="*/ 18 w 22"/>
                <a:gd name="T33" fmla="*/ 2 h 23"/>
                <a:gd name="T34" fmla="*/ 22 w 22"/>
                <a:gd name="T35" fmla="*/ 6 h 23"/>
                <a:gd name="T36" fmla="*/ 22 w 22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3">
                  <a:moveTo>
                    <a:pt x="22" y="12"/>
                  </a:moveTo>
                  <a:lnTo>
                    <a:pt x="22" y="12"/>
                  </a:lnTo>
                  <a:lnTo>
                    <a:pt x="22" y="17"/>
                  </a:lnTo>
                  <a:lnTo>
                    <a:pt x="18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8" y="2"/>
                  </a:lnTo>
                  <a:lnTo>
                    <a:pt x="22" y="6"/>
                  </a:lnTo>
                  <a:lnTo>
                    <a:pt x="22" y="12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Freeform 437">
              <a:extLst>
                <a:ext uri="{FF2B5EF4-FFF2-40B4-BE49-F238E27FC236}">
                  <a16:creationId xmlns:a16="http://schemas.microsoft.com/office/drawing/2014/main" id="{BF6D85AA-4BF2-7165-7242-9A74342C99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" y="261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1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6 w 23"/>
                <a:gd name="T13" fmla="*/ 23 h 23"/>
                <a:gd name="T14" fmla="*/ 2 w 23"/>
                <a:gd name="T15" fmla="*/ 21 h 23"/>
                <a:gd name="T16" fmla="*/ 0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2 w 23"/>
                <a:gd name="T25" fmla="*/ 2 h 23"/>
                <a:gd name="T26" fmla="*/ 6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1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1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6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1" y="6"/>
                  </a:lnTo>
                  <a:lnTo>
                    <a:pt x="23" y="12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Freeform 438">
              <a:extLst>
                <a:ext uri="{FF2B5EF4-FFF2-40B4-BE49-F238E27FC236}">
                  <a16:creationId xmlns:a16="http://schemas.microsoft.com/office/drawing/2014/main" id="{F5C0F706-F253-1152-0C1D-9F71A8D68A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" y="261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1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6 w 23"/>
                <a:gd name="T13" fmla="*/ 23 h 23"/>
                <a:gd name="T14" fmla="*/ 2 w 23"/>
                <a:gd name="T15" fmla="*/ 21 h 23"/>
                <a:gd name="T16" fmla="*/ 0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2 w 23"/>
                <a:gd name="T25" fmla="*/ 2 h 23"/>
                <a:gd name="T26" fmla="*/ 6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1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1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6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1" y="6"/>
                  </a:lnTo>
                  <a:lnTo>
                    <a:pt x="23" y="12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439">
              <a:extLst>
                <a:ext uri="{FF2B5EF4-FFF2-40B4-BE49-F238E27FC236}">
                  <a16:creationId xmlns:a16="http://schemas.microsoft.com/office/drawing/2014/main" id="{779AAAB5-443F-F03D-E382-9230199018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" y="2618"/>
              <a:ext cx="24" cy="2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2 w 24"/>
                <a:gd name="T5" fmla="*/ 17 h 23"/>
                <a:gd name="T6" fmla="*/ 21 w 24"/>
                <a:gd name="T7" fmla="*/ 21 h 23"/>
                <a:gd name="T8" fmla="*/ 17 w 24"/>
                <a:gd name="T9" fmla="*/ 23 h 23"/>
                <a:gd name="T10" fmla="*/ 11 w 24"/>
                <a:gd name="T11" fmla="*/ 23 h 23"/>
                <a:gd name="T12" fmla="*/ 7 w 24"/>
                <a:gd name="T13" fmla="*/ 23 h 23"/>
                <a:gd name="T14" fmla="*/ 4 w 24"/>
                <a:gd name="T15" fmla="*/ 21 h 23"/>
                <a:gd name="T16" fmla="*/ 2 w 24"/>
                <a:gd name="T17" fmla="*/ 17 h 23"/>
                <a:gd name="T18" fmla="*/ 0 w 24"/>
                <a:gd name="T19" fmla="*/ 12 h 23"/>
                <a:gd name="T20" fmla="*/ 0 w 24"/>
                <a:gd name="T21" fmla="*/ 12 h 23"/>
                <a:gd name="T22" fmla="*/ 2 w 24"/>
                <a:gd name="T23" fmla="*/ 6 h 23"/>
                <a:gd name="T24" fmla="*/ 4 w 24"/>
                <a:gd name="T25" fmla="*/ 2 h 23"/>
                <a:gd name="T26" fmla="*/ 7 w 24"/>
                <a:gd name="T27" fmla="*/ 0 h 23"/>
                <a:gd name="T28" fmla="*/ 11 w 24"/>
                <a:gd name="T29" fmla="*/ 0 h 23"/>
                <a:gd name="T30" fmla="*/ 17 w 24"/>
                <a:gd name="T31" fmla="*/ 0 h 23"/>
                <a:gd name="T32" fmla="*/ 21 w 24"/>
                <a:gd name="T33" fmla="*/ 2 h 23"/>
                <a:gd name="T34" fmla="*/ 22 w 24"/>
                <a:gd name="T35" fmla="*/ 6 h 23"/>
                <a:gd name="T36" fmla="*/ 24 w 24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2" y="6"/>
                  </a:lnTo>
                  <a:lnTo>
                    <a:pt x="24" y="12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440">
              <a:extLst>
                <a:ext uri="{FF2B5EF4-FFF2-40B4-BE49-F238E27FC236}">
                  <a16:creationId xmlns:a16="http://schemas.microsoft.com/office/drawing/2014/main" id="{E2EC9C7B-69E2-2DFE-922B-78D7395AE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" y="2618"/>
              <a:ext cx="24" cy="2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2 w 24"/>
                <a:gd name="T5" fmla="*/ 17 h 23"/>
                <a:gd name="T6" fmla="*/ 21 w 24"/>
                <a:gd name="T7" fmla="*/ 21 h 23"/>
                <a:gd name="T8" fmla="*/ 17 w 24"/>
                <a:gd name="T9" fmla="*/ 23 h 23"/>
                <a:gd name="T10" fmla="*/ 11 w 24"/>
                <a:gd name="T11" fmla="*/ 23 h 23"/>
                <a:gd name="T12" fmla="*/ 7 w 24"/>
                <a:gd name="T13" fmla="*/ 23 h 23"/>
                <a:gd name="T14" fmla="*/ 4 w 24"/>
                <a:gd name="T15" fmla="*/ 21 h 23"/>
                <a:gd name="T16" fmla="*/ 2 w 24"/>
                <a:gd name="T17" fmla="*/ 17 h 23"/>
                <a:gd name="T18" fmla="*/ 0 w 24"/>
                <a:gd name="T19" fmla="*/ 12 h 23"/>
                <a:gd name="T20" fmla="*/ 0 w 24"/>
                <a:gd name="T21" fmla="*/ 12 h 23"/>
                <a:gd name="T22" fmla="*/ 2 w 24"/>
                <a:gd name="T23" fmla="*/ 6 h 23"/>
                <a:gd name="T24" fmla="*/ 4 w 24"/>
                <a:gd name="T25" fmla="*/ 2 h 23"/>
                <a:gd name="T26" fmla="*/ 7 w 24"/>
                <a:gd name="T27" fmla="*/ 0 h 23"/>
                <a:gd name="T28" fmla="*/ 11 w 24"/>
                <a:gd name="T29" fmla="*/ 0 h 23"/>
                <a:gd name="T30" fmla="*/ 17 w 24"/>
                <a:gd name="T31" fmla="*/ 0 h 23"/>
                <a:gd name="T32" fmla="*/ 21 w 24"/>
                <a:gd name="T33" fmla="*/ 2 h 23"/>
                <a:gd name="T34" fmla="*/ 22 w 24"/>
                <a:gd name="T35" fmla="*/ 6 h 23"/>
                <a:gd name="T36" fmla="*/ 24 w 24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2" y="6"/>
                  </a:lnTo>
                  <a:lnTo>
                    <a:pt x="24" y="12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Freeform 441">
              <a:extLst>
                <a:ext uri="{FF2B5EF4-FFF2-40B4-BE49-F238E27FC236}">
                  <a16:creationId xmlns:a16="http://schemas.microsoft.com/office/drawing/2014/main" id="{C638F843-F145-5C93-3F70-D82B05311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0" y="261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2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2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2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Freeform 442">
              <a:extLst>
                <a:ext uri="{FF2B5EF4-FFF2-40B4-BE49-F238E27FC236}">
                  <a16:creationId xmlns:a16="http://schemas.microsoft.com/office/drawing/2014/main" id="{9F8FEF2B-D816-C6B9-ACEF-C8E1C3AB3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0" y="261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2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2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2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443">
              <a:extLst>
                <a:ext uri="{FF2B5EF4-FFF2-40B4-BE49-F238E27FC236}">
                  <a16:creationId xmlns:a16="http://schemas.microsoft.com/office/drawing/2014/main" id="{97688729-B9E7-008A-692C-B2A8E8E40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2" y="261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7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4 w 23"/>
                <a:gd name="T25" fmla="*/ 2 h 23"/>
                <a:gd name="T26" fmla="*/ 7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2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Freeform 444">
              <a:extLst>
                <a:ext uri="{FF2B5EF4-FFF2-40B4-BE49-F238E27FC236}">
                  <a16:creationId xmlns:a16="http://schemas.microsoft.com/office/drawing/2014/main" id="{9CFBDCB6-11B0-57AD-B78B-14CAA0DC7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2" y="261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7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4 w 23"/>
                <a:gd name="T25" fmla="*/ 2 h 23"/>
                <a:gd name="T26" fmla="*/ 7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2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Freeform 445">
              <a:extLst>
                <a:ext uri="{FF2B5EF4-FFF2-40B4-BE49-F238E27FC236}">
                  <a16:creationId xmlns:a16="http://schemas.microsoft.com/office/drawing/2014/main" id="{60908C8B-AEF0-9364-BBC5-7B0152E10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2" y="2385"/>
              <a:ext cx="24" cy="23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2 w 24"/>
                <a:gd name="T5" fmla="*/ 17 h 23"/>
                <a:gd name="T6" fmla="*/ 20 w 24"/>
                <a:gd name="T7" fmla="*/ 21 h 23"/>
                <a:gd name="T8" fmla="*/ 17 w 24"/>
                <a:gd name="T9" fmla="*/ 23 h 23"/>
                <a:gd name="T10" fmla="*/ 11 w 24"/>
                <a:gd name="T11" fmla="*/ 23 h 23"/>
                <a:gd name="T12" fmla="*/ 7 w 24"/>
                <a:gd name="T13" fmla="*/ 23 h 23"/>
                <a:gd name="T14" fmla="*/ 3 w 24"/>
                <a:gd name="T15" fmla="*/ 21 h 23"/>
                <a:gd name="T16" fmla="*/ 2 w 24"/>
                <a:gd name="T17" fmla="*/ 17 h 23"/>
                <a:gd name="T18" fmla="*/ 0 w 24"/>
                <a:gd name="T19" fmla="*/ 11 h 23"/>
                <a:gd name="T20" fmla="*/ 0 w 24"/>
                <a:gd name="T21" fmla="*/ 11 h 23"/>
                <a:gd name="T22" fmla="*/ 2 w 24"/>
                <a:gd name="T23" fmla="*/ 6 h 23"/>
                <a:gd name="T24" fmla="*/ 3 w 24"/>
                <a:gd name="T25" fmla="*/ 2 h 23"/>
                <a:gd name="T26" fmla="*/ 7 w 24"/>
                <a:gd name="T27" fmla="*/ 0 h 23"/>
                <a:gd name="T28" fmla="*/ 11 w 24"/>
                <a:gd name="T29" fmla="*/ 0 h 23"/>
                <a:gd name="T30" fmla="*/ 17 w 24"/>
                <a:gd name="T31" fmla="*/ 0 h 23"/>
                <a:gd name="T32" fmla="*/ 20 w 24"/>
                <a:gd name="T33" fmla="*/ 2 h 23"/>
                <a:gd name="T34" fmla="*/ 22 w 24"/>
                <a:gd name="T35" fmla="*/ 6 h 23"/>
                <a:gd name="T36" fmla="*/ 24 w 24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2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2" y="6"/>
                  </a:lnTo>
                  <a:lnTo>
                    <a:pt x="24" y="11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446">
              <a:extLst>
                <a:ext uri="{FF2B5EF4-FFF2-40B4-BE49-F238E27FC236}">
                  <a16:creationId xmlns:a16="http://schemas.microsoft.com/office/drawing/2014/main" id="{A42A36F4-7636-A069-429A-8F5643D8A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2" y="2385"/>
              <a:ext cx="24" cy="23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2 w 24"/>
                <a:gd name="T5" fmla="*/ 17 h 23"/>
                <a:gd name="T6" fmla="*/ 20 w 24"/>
                <a:gd name="T7" fmla="*/ 21 h 23"/>
                <a:gd name="T8" fmla="*/ 17 w 24"/>
                <a:gd name="T9" fmla="*/ 23 h 23"/>
                <a:gd name="T10" fmla="*/ 11 w 24"/>
                <a:gd name="T11" fmla="*/ 23 h 23"/>
                <a:gd name="T12" fmla="*/ 7 w 24"/>
                <a:gd name="T13" fmla="*/ 23 h 23"/>
                <a:gd name="T14" fmla="*/ 3 w 24"/>
                <a:gd name="T15" fmla="*/ 21 h 23"/>
                <a:gd name="T16" fmla="*/ 2 w 24"/>
                <a:gd name="T17" fmla="*/ 17 h 23"/>
                <a:gd name="T18" fmla="*/ 0 w 24"/>
                <a:gd name="T19" fmla="*/ 11 h 23"/>
                <a:gd name="T20" fmla="*/ 0 w 24"/>
                <a:gd name="T21" fmla="*/ 11 h 23"/>
                <a:gd name="T22" fmla="*/ 2 w 24"/>
                <a:gd name="T23" fmla="*/ 6 h 23"/>
                <a:gd name="T24" fmla="*/ 3 w 24"/>
                <a:gd name="T25" fmla="*/ 2 h 23"/>
                <a:gd name="T26" fmla="*/ 7 w 24"/>
                <a:gd name="T27" fmla="*/ 0 h 23"/>
                <a:gd name="T28" fmla="*/ 11 w 24"/>
                <a:gd name="T29" fmla="*/ 0 h 23"/>
                <a:gd name="T30" fmla="*/ 17 w 24"/>
                <a:gd name="T31" fmla="*/ 0 h 23"/>
                <a:gd name="T32" fmla="*/ 20 w 24"/>
                <a:gd name="T33" fmla="*/ 2 h 23"/>
                <a:gd name="T34" fmla="*/ 22 w 24"/>
                <a:gd name="T35" fmla="*/ 6 h 23"/>
                <a:gd name="T36" fmla="*/ 24 w 24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2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2" y="6"/>
                  </a:lnTo>
                  <a:lnTo>
                    <a:pt x="24" y="11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4" name="Freeform 447">
              <a:extLst>
                <a:ext uri="{FF2B5EF4-FFF2-40B4-BE49-F238E27FC236}">
                  <a16:creationId xmlns:a16="http://schemas.microsoft.com/office/drawing/2014/main" id="{6D588CD8-5D70-93B3-1D42-0A997C4D2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3" y="2355"/>
              <a:ext cx="23" cy="25"/>
            </a:xfrm>
            <a:custGeom>
              <a:avLst/>
              <a:gdLst>
                <a:gd name="T0" fmla="*/ 23 w 23"/>
                <a:gd name="T1" fmla="*/ 11 h 25"/>
                <a:gd name="T2" fmla="*/ 23 w 23"/>
                <a:gd name="T3" fmla="*/ 11 h 25"/>
                <a:gd name="T4" fmla="*/ 23 w 23"/>
                <a:gd name="T5" fmla="*/ 17 h 25"/>
                <a:gd name="T6" fmla="*/ 19 w 23"/>
                <a:gd name="T7" fmla="*/ 21 h 25"/>
                <a:gd name="T8" fmla="*/ 15 w 23"/>
                <a:gd name="T9" fmla="*/ 23 h 25"/>
                <a:gd name="T10" fmla="*/ 11 w 23"/>
                <a:gd name="T11" fmla="*/ 25 h 25"/>
                <a:gd name="T12" fmla="*/ 8 w 23"/>
                <a:gd name="T13" fmla="*/ 23 h 25"/>
                <a:gd name="T14" fmla="*/ 4 w 23"/>
                <a:gd name="T15" fmla="*/ 21 h 25"/>
                <a:gd name="T16" fmla="*/ 0 w 23"/>
                <a:gd name="T17" fmla="*/ 17 h 25"/>
                <a:gd name="T18" fmla="*/ 0 w 23"/>
                <a:gd name="T19" fmla="*/ 11 h 25"/>
                <a:gd name="T20" fmla="*/ 0 w 23"/>
                <a:gd name="T21" fmla="*/ 11 h 25"/>
                <a:gd name="T22" fmla="*/ 0 w 23"/>
                <a:gd name="T23" fmla="*/ 8 h 25"/>
                <a:gd name="T24" fmla="*/ 4 w 23"/>
                <a:gd name="T25" fmla="*/ 4 h 25"/>
                <a:gd name="T26" fmla="*/ 8 w 23"/>
                <a:gd name="T27" fmla="*/ 0 h 25"/>
                <a:gd name="T28" fmla="*/ 11 w 23"/>
                <a:gd name="T29" fmla="*/ 0 h 25"/>
                <a:gd name="T30" fmla="*/ 15 w 23"/>
                <a:gd name="T31" fmla="*/ 0 h 25"/>
                <a:gd name="T32" fmla="*/ 19 w 23"/>
                <a:gd name="T33" fmla="*/ 4 h 25"/>
                <a:gd name="T34" fmla="*/ 23 w 23"/>
                <a:gd name="T35" fmla="*/ 8 h 25"/>
                <a:gd name="T36" fmla="*/ 23 w 23"/>
                <a:gd name="T37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5">
                  <a:moveTo>
                    <a:pt x="23" y="11"/>
                  </a:moveTo>
                  <a:lnTo>
                    <a:pt x="23" y="11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5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1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448">
              <a:extLst>
                <a:ext uri="{FF2B5EF4-FFF2-40B4-BE49-F238E27FC236}">
                  <a16:creationId xmlns:a16="http://schemas.microsoft.com/office/drawing/2014/main" id="{98F2FCFF-20E4-02E4-A93F-F8210C195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3" y="2355"/>
              <a:ext cx="23" cy="25"/>
            </a:xfrm>
            <a:custGeom>
              <a:avLst/>
              <a:gdLst>
                <a:gd name="T0" fmla="*/ 23 w 23"/>
                <a:gd name="T1" fmla="*/ 11 h 25"/>
                <a:gd name="T2" fmla="*/ 23 w 23"/>
                <a:gd name="T3" fmla="*/ 11 h 25"/>
                <a:gd name="T4" fmla="*/ 23 w 23"/>
                <a:gd name="T5" fmla="*/ 17 h 25"/>
                <a:gd name="T6" fmla="*/ 19 w 23"/>
                <a:gd name="T7" fmla="*/ 21 h 25"/>
                <a:gd name="T8" fmla="*/ 15 w 23"/>
                <a:gd name="T9" fmla="*/ 23 h 25"/>
                <a:gd name="T10" fmla="*/ 11 w 23"/>
                <a:gd name="T11" fmla="*/ 25 h 25"/>
                <a:gd name="T12" fmla="*/ 8 w 23"/>
                <a:gd name="T13" fmla="*/ 23 h 25"/>
                <a:gd name="T14" fmla="*/ 4 w 23"/>
                <a:gd name="T15" fmla="*/ 21 h 25"/>
                <a:gd name="T16" fmla="*/ 0 w 23"/>
                <a:gd name="T17" fmla="*/ 17 h 25"/>
                <a:gd name="T18" fmla="*/ 0 w 23"/>
                <a:gd name="T19" fmla="*/ 11 h 25"/>
                <a:gd name="T20" fmla="*/ 0 w 23"/>
                <a:gd name="T21" fmla="*/ 11 h 25"/>
                <a:gd name="T22" fmla="*/ 0 w 23"/>
                <a:gd name="T23" fmla="*/ 8 h 25"/>
                <a:gd name="T24" fmla="*/ 4 w 23"/>
                <a:gd name="T25" fmla="*/ 4 h 25"/>
                <a:gd name="T26" fmla="*/ 8 w 23"/>
                <a:gd name="T27" fmla="*/ 0 h 25"/>
                <a:gd name="T28" fmla="*/ 11 w 23"/>
                <a:gd name="T29" fmla="*/ 0 h 25"/>
                <a:gd name="T30" fmla="*/ 15 w 23"/>
                <a:gd name="T31" fmla="*/ 0 h 25"/>
                <a:gd name="T32" fmla="*/ 19 w 23"/>
                <a:gd name="T33" fmla="*/ 4 h 25"/>
                <a:gd name="T34" fmla="*/ 23 w 23"/>
                <a:gd name="T35" fmla="*/ 8 h 25"/>
                <a:gd name="T36" fmla="*/ 23 w 23"/>
                <a:gd name="T37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5">
                  <a:moveTo>
                    <a:pt x="23" y="11"/>
                  </a:moveTo>
                  <a:lnTo>
                    <a:pt x="23" y="11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5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1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Freeform 449">
              <a:extLst>
                <a:ext uri="{FF2B5EF4-FFF2-40B4-BE49-F238E27FC236}">
                  <a16:creationId xmlns:a16="http://schemas.microsoft.com/office/drawing/2014/main" id="{0390F6D8-C688-1663-84A7-FCB538EA0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5" y="2372"/>
              <a:ext cx="22" cy="23"/>
            </a:xfrm>
            <a:custGeom>
              <a:avLst/>
              <a:gdLst>
                <a:gd name="T0" fmla="*/ 22 w 22"/>
                <a:gd name="T1" fmla="*/ 11 h 23"/>
                <a:gd name="T2" fmla="*/ 22 w 22"/>
                <a:gd name="T3" fmla="*/ 11 h 23"/>
                <a:gd name="T4" fmla="*/ 22 w 22"/>
                <a:gd name="T5" fmla="*/ 17 h 23"/>
                <a:gd name="T6" fmla="*/ 19 w 22"/>
                <a:gd name="T7" fmla="*/ 21 h 23"/>
                <a:gd name="T8" fmla="*/ 15 w 22"/>
                <a:gd name="T9" fmla="*/ 23 h 23"/>
                <a:gd name="T10" fmla="*/ 11 w 22"/>
                <a:gd name="T11" fmla="*/ 23 h 23"/>
                <a:gd name="T12" fmla="*/ 7 w 22"/>
                <a:gd name="T13" fmla="*/ 23 h 23"/>
                <a:gd name="T14" fmla="*/ 4 w 22"/>
                <a:gd name="T15" fmla="*/ 21 h 23"/>
                <a:gd name="T16" fmla="*/ 0 w 22"/>
                <a:gd name="T17" fmla="*/ 17 h 23"/>
                <a:gd name="T18" fmla="*/ 0 w 22"/>
                <a:gd name="T19" fmla="*/ 11 h 23"/>
                <a:gd name="T20" fmla="*/ 0 w 22"/>
                <a:gd name="T21" fmla="*/ 11 h 23"/>
                <a:gd name="T22" fmla="*/ 0 w 22"/>
                <a:gd name="T23" fmla="*/ 8 h 23"/>
                <a:gd name="T24" fmla="*/ 4 w 22"/>
                <a:gd name="T25" fmla="*/ 4 h 23"/>
                <a:gd name="T26" fmla="*/ 7 w 22"/>
                <a:gd name="T27" fmla="*/ 0 h 23"/>
                <a:gd name="T28" fmla="*/ 11 w 22"/>
                <a:gd name="T29" fmla="*/ 0 h 23"/>
                <a:gd name="T30" fmla="*/ 15 w 22"/>
                <a:gd name="T31" fmla="*/ 0 h 23"/>
                <a:gd name="T32" fmla="*/ 19 w 22"/>
                <a:gd name="T33" fmla="*/ 4 h 23"/>
                <a:gd name="T34" fmla="*/ 22 w 22"/>
                <a:gd name="T35" fmla="*/ 8 h 23"/>
                <a:gd name="T36" fmla="*/ 22 w 22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3">
                  <a:moveTo>
                    <a:pt x="22" y="11"/>
                  </a:moveTo>
                  <a:lnTo>
                    <a:pt x="22" y="11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4"/>
                  </a:lnTo>
                  <a:lnTo>
                    <a:pt x="22" y="8"/>
                  </a:lnTo>
                  <a:lnTo>
                    <a:pt x="22" y="11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Freeform 450">
              <a:extLst>
                <a:ext uri="{FF2B5EF4-FFF2-40B4-BE49-F238E27FC236}">
                  <a16:creationId xmlns:a16="http://schemas.microsoft.com/office/drawing/2014/main" id="{4CCD6D7E-3279-1598-2DFC-5EEB9B591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5" y="2372"/>
              <a:ext cx="22" cy="23"/>
            </a:xfrm>
            <a:custGeom>
              <a:avLst/>
              <a:gdLst>
                <a:gd name="T0" fmla="*/ 22 w 22"/>
                <a:gd name="T1" fmla="*/ 11 h 23"/>
                <a:gd name="T2" fmla="*/ 22 w 22"/>
                <a:gd name="T3" fmla="*/ 11 h 23"/>
                <a:gd name="T4" fmla="*/ 22 w 22"/>
                <a:gd name="T5" fmla="*/ 17 h 23"/>
                <a:gd name="T6" fmla="*/ 19 w 22"/>
                <a:gd name="T7" fmla="*/ 21 h 23"/>
                <a:gd name="T8" fmla="*/ 15 w 22"/>
                <a:gd name="T9" fmla="*/ 23 h 23"/>
                <a:gd name="T10" fmla="*/ 11 w 22"/>
                <a:gd name="T11" fmla="*/ 23 h 23"/>
                <a:gd name="T12" fmla="*/ 7 w 22"/>
                <a:gd name="T13" fmla="*/ 23 h 23"/>
                <a:gd name="T14" fmla="*/ 4 w 22"/>
                <a:gd name="T15" fmla="*/ 21 h 23"/>
                <a:gd name="T16" fmla="*/ 0 w 22"/>
                <a:gd name="T17" fmla="*/ 17 h 23"/>
                <a:gd name="T18" fmla="*/ 0 w 22"/>
                <a:gd name="T19" fmla="*/ 11 h 23"/>
                <a:gd name="T20" fmla="*/ 0 w 22"/>
                <a:gd name="T21" fmla="*/ 11 h 23"/>
                <a:gd name="T22" fmla="*/ 0 w 22"/>
                <a:gd name="T23" fmla="*/ 8 h 23"/>
                <a:gd name="T24" fmla="*/ 4 w 22"/>
                <a:gd name="T25" fmla="*/ 4 h 23"/>
                <a:gd name="T26" fmla="*/ 7 w 22"/>
                <a:gd name="T27" fmla="*/ 0 h 23"/>
                <a:gd name="T28" fmla="*/ 11 w 22"/>
                <a:gd name="T29" fmla="*/ 0 h 23"/>
                <a:gd name="T30" fmla="*/ 15 w 22"/>
                <a:gd name="T31" fmla="*/ 0 h 23"/>
                <a:gd name="T32" fmla="*/ 19 w 22"/>
                <a:gd name="T33" fmla="*/ 4 h 23"/>
                <a:gd name="T34" fmla="*/ 22 w 22"/>
                <a:gd name="T35" fmla="*/ 8 h 23"/>
                <a:gd name="T36" fmla="*/ 22 w 22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3">
                  <a:moveTo>
                    <a:pt x="22" y="11"/>
                  </a:moveTo>
                  <a:lnTo>
                    <a:pt x="22" y="11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4"/>
                  </a:lnTo>
                  <a:lnTo>
                    <a:pt x="22" y="8"/>
                  </a:lnTo>
                  <a:lnTo>
                    <a:pt x="22" y="11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451">
              <a:extLst>
                <a:ext uri="{FF2B5EF4-FFF2-40B4-BE49-F238E27FC236}">
                  <a16:creationId xmlns:a16="http://schemas.microsoft.com/office/drawing/2014/main" id="{8A0F5B30-3264-FFAD-12C7-51822A0BC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4" y="2618"/>
              <a:ext cx="25" cy="2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7 h 23"/>
                <a:gd name="T6" fmla="*/ 21 w 25"/>
                <a:gd name="T7" fmla="*/ 21 h 23"/>
                <a:gd name="T8" fmla="*/ 17 w 25"/>
                <a:gd name="T9" fmla="*/ 23 h 23"/>
                <a:gd name="T10" fmla="*/ 14 w 25"/>
                <a:gd name="T11" fmla="*/ 23 h 23"/>
                <a:gd name="T12" fmla="*/ 8 w 25"/>
                <a:gd name="T13" fmla="*/ 23 h 23"/>
                <a:gd name="T14" fmla="*/ 4 w 25"/>
                <a:gd name="T15" fmla="*/ 21 h 23"/>
                <a:gd name="T16" fmla="*/ 2 w 25"/>
                <a:gd name="T17" fmla="*/ 17 h 23"/>
                <a:gd name="T18" fmla="*/ 0 w 25"/>
                <a:gd name="T19" fmla="*/ 12 h 23"/>
                <a:gd name="T20" fmla="*/ 0 w 25"/>
                <a:gd name="T21" fmla="*/ 12 h 23"/>
                <a:gd name="T22" fmla="*/ 2 w 25"/>
                <a:gd name="T23" fmla="*/ 6 h 23"/>
                <a:gd name="T24" fmla="*/ 4 w 25"/>
                <a:gd name="T25" fmla="*/ 2 h 23"/>
                <a:gd name="T26" fmla="*/ 8 w 25"/>
                <a:gd name="T27" fmla="*/ 0 h 23"/>
                <a:gd name="T28" fmla="*/ 14 w 25"/>
                <a:gd name="T29" fmla="*/ 0 h 23"/>
                <a:gd name="T30" fmla="*/ 17 w 25"/>
                <a:gd name="T31" fmla="*/ 0 h 23"/>
                <a:gd name="T32" fmla="*/ 21 w 25"/>
                <a:gd name="T33" fmla="*/ 2 h 23"/>
                <a:gd name="T34" fmla="*/ 23 w 25"/>
                <a:gd name="T35" fmla="*/ 6 h 23"/>
                <a:gd name="T36" fmla="*/ 25 w 25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4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5" y="12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Freeform 452">
              <a:extLst>
                <a:ext uri="{FF2B5EF4-FFF2-40B4-BE49-F238E27FC236}">
                  <a16:creationId xmlns:a16="http://schemas.microsoft.com/office/drawing/2014/main" id="{6B925D75-8DAA-5840-44C1-4038B3BBD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4" y="2618"/>
              <a:ext cx="25" cy="2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7 h 23"/>
                <a:gd name="T6" fmla="*/ 21 w 25"/>
                <a:gd name="T7" fmla="*/ 21 h 23"/>
                <a:gd name="T8" fmla="*/ 17 w 25"/>
                <a:gd name="T9" fmla="*/ 23 h 23"/>
                <a:gd name="T10" fmla="*/ 14 w 25"/>
                <a:gd name="T11" fmla="*/ 23 h 23"/>
                <a:gd name="T12" fmla="*/ 8 w 25"/>
                <a:gd name="T13" fmla="*/ 23 h 23"/>
                <a:gd name="T14" fmla="*/ 4 w 25"/>
                <a:gd name="T15" fmla="*/ 21 h 23"/>
                <a:gd name="T16" fmla="*/ 2 w 25"/>
                <a:gd name="T17" fmla="*/ 17 h 23"/>
                <a:gd name="T18" fmla="*/ 0 w 25"/>
                <a:gd name="T19" fmla="*/ 12 h 23"/>
                <a:gd name="T20" fmla="*/ 0 w 25"/>
                <a:gd name="T21" fmla="*/ 12 h 23"/>
                <a:gd name="T22" fmla="*/ 2 w 25"/>
                <a:gd name="T23" fmla="*/ 6 h 23"/>
                <a:gd name="T24" fmla="*/ 4 w 25"/>
                <a:gd name="T25" fmla="*/ 2 h 23"/>
                <a:gd name="T26" fmla="*/ 8 w 25"/>
                <a:gd name="T27" fmla="*/ 0 h 23"/>
                <a:gd name="T28" fmla="*/ 14 w 25"/>
                <a:gd name="T29" fmla="*/ 0 h 23"/>
                <a:gd name="T30" fmla="*/ 17 w 25"/>
                <a:gd name="T31" fmla="*/ 0 h 23"/>
                <a:gd name="T32" fmla="*/ 21 w 25"/>
                <a:gd name="T33" fmla="*/ 2 h 23"/>
                <a:gd name="T34" fmla="*/ 23 w 25"/>
                <a:gd name="T35" fmla="*/ 6 h 23"/>
                <a:gd name="T36" fmla="*/ 25 w 25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4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5" y="12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Freeform 453">
              <a:extLst>
                <a:ext uri="{FF2B5EF4-FFF2-40B4-BE49-F238E27FC236}">
                  <a16:creationId xmlns:a16="http://schemas.microsoft.com/office/drawing/2014/main" id="{F4CC79D6-B28F-1EE7-7934-3D37E1D550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6" y="261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2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2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2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Freeform 454">
              <a:extLst>
                <a:ext uri="{FF2B5EF4-FFF2-40B4-BE49-F238E27FC236}">
                  <a16:creationId xmlns:a16="http://schemas.microsoft.com/office/drawing/2014/main" id="{0196D4AA-8DB4-0727-830A-3E9D92DDD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6" y="261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2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2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2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Freeform 455">
              <a:extLst>
                <a:ext uri="{FF2B5EF4-FFF2-40B4-BE49-F238E27FC236}">
                  <a16:creationId xmlns:a16="http://schemas.microsoft.com/office/drawing/2014/main" id="{A03D288C-BF59-4F81-C2F4-0A7D05AE7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8" y="2434"/>
              <a:ext cx="22" cy="23"/>
            </a:xfrm>
            <a:custGeom>
              <a:avLst/>
              <a:gdLst>
                <a:gd name="T0" fmla="*/ 22 w 22"/>
                <a:gd name="T1" fmla="*/ 11 h 23"/>
                <a:gd name="T2" fmla="*/ 22 w 22"/>
                <a:gd name="T3" fmla="*/ 11 h 23"/>
                <a:gd name="T4" fmla="*/ 22 w 22"/>
                <a:gd name="T5" fmla="*/ 17 h 23"/>
                <a:gd name="T6" fmla="*/ 18 w 22"/>
                <a:gd name="T7" fmla="*/ 21 h 23"/>
                <a:gd name="T8" fmla="*/ 15 w 22"/>
                <a:gd name="T9" fmla="*/ 23 h 23"/>
                <a:gd name="T10" fmla="*/ 11 w 22"/>
                <a:gd name="T11" fmla="*/ 23 h 23"/>
                <a:gd name="T12" fmla="*/ 7 w 22"/>
                <a:gd name="T13" fmla="*/ 23 h 23"/>
                <a:gd name="T14" fmla="*/ 3 w 22"/>
                <a:gd name="T15" fmla="*/ 21 h 23"/>
                <a:gd name="T16" fmla="*/ 0 w 22"/>
                <a:gd name="T17" fmla="*/ 17 h 23"/>
                <a:gd name="T18" fmla="*/ 0 w 22"/>
                <a:gd name="T19" fmla="*/ 11 h 23"/>
                <a:gd name="T20" fmla="*/ 0 w 22"/>
                <a:gd name="T21" fmla="*/ 11 h 23"/>
                <a:gd name="T22" fmla="*/ 0 w 22"/>
                <a:gd name="T23" fmla="*/ 6 h 23"/>
                <a:gd name="T24" fmla="*/ 3 w 22"/>
                <a:gd name="T25" fmla="*/ 2 h 23"/>
                <a:gd name="T26" fmla="*/ 7 w 22"/>
                <a:gd name="T27" fmla="*/ 0 h 23"/>
                <a:gd name="T28" fmla="*/ 11 w 22"/>
                <a:gd name="T29" fmla="*/ 0 h 23"/>
                <a:gd name="T30" fmla="*/ 15 w 22"/>
                <a:gd name="T31" fmla="*/ 0 h 23"/>
                <a:gd name="T32" fmla="*/ 18 w 22"/>
                <a:gd name="T33" fmla="*/ 2 h 23"/>
                <a:gd name="T34" fmla="*/ 22 w 22"/>
                <a:gd name="T35" fmla="*/ 6 h 23"/>
                <a:gd name="T36" fmla="*/ 22 w 22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3">
                  <a:moveTo>
                    <a:pt x="22" y="11"/>
                  </a:moveTo>
                  <a:lnTo>
                    <a:pt x="22" y="11"/>
                  </a:lnTo>
                  <a:lnTo>
                    <a:pt x="22" y="17"/>
                  </a:lnTo>
                  <a:lnTo>
                    <a:pt x="18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8" y="2"/>
                  </a:lnTo>
                  <a:lnTo>
                    <a:pt x="22" y="6"/>
                  </a:lnTo>
                  <a:lnTo>
                    <a:pt x="22" y="11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456">
              <a:extLst>
                <a:ext uri="{FF2B5EF4-FFF2-40B4-BE49-F238E27FC236}">
                  <a16:creationId xmlns:a16="http://schemas.microsoft.com/office/drawing/2014/main" id="{26C90B9D-6352-6C40-3770-E0B0494E9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8" y="2434"/>
              <a:ext cx="22" cy="23"/>
            </a:xfrm>
            <a:custGeom>
              <a:avLst/>
              <a:gdLst>
                <a:gd name="T0" fmla="*/ 22 w 22"/>
                <a:gd name="T1" fmla="*/ 11 h 23"/>
                <a:gd name="T2" fmla="*/ 22 w 22"/>
                <a:gd name="T3" fmla="*/ 11 h 23"/>
                <a:gd name="T4" fmla="*/ 22 w 22"/>
                <a:gd name="T5" fmla="*/ 17 h 23"/>
                <a:gd name="T6" fmla="*/ 18 w 22"/>
                <a:gd name="T7" fmla="*/ 21 h 23"/>
                <a:gd name="T8" fmla="*/ 15 w 22"/>
                <a:gd name="T9" fmla="*/ 23 h 23"/>
                <a:gd name="T10" fmla="*/ 11 w 22"/>
                <a:gd name="T11" fmla="*/ 23 h 23"/>
                <a:gd name="T12" fmla="*/ 7 w 22"/>
                <a:gd name="T13" fmla="*/ 23 h 23"/>
                <a:gd name="T14" fmla="*/ 3 w 22"/>
                <a:gd name="T15" fmla="*/ 21 h 23"/>
                <a:gd name="T16" fmla="*/ 0 w 22"/>
                <a:gd name="T17" fmla="*/ 17 h 23"/>
                <a:gd name="T18" fmla="*/ 0 w 22"/>
                <a:gd name="T19" fmla="*/ 11 h 23"/>
                <a:gd name="T20" fmla="*/ 0 w 22"/>
                <a:gd name="T21" fmla="*/ 11 h 23"/>
                <a:gd name="T22" fmla="*/ 0 w 22"/>
                <a:gd name="T23" fmla="*/ 6 h 23"/>
                <a:gd name="T24" fmla="*/ 3 w 22"/>
                <a:gd name="T25" fmla="*/ 2 h 23"/>
                <a:gd name="T26" fmla="*/ 7 w 22"/>
                <a:gd name="T27" fmla="*/ 0 h 23"/>
                <a:gd name="T28" fmla="*/ 11 w 22"/>
                <a:gd name="T29" fmla="*/ 0 h 23"/>
                <a:gd name="T30" fmla="*/ 15 w 22"/>
                <a:gd name="T31" fmla="*/ 0 h 23"/>
                <a:gd name="T32" fmla="*/ 18 w 22"/>
                <a:gd name="T33" fmla="*/ 2 h 23"/>
                <a:gd name="T34" fmla="*/ 22 w 22"/>
                <a:gd name="T35" fmla="*/ 6 h 23"/>
                <a:gd name="T36" fmla="*/ 22 w 22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3">
                  <a:moveTo>
                    <a:pt x="22" y="11"/>
                  </a:moveTo>
                  <a:lnTo>
                    <a:pt x="22" y="11"/>
                  </a:lnTo>
                  <a:lnTo>
                    <a:pt x="22" y="17"/>
                  </a:lnTo>
                  <a:lnTo>
                    <a:pt x="18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8" y="2"/>
                  </a:lnTo>
                  <a:lnTo>
                    <a:pt x="22" y="6"/>
                  </a:lnTo>
                  <a:lnTo>
                    <a:pt x="22" y="11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Freeform 457">
              <a:extLst>
                <a:ext uri="{FF2B5EF4-FFF2-40B4-BE49-F238E27FC236}">
                  <a16:creationId xmlns:a16="http://schemas.microsoft.com/office/drawing/2014/main" id="{B7C7226D-A45C-AA61-327C-CC8F43B8B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7" y="2428"/>
              <a:ext cx="25" cy="25"/>
            </a:xfrm>
            <a:custGeom>
              <a:avLst/>
              <a:gdLst>
                <a:gd name="T0" fmla="*/ 25 w 25"/>
                <a:gd name="T1" fmla="*/ 14 h 25"/>
                <a:gd name="T2" fmla="*/ 25 w 25"/>
                <a:gd name="T3" fmla="*/ 14 h 25"/>
                <a:gd name="T4" fmla="*/ 23 w 25"/>
                <a:gd name="T5" fmla="*/ 17 h 25"/>
                <a:gd name="T6" fmla="*/ 21 w 25"/>
                <a:gd name="T7" fmla="*/ 21 h 25"/>
                <a:gd name="T8" fmla="*/ 17 w 25"/>
                <a:gd name="T9" fmla="*/ 25 h 25"/>
                <a:gd name="T10" fmla="*/ 13 w 25"/>
                <a:gd name="T11" fmla="*/ 25 h 25"/>
                <a:gd name="T12" fmla="*/ 8 w 25"/>
                <a:gd name="T13" fmla="*/ 25 h 25"/>
                <a:gd name="T14" fmla="*/ 4 w 25"/>
                <a:gd name="T15" fmla="*/ 21 h 25"/>
                <a:gd name="T16" fmla="*/ 2 w 25"/>
                <a:gd name="T17" fmla="*/ 17 h 25"/>
                <a:gd name="T18" fmla="*/ 0 w 25"/>
                <a:gd name="T19" fmla="*/ 14 h 25"/>
                <a:gd name="T20" fmla="*/ 0 w 25"/>
                <a:gd name="T21" fmla="*/ 14 h 25"/>
                <a:gd name="T22" fmla="*/ 2 w 25"/>
                <a:gd name="T23" fmla="*/ 8 h 25"/>
                <a:gd name="T24" fmla="*/ 4 w 25"/>
                <a:gd name="T25" fmla="*/ 4 h 25"/>
                <a:gd name="T26" fmla="*/ 8 w 25"/>
                <a:gd name="T27" fmla="*/ 2 h 25"/>
                <a:gd name="T28" fmla="*/ 13 w 25"/>
                <a:gd name="T29" fmla="*/ 0 h 25"/>
                <a:gd name="T30" fmla="*/ 17 w 25"/>
                <a:gd name="T31" fmla="*/ 2 h 25"/>
                <a:gd name="T32" fmla="*/ 21 w 25"/>
                <a:gd name="T33" fmla="*/ 4 h 25"/>
                <a:gd name="T34" fmla="*/ 23 w 25"/>
                <a:gd name="T35" fmla="*/ 8 h 25"/>
                <a:gd name="T36" fmla="*/ 25 w 25"/>
                <a:gd name="T37" fmla="*/ 1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5">
                  <a:moveTo>
                    <a:pt x="25" y="14"/>
                  </a:moveTo>
                  <a:lnTo>
                    <a:pt x="25" y="14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5"/>
                  </a:lnTo>
                  <a:lnTo>
                    <a:pt x="13" y="25"/>
                  </a:lnTo>
                  <a:lnTo>
                    <a:pt x="8" y="25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5" y="14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Freeform 458">
              <a:extLst>
                <a:ext uri="{FF2B5EF4-FFF2-40B4-BE49-F238E27FC236}">
                  <a16:creationId xmlns:a16="http://schemas.microsoft.com/office/drawing/2014/main" id="{1CC09950-01B4-4A66-0BDF-AD50A2F1C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7" y="2428"/>
              <a:ext cx="25" cy="25"/>
            </a:xfrm>
            <a:custGeom>
              <a:avLst/>
              <a:gdLst>
                <a:gd name="T0" fmla="*/ 25 w 25"/>
                <a:gd name="T1" fmla="*/ 14 h 25"/>
                <a:gd name="T2" fmla="*/ 25 w 25"/>
                <a:gd name="T3" fmla="*/ 14 h 25"/>
                <a:gd name="T4" fmla="*/ 23 w 25"/>
                <a:gd name="T5" fmla="*/ 17 h 25"/>
                <a:gd name="T6" fmla="*/ 21 w 25"/>
                <a:gd name="T7" fmla="*/ 21 h 25"/>
                <a:gd name="T8" fmla="*/ 17 w 25"/>
                <a:gd name="T9" fmla="*/ 25 h 25"/>
                <a:gd name="T10" fmla="*/ 13 w 25"/>
                <a:gd name="T11" fmla="*/ 25 h 25"/>
                <a:gd name="T12" fmla="*/ 8 w 25"/>
                <a:gd name="T13" fmla="*/ 25 h 25"/>
                <a:gd name="T14" fmla="*/ 4 w 25"/>
                <a:gd name="T15" fmla="*/ 21 h 25"/>
                <a:gd name="T16" fmla="*/ 2 w 25"/>
                <a:gd name="T17" fmla="*/ 17 h 25"/>
                <a:gd name="T18" fmla="*/ 0 w 25"/>
                <a:gd name="T19" fmla="*/ 14 h 25"/>
                <a:gd name="T20" fmla="*/ 0 w 25"/>
                <a:gd name="T21" fmla="*/ 14 h 25"/>
                <a:gd name="T22" fmla="*/ 2 w 25"/>
                <a:gd name="T23" fmla="*/ 8 h 25"/>
                <a:gd name="T24" fmla="*/ 4 w 25"/>
                <a:gd name="T25" fmla="*/ 4 h 25"/>
                <a:gd name="T26" fmla="*/ 8 w 25"/>
                <a:gd name="T27" fmla="*/ 2 h 25"/>
                <a:gd name="T28" fmla="*/ 13 w 25"/>
                <a:gd name="T29" fmla="*/ 0 h 25"/>
                <a:gd name="T30" fmla="*/ 17 w 25"/>
                <a:gd name="T31" fmla="*/ 2 h 25"/>
                <a:gd name="T32" fmla="*/ 21 w 25"/>
                <a:gd name="T33" fmla="*/ 4 h 25"/>
                <a:gd name="T34" fmla="*/ 23 w 25"/>
                <a:gd name="T35" fmla="*/ 8 h 25"/>
                <a:gd name="T36" fmla="*/ 25 w 25"/>
                <a:gd name="T37" fmla="*/ 1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5">
                  <a:moveTo>
                    <a:pt x="25" y="14"/>
                  </a:moveTo>
                  <a:lnTo>
                    <a:pt x="25" y="14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5"/>
                  </a:lnTo>
                  <a:lnTo>
                    <a:pt x="13" y="25"/>
                  </a:lnTo>
                  <a:lnTo>
                    <a:pt x="8" y="25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5" y="14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Freeform 459">
              <a:extLst>
                <a:ext uri="{FF2B5EF4-FFF2-40B4-BE49-F238E27FC236}">
                  <a16:creationId xmlns:a16="http://schemas.microsoft.com/office/drawing/2014/main" id="{38817C81-D6F6-E418-2540-BFE11EE2B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8" y="2393"/>
              <a:ext cx="24" cy="22"/>
            </a:xfrm>
            <a:custGeom>
              <a:avLst/>
              <a:gdLst>
                <a:gd name="T0" fmla="*/ 24 w 24"/>
                <a:gd name="T1" fmla="*/ 11 h 22"/>
                <a:gd name="T2" fmla="*/ 24 w 24"/>
                <a:gd name="T3" fmla="*/ 11 h 22"/>
                <a:gd name="T4" fmla="*/ 23 w 24"/>
                <a:gd name="T5" fmla="*/ 17 h 22"/>
                <a:gd name="T6" fmla="*/ 21 w 24"/>
                <a:gd name="T7" fmla="*/ 20 h 22"/>
                <a:gd name="T8" fmla="*/ 17 w 24"/>
                <a:gd name="T9" fmla="*/ 22 h 22"/>
                <a:gd name="T10" fmla="*/ 11 w 24"/>
                <a:gd name="T11" fmla="*/ 22 h 22"/>
                <a:gd name="T12" fmla="*/ 8 w 24"/>
                <a:gd name="T13" fmla="*/ 22 h 22"/>
                <a:gd name="T14" fmla="*/ 4 w 24"/>
                <a:gd name="T15" fmla="*/ 20 h 22"/>
                <a:gd name="T16" fmla="*/ 2 w 24"/>
                <a:gd name="T17" fmla="*/ 17 h 22"/>
                <a:gd name="T18" fmla="*/ 0 w 24"/>
                <a:gd name="T19" fmla="*/ 11 h 22"/>
                <a:gd name="T20" fmla="*/ 0 w 24"/>
                <a:gd name="T21" fmla="*/ 11 h 22"/>
                <a:gd name="T22" fmla="*/ 2 w 24"/>
                <a:gd name="T23" fmla="*/ 5 h 22"/>
                <a:gd name="T24" fmla="*/ 4 w 24"/>
                <a:gd name="T25" fmla="*/ 2 h 22"/>
                <a:gd name="T26" fmla="*/ 8 w 24"/>
                <a:gd name="T27" fmla="*/ 0 h 22"/>
                <a:gd name="T28" fmla="*/ 11 w 24"/>
                <a:gd name="T29" fmla="*/ 0 h 22"/>
                <a:gd name="T30" fmla="*/ 17 w 24"/>
                <a:gd name="T31" fmla="*/ 0 h 22"/>
                <a:gd name="T32" fmla="*/ 21 w 24"/>
                <a:gd name="T33" fmla="*/ 2 h 22"/>
                <a:gd name="T34" fmla="*/ 23 w 24"/>
                <a:gd name="T35" fmla="*/ 5 h 22"/>
                <a:gd name="T36" fmla="*/ 24 w 24"/>
                <a:gd name="T37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2">
                  <a:moveTo>
                    <a:pt x="24" y="11"/>
                  </a:moveTo>
                  <a:lnTo>
                    <a:pt x="24" y="11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1" y="22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2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5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5"/>
                  </a:lnTo>
                  <a:lnTo>
                    <a:pt x="24" y="11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Freeform 460">
              <a:extLst>
                <a:ext uri="{FF2B5EF4-FFF2-40B4-BE49-F238E27FC236}">
                  <a16:creationId xmlns:a16="http://schemas.microsoft.com/office/drawing/2014/main" id="{0280A110-E3B5-5484-D75A-29F4BC0E4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8" y="2393"/>
              <a:ext cx="24" cy="22"/>
            </a:xfrm>
            <a:custGeom>
              <a:avLst/>
              <a:gdLst>
                <a:gd name="T0" fmla="*/ 24 w 24"/>
                <a:gd name="T1" fmla="*/ 11 h 22"/>
                <a:gd name="T2" fmla="*/ 24 w 24"/>
                <a:gd name="T3" fmla="*/ 11 h 22"/>
                <a:gd name="T4" fmla="*/ 23 w 24"/>
                <a:gd name="T5" fmla="*/ 17 h 22"/>
                <a:gd name="T6" fmla="*/ 21 w 24"/>
                <a:gd name="T7" fmla="*/ 20 h 22"/>
                <a:gd name="T8" fmla="*/ 17 w 24"/>
                <a:gd name="T9" fmla="*/ 22 h 22"/>
                <a:gd name="T10" fmla="*/ 11 w 24"/>
                <a:gd name="T11" fmla="*/ 22 h 22"/>
                <a:gd name="T12" fmla="*/ 8 w 24"/>
                <a:gd name="T13" fmla="*/ 22 h 22"/>
                <a:gd name="T14" fmla="*/ 4 w 24"/>
                <a:gd name="T15" fmla="*/ 20 h 22"/>
                <a:gd name="T16" fmla="*/ 2 w 24"/>
                <a:gd name="T17" fmla="*/ 17 h 22"/>
                <a:gd name="T18" fmla="*/ 0 w 24"/>
                <a:gd name="T19" fmla="*/ 11 h 22"/>
                <a:gd name="T20" fmla="*/ 0 w 24"/>
                <a:gd name="T21" fmla="*/ 11 h 22"/>
                <a:gd name="T22" fmla="*/ 2 w 24"/>
                <a:gd name="T23" fmla="*/ 5 h 22"/>
                <a:gd name="T24" fmla="*/ 4 w 24"/>
                <a:gd name="T25" fmla="*/ 2 h 22"/>
                <a:gd name="T26" fmla="*/ 8 w 24"/>
                <a:gd name="T27" fmla="*/ 0 h 22"/>
                <a:gd name="T28" fmla="*/ 11 w 24"/>
                <a:gd name="T29" fmla="*/ 0 h 22"/>
                <a:gd name="T30" fmla="*/ 17 w 24"/>
                <a:gd name="T31" fmla="*/ 0 h 22"/>
                <a:gd name="T32" fmla="*/ 21 w 24"/>
                <a:gd name="T33" fmla="*/ 2 h 22"/>
                <a:gd name="T34" fmla="*/ 23 w 24"/>
                <a:gd name="T35" fmla="*/ 5 h 22"/>
                <a:gd name="T36" fmla="*/ 24 w 24"/>
                <a:gd name="T37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2">
                  <a:moveTo>
                    <a:pt x="24" y="11"/>
                  </a:moveTo>
                  <a:lnTo>
                    <a:pt x="24" y="11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1" y="22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2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5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5"/>
                  </a:lnTo>
                  <a:lnTo>
                    <a:pt x="24" y="11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8" name="Freeform 461">
              <a:extLst>
                <a:ext uri="{FF2B5EF4-FFF2-40B4-BE49-F238E27FC236}">
                  <a16:creationId xmlns:a16="http://schemas.microsoft.com/office/drawing/2014/main" id="{E8487012-CFA4-873A-1FCC-F60F992EB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9" y="2434"/>
              <a:ext cx="22" cy="23"/>
            </a:xfrm>
            <a:custGeom>
              <a:avLst/>
              <a:gdLst>
                <a:gd name="T0" fmla="*/ 22 w 22"/>
                <a:gd name="T1" fmla="*/ 11 h 23"/>
                <a:gd name="T2" fmla="*/ 22 w 22"/>
                <a:gd name="T3" fmla="*/ 11 h 23"/>
                <a:gd name="T4" fmla="*/ 22 w 22"/>
                <a:gd name="T5" fmla="*/ 17 h 23"/>
                <a:gd name="T6" fmla="*/ 20 w 22"/>
                <a:gd name="T7" fmla="*/ 19 h 23"/>
                <a:gd name="T8" fmla="*/ 17 w 22"/>
                <a:gd name="T9" fmla="*/ 23 h 23"/>
                <a:gd name="T10" fmla="*/ 11 w 22"/>
                <a:gd name="T11" fmla="*/ 23 h 23"/>
                <a:gd name="T12" fmla="*/ 7 w 22"/>
                <a:gd name="T13" fmla="*/ 23 h 23"/>
                <a:gd name="T14" fmla="*/ 4 w 22"/>
                <a:gd name="T15" fmla="*/ 19 h 23"/>
                <a:gd name="T16" fmla="*/ 2 w 22"/>
                <a:gd name="T17" fmla="*/ 17 h 23"/>
                <a:gd name="T18" fmla="*/ 0 w 22"/>
                <a:gd name="T19" fmla="*/ 11 h 23"/>
                <a:gd name="T20" fmla="*/ 0 w 22"/>
                <a:gd name="T21" fmla="*/ 11 h 23"/>
                <a:gd name="T22" fmla="*/ 2 w 22"/>
                <a:gd name="T23" fmla="*/ 6 h 23"/>
                <a:gd name="T24" fmla="*/ 4 w 22"/>
                <a:gd name="T25" fmla="*/ 2 h 23"/>
                <a:gd name="T26" fmla="*/ 7 w 22"/>
                <a:gd name="T27" fmla="*/ 0 h 23"/>
                <a:gd name="T28" fmla="*/ 11 w 22"/>
                <a:gd name="T29" fmla="*/ 0 h 23"/>
                <a:gd name="T30" fmla="*/ 17 w 22"/>
                <a:gd name="T31" fmla="*/ 0 h 23"/>
                <a:gd name="T32" fmla="*/ 20 w 22"/>
                <a:gd name="T33" fmla="*/ 2 h 23"/>
                <a:gd name="T34" fmla="*/ 22 w 22"/>
                <a:gd name="T35" fmla="*/ 6 h 23"/>
                <a:gd name="T36" fmla="*/ 22 w 22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3">
                  <a:moveTo>
                    <a:pt x="22" y="11"/>
                  </a:moveTo>
                  <a:lnTo>
                    <a:pt x="22" y="11"/>
                  </a:lnTo>
                  <a:lnTo>
                    <a:pt x="22" y="17"/>
                  </a:lnTo>
                  <a:lnTo>
                    <a:pt x="20" y="19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6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2" y="6"/>
                  </a:lnTo>
                  <a:lnTo>
                    <a:pt x="22" y="11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9" name="Freeform 462">
              <a:extLst>
                <a:ext uri="{FF2B5EF4-FFF2-40B4-BE49-F238E27FC236}">
                  <a16:creationId xmlns:a16="http://schemas.microsoft.com/office/drawing/2014/main" id="{FC2CDE21-DA5A-82FA-8040-F9A67BB5D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9" y="2434"/>
              <a:ext cx="22" cy="23"/>
            </a:xfrm>
            <a:custGeom>
              <a:avLst/>
              <a:gdLst>
                <a:gd name="T0" fmla="*/ 22 w 22"/>
                <a:gd name="T1" fmla="*/ 11 h 23"/>
                <a:gd name="T2" fmla="*/ 22 w 22"/>
                <a:gd name="T3" fmla="*/ 11 h 23"/>
                <a:gd name="T4" fmla="*/ 22 w 22"/>
                <a:gd name="T5" fmla="*/ 17 h 23"/>
                <a:gd name="T6" fmla="*/ 20 w 22"/>
                <a:gd name="T7" fmla="*/ 19 h 23"/>
                <a:gd name="T8" fmla="*/ 17 w 22"/>
                <a:gd name="T9" fmla="*/ 23 h 23"/>
                <a:gd name="T10" fmla="*/ 11 w 22"/>
                <a:gd name="T11" fmla="*/ 23 h 23"/>
                <a:gd name="T12" fmla="*/ 7 w 22"/>
                <a:gd name="T13" fmla="*/ 23 h 23"/>
                <a:gd name="T14" fmla="*/ 4 w 22"/>
                <a:gd name="T15" fmla="*/ 19 h 23"/>
                <a:gd name="T16" fmla="*/ 2 w 22"/>
                <a:gd name="T17" fmla="*/ 17 h 23"/>
                <a:gd name="T18" fmla="*/ 0 w 22"/>
                <a:gd name="T19" fmla="*/ 11 h 23"/>
                <a:gd name="T20" fmla="*/ 0 w 22"/>
                <a:gd name="T21" fmla="*/ 11 h 23"/>
                <a:gd name="T22" fmla="*/ 2 w 22"/>
                <a:gd name="T23" fmla="*/ 6 h 23"/>
                <a:gd name="T24" fmla="*/ 4 w 22"/>
                <a:gd name="T25" fmla="*/ 2 h 23"/>
                <a:gd name="T26" fmla="*/ 7 w 22"/>
                <a:gd name="T27" fmla="*/ 0 h 23"/>
                <a:gd name="T28" fmla="*/ 11 w 22"/>
                <a:gd name="T29" fmla="*/ 0 h 23"/>
                <a:gd name="T30" fmla="*/ 17 w 22"/>
                <a:gd name="T31" fmla="*/ 0 h 23"/>
                <a:gd name="T32" fmla="*/ 20 w 22"/>
                <a:gd name="T33" fmla="*/ 2 h 23"/>
                <a:gd name="T34" fmla="*/ 22 w 22"/>
                <a:gd name="T35" fmla="*/ 6 h 23"/>
                <a:gd name="T36" fmla="*/ 22 w 22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3">
                  <a:moveTo>
                    <a:pt x="22" y="11"/>
                  </a:moveTo>
                  <a:lnTo>
                    <a:pt x="22" y="11"/>
                  </a:lnTo>
                  <a:lnTo>
                    <a:pt x="22" y="17"/>
                  </a:lnTo>
                  <a:lnTo>
                    <a:pt x="20" y="19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6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2" y="6"/>
                  </a:lnTo>
                  <a:lnTo>
                    <a:pt x="22" y="11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0" name="Freeform 463">
              <a:extLst>
                <a:ext uri="{FF2B5EF4-FFF2-40B4-BE49-F238E27FC236}">
                  <a16:creationId xmlns:a16="http://schemas.microsoft.com/office/drawing/2014/main" id="{BFA44F23-4C9B-3EF6-5AC9-70C667EBF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0" y="2440"/>
              <a:ext cx="23" cy="24"/>
            </a:xfrm>
            <a:custGeom>
              <a:avLst/>
              <a:gdLst>
                <a:gd name="T0" fmla="*/ 23 w 23"/>
                <a:gd name="T1" fmla="*/ 13 h 24"/>
                <a:gd name="T2" fmla="*/ 23 w 23"/>
                <a:gd name="T3" fmla="*/ 13 h 24"/>
                <a:gd name="T4" fmla="*/ 23 w 23"/>
                <a:gd name="T5" fmla="*/ 17 h 24"/>
                <a:gd name="T6" fmla="*/ 19 w 23"/>
                <a:gd name="T7" fmla="*/ 20 h 24"/>
                <a:gd name="T8" fmla="*/ 15 w 23"/>
                <a:gd name="T9" fmla="*/ 22 h 24"/>
                <a:gd name="T10" fmla="*/ 12 w 23"/>
                <a:gd name="T11" fmla="*/ 24 h 24"/>
                <a:gd name="T12" fmla="*/ 8 w 23"/>
                <a:gd name="T13" fmla="*/ 22 h 24"/>
                <a:gd name="T14" fmla="*/ 4 w 23"/>
                <a:gd name="T15" fmla="*/ 20 h 24"/>
                <a:gd name="T16" fmla="*/ 0 w 23"/>
                <a:gd name="T17" fmla="*/ 17 h 24"/>
                <a:gd name="T18" fmla="*/ 0 w 23"/>
                <a:gd name="T19" fmla="*/ 13 h 24"/>
                <a:gd name="T20" fmla="*/ 0 w 23"/>
                <a:gd name="T21" fmla="*/ 13 h 24"/>
                <a:gd name="T22" fmla="*/ 0 w 23"/>
                <a:gd name="T23" fmla="*/ 7 h 24"/>
                <a:gd name="T24" fmla="*/ 4 w 23"/>
                <a:gd name="T25" fmla="*/ 3 h 24"/>
                <a:gd name="T26" fmla="*/ 8 w 23"/>
                <a:gd name="T27" fmla="*/ 2 h 24"/>
                <a:gd name="T28" fmla="*/ 12 w 23"/>
                <a:gd name="T29" fmla="*/ 0 h 24"/>
                <a:gd name="T30" fmla="*/ 15 w 23"/>
                <a:gd name="T31" fmla="*/ 2 h 24"/>
                <a:gd name="T32" fmla="*/ 19 w 23"/>
                <a:gd name="T33" fmla="*/ 3 h 24"/>
                <a:gd name="T34" fmla="*/ 23 w 23"/>
                <a:gd name="T35" fmla="*/ 7 h 24"/>
                <a:gd name="T36" fmla="*/ 23 w 23"/>
                <a:gd name="T37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4">
                  <a:moveTo>
                    <a:pt x="23" y="13"/>
                  </a:moveTo>
                  <a:lnTo>
                    <a:pt x="23" y="13"/>
                  </a:lnTo>
                  <a:lnTo>
                    <a:pt x="23" y="17"/>
                  </a:lnTo>
                  <a:lnTo>
                    <a:pt x="19" y="20"/>
                  </a:lnTo>
                  <a:lnTo>
                    <a:pt x="15" y="22"/>
                  </a:lnTo>
                  <a:lnTo>
                    <a:pt x="12" y="24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9" y="3"/>
                  </a:lnTo>
                  <a:lnTo>
                    <a:pt x="23" y="7"/>
                  </a:lnTo>
                  <a:lnTo>
                    <a:pt x="23" y="13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1" name="Freeform 464">
              <a:extLst>
                <a:ext uri="{FF2B5EF4-FFF2-40B4-BE49-F238E27FC236}">
                  <a16:creationId xmlns:a16="http://schemas.microsoft.com/office/drawing/2014/main" id="{915531BF-2C41-8035-429F-A84050D32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0" y="2440"/>
              <a:ext cx="23" cy="24"/>
            </a:xfrm>
            <a:custGeom>
              <a:avLst/>
              <a:gdLst>
                <a:gd name="T0" fmla="*/ 23 w 23"/>
                <a:gd name="T1" fmla="*/ 13 h 24"/>
                <a:gd name="T2" fmla="*/ 23 w 23"/>
                <a:gd name="T3" fmla="*/ 13 h 24"/>
                <a:gd name="T4" fmla="*/ 23 w 23"/>
                <a:gd name="T5" fmla="*/ 17 h 24"/>
                <a:gd name="T6" fmla="*/ 19 w 23"/>
                <a:gd name="T7" fmla="*/ 20 h 24"/>
                <a:gd name="T8" fmla="*/ 15 w 23"/>
                <a:gd name="T9" fmla="*/ 22 h 24"/>
                <a:gd name="T10" fmla="*/ 12 w 23"/>
                <a:gd name="T11" fmla="*/ 24 h 24"/>
                <a:gd name="T12" fmla="*/ 8 w 23"/>
                <a:gd name="T13" fmla="*/ 22 h 24"/>
                <a:gd name="T14" fmla="*/ 4 w 23"/>
                <a:gd name="T15" fmla="*/ 20 h 24"/>
                <a:gd name="T16" fmla="*/ 0 w 23"/>
                <a:gd name="T17" fmla="*/ 17 h 24"/>
                <a:gd name="T18" fmla="*/ 0 w 23"/>
                <a:gd name="T19" fmla="*/ 13 h 24"/>
                <a:gd name="T20" fmla="*/ 0 w 23"/>
                <a:gd name="T21" fmla="*/ 13 h 24"/>
                <a:gd name="T22" fmla="*/ 0 w 23"/>
                <a:gd name="T23" fmla="*/ 7 h 24"/>
                <a:gd name="T24" fmla="*/ 4 w 23"/>
                <a:gd name="T25" fmla="*/ 3 h 24"/>
                <a:gd name="T26" fmla="*/ 8 w 23"/>
                <a:gd name="T27" fmla="*/ 2 h 24"/>
                <a:gd name="T28" fmla="*/ 12 w 23"/>
                <a:gd name="T29" fmla="*/ 0 h 24"/>
                <a:gd name="T30" fmla="*/ 15 w 23"/>
                <a:gd name="T31" fmla="*/ 2 h 24"/>
                <a:gd name="T32" fmla="*/ 19 w 23"/>
                <a:gd name="T33" fmla="*/ 3 h 24"/>
                <a:gd name="T34" fmla="*/ 23 w 23"/>
                <a:gd name="T35" fmla="*/ 7 h 24"/>
                <a:gd name="T36" fmla="*/ 23 w 23"/>
                <a:gd name="T37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4">
                  <a:moveTo>
                    <a:pt x="23" y="13"/>
                  </a:moveTo>
                  <a:lnTo>
                    <a:pt x="23" y="13"/>
                  </a:lnTo>
                  <a:lnTo>
                    <a:pt x="23" y="17"/>
                  </a:lnTo>
                  <a:lnTo>
                    <a:pt x="19" y="20"/>
                  </a:lnTo>
                  <a:lnTo>
                    <a:pt x="15" y="22"/>
                  </a:lnTo>
                  <a:lnTo>
                    <a:pt x="12" y="24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9" y="3"/>
                  </a:lnTo>
                  <a:lnTo>
                    <a:pt x="23" y="7"/>
                  </a:lnTo>
                  <a:lnTo>
                    <a:pt x="23" y="13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2" name="Freeform 465">
              <a:extLst>
                <a:ext uri="{FF2B5EF4-FFF2-40B4-BE49-F238E27FC236}">
                  <a16:creationId xmlns:a16="http://schemas.microsoft.com/office/drawing/2014/main" id="{F02EA4DB-FC08-2D70-0BE5-6CF9F225C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0" y="2295"/>
              <a:ext cx="24" cy="24"/>
            </a:xfrm>
            <a:custGeom>
              <a:avLst/>
              <a:gdLst>
                <a:gd name="T0" fmla="*/ 24 w 24"/>
                <a:gd name="T1" fmla="*/ 13 h 24"/>
                <a:gd name="T2" fmla="*/ 24 w 24"/>
                <a:gd name="T3" fmla="*/ 13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4 h 24"/>
                <a:gd name="T10" fmla="*/ 13 w 24"/>
                <a:gd name="T11" fmla="*/ 24 h 24"/>
                <a:gd name="T12" fmla="*/ 8 w 24"/>
                <a:gd name="T13" fmla="*/ 24 h 24"/>
                <a:gd name="T14" fmla="*/ 4 w 24"/>
                <a:gd name="T15" fmla="*/ 21 h 24"/>
                <a:gd name="T16" fmla="*/ 2 w 24"/>
                <a:gd name="T17" fmla="*/ 17 h 24"/>
                <a:gd name="T18" fmla="*/ 0 w 24"/>
                <a:gd name="T19" fmla="*/ 13 h 24"/>
                <a:gd name="T20" fmla="*/ 0 w 24"/>
                <a:gd name="T21" fmla="*/ 13 h 24"/>
                <a:gd name="T22" fmla="*/ 2 w 24"/>
                <a:gd name="T23" fmla="*/ 7 h 24"/>
                <a:gd name="T24" fmla="*/ 4 w 24"/>
                <a:gd name="T25" fmla="*/ 4 h 24"/>
                <a:gd name="T26" fmla="*/ 8 w 24"/>
                <a:gd name="T27" fmla="*/ 2 h 24"/>
                <a:gd name="T28" fmla="*/ 13 w 24"/>
                <a:gd name="T29" fmla="*/ 0 h 24"/>
                <a:gd name="T30" fmla="*/ 17 w 24"/>
                <a:gd name="T31" fmla="*/ 2 h 24"/>
                <a:gd name="T32" fmla="*/ 21 w 24"/>
                <a:gd name="T33" fmla="*/ 4 h 24"/>
                <a:gd name="T34" fmla="*/ 23 w 24"/>
                <a:gd name="T35" fmla="*/ 7 h 24"/>
                <a:gd name="T36" fmla="*/ 24 w 24"/>
                <a:gd name="T37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4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4"/>
                  </a:lnTo>
                  <a:lnTo>
                    <a:pt x="13" y="24"/>
                  </a:lnTo>
                  <a:lnTo>
                    <a:pt x="8" y="24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3" name="Freeform 466">
              <a:extLst>
                <a:ext uri="{FF2B5EF4-FFF2-40B4-BE49-F238E27FC236}">
                  <a16:creationId xmlns:a16="http://schemas.microsoft.com/office/drawing/2014/main" id="{7C3BD718-FE58-EF52-EF18-242A27A87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0" y="2295"/>
              <a:ext cx="24" cy="24"/>
            </a:xfrm>
            <a:custGeom>
              <a:avLst/>
              <a:gdLst>
                <a:gd name="T0" fmla="*/ 24 w 24"/>
                <a:gd name="T1" fmla="*/ 13 h 24"/>
                <a:gd name="T2" fmla="*/ 24 w 24"/>
                <a:gd name="T3" fmla="*/ 13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4 h 24"/>
                <a:gd name="T10" fmla="*/ 13 w 24"/>
                <a:gd name="T11" fmla="*/ 24 h 24"/>
                <a:gd name="T12" fmla="*/ 8 w 24"/>
                <a:gd name="T13" fmla="*/ 24 h 24"/>
                <a:gd name="T14" fmla="*/ 4 w 24"/>
                <a:gd name="T15" fmla="*/ 21 h 24"/>
                <a:gd name="T16" fmla="*/ 2 w 24"/>
                <a:gd name="T17" fmla="*/ 17 h 24"/>
                <a:gd name="T18" fmla="*/ 0 w 24"/>
                <a:gd name="T19" fmla="*/ 13 h 24"/>
                <a:gd name="T20" fmla="*/ 0 w 24"/>
                <a:gd name="T21" fmla="*/ 13 h 24"/>
                <a:gd name="T22" fmla="*/ 2 w 24"/>
                <a:gd name="T23" fmla="*/ 7 h 24"/>
                <a:gd name="T24" fmla="*/ 4 w 24"/>
                <a:gd name="T25" fmla="*/ 4 h 24"/>
                <a:gd name="T26" fmla="*/ 8 w 24"/>
                <a:gd name="T27" fmla="*/ 2 h 24"/>
                <a:gd name="T28" fmla="*/ 13 w 24"/>
                <a:gd name="T29" fmla="*/ 0 h 24"/>
                <a:gd name="T30" fmla="*/ 17 w 24"/>
                <a:gd name="T31" fmla="*/ 2 h 24"/>
                <a:gd name="T32" fmla="*/ 21 w 24"/>
                <a:gd name="T33" fmla="*/ 4 h 24"/>
                <a:gd name="T34" fmla="*/ 23 w 24"/>
                <a:gd name="T35" fmla="*/ 7 h 24"/>
                <a:gd name="T36" fmla="*/ 24 w 24"/>
                <a:gd name="T37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4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4"/>
                  </a:lnTo>
                  <a:lnTo>
                    <a:pt x="13" y="24"/>
                  </a:lnTo>
                  <a:lnTo>
                    <a:pt x="8" y="24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4" name="Freeform 467">
              <a:extLst>
                <a:ext uri="{FF2B5EF4-FFF2-40B4-BE49-F238E27FC236}">
                  <a16:creationId xmlns:a16="http://schemas.microsoft.com/office/drawing/2014/main" id="{55120F6B-E3AC-5E98-4322-3A01F2168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2419"/>
              <a:ext cx="24" cy="24"/>
            </a:xfrm>
            <a:custGeom>
              <a:avLst/>
              <a:gdLst>
                <a:gd name="T0" fmla="*/ 24 w 24"/>
                <a:gd name="T1" fmla="*/ 13 h 24"/>
                <a:gd name="T2" fmla="*/ 24 w 24"/>
                <a:gd name="T3" fmla="*/ 13 h 24"/>
                <a:gd name="T4" fmla="*/ 22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1 w 24"/>
                <a:gd name="T11" fmla="*/ 24 h 24"/>
                <a:gd name="T12" fmla="*/ 7 w 24"/>
                <a:gd name="T13" fmla="*/ 23 h 24"/>
                <a:gd name="T14" fmla="*/ 3 w 24"/>
                <a:gd name="T15" fmla="*/ 21 h 24"/>
                <a:gd name="T16" fmla="*/ 1 w 24"/>
                <a:gd name="T17" fmla="*/ 17 h 24"/>
                <a:gd name="T18" fmla="*/ 0 w 24"/>
                <a:gd name="T19" fmla="*/ 13 h 24"/>
                <a:gd name="T20" fmla="*/ 0 w 24"/>
                <a:gd name="T21" fmla="*/ 13 h 24"/>
                <a:gd name="T22" fmla="*/ 1 w 24"/>
                <a:gd name="T23" fmla="*/ 8 h 24"/>
                <a:gd name="T24" fmla="*/ 3 w 24"/>
                <a:gd name="T25" fmla="*/ 4 h 24"/>
                <a:gd name="T26" fmla="*/ 7 w 24"/>
                <a:gd name="T27" fmla="*/ 2 h 24"/>
                <a:gd name="T28" fmla="*/ 11 w 24"/>
                <a:gd name="T29" fmla="*/ 0 h 24"/>
                <a:gd name="T30" fmla="*/ 17 w 24"/>
                <a:gd name="T31" fmla="*/ 2 h 24"/>
                <a:gd name="T32" fmla="*/ 20 w 24"/>
                <a:gd name="T33" fmla="*/ 4 h 24"/>
                <a:gd name="T34" fmla="*/ 22 w 24"/>
                <a:gd name="T35" fmla="*/ 8 h 24"/>
                <a:gd name="T36" fmla="*/ 24 w 24"/>
                <a:gd name="T37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4">
                  <a:moveTo>
                    <a:pt x="24" y="13"/>
                  </a:moveTo>
                  <a:lnTo>
                    <a:pt x="24" y="13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5" name="Freeform 468">
              <a:extLst>
                <a:ext uri="{FF2B5EF4-FFF2-40B4-BE49-F238E27FC236}">
                  <a16:creationId xmlns:a16="http://schemas.microsoft.com/office/drawing/2014/main" id="{2FB40E51-0D68-4A4B-C9D5-B927CB39CF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2419"/>
              <a:ext cx="24" cy="24"/>
            </a:xfrm>
            <a:custGeom>
              <a:avLst/>
              <a:gdLst>
                <a:gd name="T0" fmla="*/ 24 w 24"/>
                <a:gd name="T1" fmla="*/ 13 h 24"/>
                <a:gd name="T2" fmla="*/ 24 w 24"/>
                <a:gd name="T3" fmla="*/ 13 h 24"/>
                <a:gd name="T4" fmla="*/ 22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1 w 24"/>
                <a:gd name="T11" fmla="*/ 24 h 24"/>
                <a:gd name="T12" fmla="*/ 7 w 24"/>
                <a:gd name="T13" fmla="*/ 23 h 24"/>
                <a:gd name="T14" fmla="*/ 3 w 24"/>
                <a:gd name="T15" fmla="*/ 21 h 24"/>
                <a:gd name="T16" fmla="*/ 1 w 24"/>
                <a:gd name="T17" fmla="*/ 17 h 24"/>
                <a:gd name="T18" fmla="*/ 0 w 24"/>
                <a:gd name="T19" fmla="*/ 13 h 24"/>
                <a:gd name="T20" fmla="*/ 0 w 24"/>
                <a:gd name="T21" fmla="*/ 13 h 24"/>
                <a:gd name="T22" fmla="*/ 1 w 24"/>
                <a:gd name="T23" fmla="*/ 8 h 24"/>
                <a:gd name="T24" fmla="*/ 3 w 24"/>
                <a:gd name="T25" fmla="*/ 4 h 24"/>
                <a:gd name="T26" fmla="*/ 7 w 24"/>
                <a:gd name="T27" fmla="*/ 2 h 24"/>
                <a:gd name="T28" fmla="*/ 11 w 24"/>
                <a:gd name="T29" fmla="*/ 0 h 24"/>
                <a:gd name="T30" fmla="*/ 17 w 24"/>
                <a:gd name="T31" fmla="*/ 2 h 24"/>
                <a:gd name="T32" fmla="*/ 20 w 24"/>
                <a:gd name="T33" fmla="*/ 4 h 24"/>
                <a:gd name="T34" fmla="*/ 22 w 24"/>
                <a:gd name="T35" fmla="*/ 8 h 24"/>
                <a:gd name="T36" fmla="*/ 24 w 24"/>
                <a:gd name="T37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4">
                  <a:moveTo>
                    <a:pt x="24" y="13"/>
                  </a:moveTo>
                  <a:lnTo>
                    <a:pt x="24" y="13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6" name="Freeform 469">
              <a:extLst>
                <a:ext uri="{FF2B5EF4-FFF2-40B4-BE49-F238E27FC236}">
                  <a16:creationId xmlns:a16="http://schemas.microsoft.com/office/drawing/2014/main" id="{ADC581F2-78AC-41D2-77F4-405E24F5A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3" y="239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2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7" name="Freeform 470">
              <a:extLst>
                <a:ext uri="{FF2B5EF4-FFF2-40B4-BE49-F238E27FC236}">
                  <a16:creationId xmlns:a16="http://schemas.microsoft.com/office/drawing/2014/main" id="{1C966CF5-84EC-A76C-BDF3-5AEF71F10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3" y="239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2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8" name="Freeform 471">
              <a:extLst>
                <a:ext uri="{FF2B5EF4-FFF2-40B4-BE49-F238E27FC236}">
                  <a16:creationId xmlns:a16="http://schemas.microsoft.com/office/drawing/2014/main" id="{1B655705-CCE8-61C5-1AB4-687C21180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8" y="2391"/>
              <a:ext cx="24" cy="24"/>
            </a:xfrm>
            <a:custGeom>
              <a:avLst/>
              <a:gdLst>
                <a:gd name="T0" fmla="*/ 24 w 24"/>
                <a:gd name="T1" fmla="*/ 13 h 24"/>
                <a:gd name="T2" fmla="*/ 24 w 24"/>
                <a:gd name="T3" fmla="*/ 13 h 24"/>
                <a:gd name="T4" fmla="*/ 22 w 24"/>
                <a:gd name="T5" fmla="*/ 17 h 24"/>
                <a:gd name="T6" fmla="*/ 21 w 24"/>
                <a:gd name="T7" fmla="*/ 21 h 24"/>
                <a:gd name="T8" fmla="*/ 17 w 24"/>
                <a:gd name="T9" fmla="*/ 22 h 24"/>
                <a:gd name="T10" fmla="*/ 11 w 24"/>
                <a:gd name="T11" fmla="*/ 24 h 24"/>
                <a:gd name="T12" fmla="*/ 7 w 24"/>
                <a:gd name="T13" fmla="*/ 22 h 24"/>
                <a:gd name="T14" fmla="*/ 4 w 24"/>
                <a:gd name="T15" fmla="*/ 21 h 24"/>
                <a:gd name="T16" fmla="*/ 2 w 24"/>
                <a:gd name="T17" fmla="*/ 17 h 24"/>
                <a:gd name="T18" fmla="*/ 0 w 24"/>
                <a:gd name="T19" fmla="*/ 13 h 24"/>
                <a:gd name="T20" fmla="*/ 0 w 24"/>
                <a:gd name="T21" fmla="*/ 13 h 24"/>
                <a:gd name="T22" fmla="*/ 2 w 24"/>
                <a:gd name="T23" fmla="*/ 7 h 24"/>
                <a:gd name="T24" fmla="*/ 4 w 24"/>
                <a:gd name="T25" fmla="*/ 4 h 24"/>
                <a:gd name="T26" fmla="*/ 7 w 24"/>
                <a:gd name="T27" fmla="*/ 2 h 24"/>
                <a:gd name="T28" fmla="*/ 11 w 24"/>
                <a:gd name="T29" fmla="*/ 0 h 24"/>
                <a:gd name="T30" fmla="*/ 17 w 24"/>
                <a:gd name="T31" fmla="*/ 2 h 24"/>
                <a:gd name="T32" fmla="*/ 21 w 24"/>
                <a:gd name="T33" fmla="*/ 4 h 24"/>
                <a:gd name="T34" fmla="*/ 22 w 24"/>
                <a:gd name="T35" fmla="*/ 7 h 24"/>
                <a:gd name="T36" fmla="*/ 24 w 24"/>
                <a:gd name="T37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4">
                  <a:moveTo>
                    <a:pt x="24" y="13"/>
                  </a:moveTo>
                  <a:lnTo>
                    <a:pt x="24" y="13"/>
                  </a:lnTo>
                  <a:lnTo>
                    <a:pt x="22" y="17"/>
                  </a:lnTo>
                  <a:lnTo>
                    <a:pt x="21" y="21"/>
                  </a:lnTo>
                  <a:lnTo>
                    <a:pt x="17" y="22"/>
                  </a:lnTo>
                  <a:lnTo>
                    <a:pt x="11" y="24"/>
                  </a:lnTo>
                  <a:lnTo>
                    <a:pt x="7" y="22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2" y="7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DB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9" name="Freeform 472">
              <a:extLst>
                <a:ext uri="{FF2B5EF4-FFF2-40B4-BE49-F238E27FC236}">
                  <a16:creationId xmlns:a16="http://schemas.microsoft.com/office/drawing/2014/main" id="{13E57F06-AAEB-517A-4FA9-F7D32B676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8" y="2391"/>
              <a:ext cx="24" cy="24"/>
            </a:xfrm>
            <a:custGeom>
              <a:avLst/>
              <a:gdLst>
                <a:gd name="T0" fmla="*/ 24 w 24"/>
                <a:gd name="T1" fmla="*/ 13 h 24"/>
                <a:gd name="T2" fmla="*/ 24 w 24"/>
                <a:gd name="T3" fmla="*/ 13 h 24"/>
                <a:gd name="T4" fmla="*/ 22 w 24"/>
                <a:gd name="T5" fmla="*/ 17 h 24"/>
                <a:gd name="T6" fmla="*/ 21 w 24"/>
                <a:gd name="T7" fmla="*/ 21 h 24"/>
                <a:gd name="T8" fmla="*/ 17 w 24"/>
                <a:gd name="T9" fmla="*/ 22 h 24"/>
                <a:gd name="T10" fmla="*/ 11 w 24"/>
                <a:gd name="T11" fmla="*/ 24 h 24"/>
                <a:gd name="T12" fmla="*/ 7 w 24"/>
                <a:gd name="T13" fmla="*/ 22 h 24"/>
                <a:gd name="T14" fmla="*/ 4 w 24"/>
                <a:gd name="T15" fmla="*/ 21 h 24"/>
                <a:gd name="T16" fmla="*/ 2 w 24"/>
                <a:gd name="T17" fmla="*/ 17 h 24"/>
                <a:gd name="T18" fmla="*/ 0 w 24"/>
                <a:gd name="T19" fmla="*/ 13 h 24"/>
                <a:gd name="T20" fmla="*/ 0 w 24"/>
                <a:gd name="T21" fmla="*/ 13 h 24"/>
                <a:gd name="T22" fmla="*/ 2 w 24"/>
                <a:gd name="T23" fmla="*/ 7 h 24"/>
                <a:gd name="T24" fmla="*/ 4 w 24"/>
                <a:gd name="T25" fmla="*/ 4 h 24"/>
                <a:gd name="T26" fmla="*/ 7 w 24"/>
                <a:gd name="T27" fmla="*/ 2 h 24"/>
                <a:gd name="T28" fmla="*/ 11 w 24"/>
                <a:gd name="T29" fmla="*/ 0 h 24"/>
                <a:gd name="T30" fmla="*/ 17 w 24"/>
                <a:gd name="T31" fmla="*/ 2 h 24"/>
                <a:gd name="T32" fmla="*/ 21 w 24"/>
                <a:gd name="T33" fmla="*/ 4 h 24"/>
                <a:gd name="T34" fmla="*/ 22 w 24"/>
                <a:gd name="T35" fmla="*/ 7 h 24"/>
                <a:gd name="T36" fmla="*/ 24 w 24"/>
                <a:gd name="T37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4">
                  <a:moveTo>
                    <a:pt x="24" y="13"/>
                  </a:moveTo>
                  <a:lnTo>
                    <a:pt x="24" y="13"/>
                  </a:lnTo>
                  <a:lnTo>
                    <a:pt x="22" y="17"/>
                  </a:lnTo>
                  <a:lnTo>
                    <a:pt x="21" y="21"/>
                  </a:lnTo>
                  <a:lnTo>
                    <a:pt x="17" y="22"/>
                  </a:lnTo>
                  <a:lnTo>
                    <a:pt x="11" y="24"/>
                  </a:lnTo>
                  <a:lnTo>
                    <a:pt x="7" y="22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2" y="7"/>
                  </a:lnTo>
                  <a:lnTo>
                    <a:pt x="24" y="13"/>
                  </a:lnTo>
                </a:path>
              </a:pathLst>
            </a:custGeom>
            <a:noFill/>
            <a:ln w="9525">
              <a:solidFill>
                <a:srgbClr val="FDBF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0" name="Freeform 473">
              <a:extLst>
                <a:ext uri="{FF2B5EF4-FFF2-40B4-BE49-F238E27FC236}">
                  <a16:creationId xmlns:a16="http://schemas.microsoft.com/office/drawing/2014/main" id="{5F1DD319-43F8-6058-1CFB-513564E98D2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" y="2618"/>
              <a:ext cx="25" cy="2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7 h 23"/>
                <a:gd name="T6" fmla="*/ 21 w 25"/>
                <a:gd name="T7" fmla="*/ 21 h 23"/>
                <a:gd name="T8" fmla="*/ 17 w 25"/>
                <a:gd name="T9" fmla="*/ 23 h 23"/>
                <a:gd name="T10" fmla="*/ 11 w 25"/>
                <a:gd name="T11" fmla="*/ 23 h 23"/>
                <a:gd name="T12" fmla="*/ 8 w 25"/>
                <a:gd name="T13" fmla="*/ 23 h 23"/>
                <a:gd name="T14" fmla="*/ 4 w 25"/>
                <a:gd name="T15" fmla="*/ 21 h 23"/>
                <a:gd name="T16" fmla="*/ 2 w 25"/>
                <a:gd name="T17" fmla="*/ 17 h 23"/>
                <a:gd name="T18" fmla="*/ 0 w 25"/>
                <a:gd name="T19" fmla="*/ 12 h 23"/>
                <a:gd name="T20" fmla="*/ 0 w 25"/>
                <a:gd name="T21" fmla="*/ 12 h 23"/>
                <a:gd name="T22" fmla="*/ 2 w 25"/>
                <a:gd name="T23" fmla="*/ 6 h 23"/>
                <a:gd name="T24" fmla="*/ 4 w 25"/>
                <a:gd name="T25" fmla="*/ 2 h 23"/>
                <a:gd name="T26" fmla="*/ 8 w 25"/>
                <a:gd name="T27" fmla="*/ 0 h 23"/>
                <a:gd name="T28" fmla="*/ 11 w 25"/>
                <a:gd name="T29" fmla="*/ 0 h 23"/>
                <a:gd name="T30" fmla="*/ 17 w 25"/>
                <a:gd name="T31" fmla="*/ 0 h 23"/>
                <a:gd name="T32" fmla="*/ 21 w 25"/>
                <a:gd name="T33" fmla="*/ 2 h 23"/>
                <a:gd name="T34" fmla="*/ 23 w 25"/>
                <a:gd name="T35" fmla="*/ 6 h 23"/>
                <a:gd name="T36" fmla="*/ 25 w 25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5" y="12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1" name="Freeform 474">
              <a:extLst>
                <a:ext uri="{FF2B5EF4-FFF2-40B4-BE49-F238E27FC236}">
                  <a16:creationId xmlns:a16="http://schemas.microsoft.com/office/drawing/2014/main" id="{52D2061F-6424-B720-712C-10855404FA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" y="2618"/>
              <a:ext cx="25" cy="2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7 h 23"/>
                <a:gd name="T6" fmla="*/ 21 w 25"/>
                <a:gd name="T7" fmla="*/ 21 h 23"/>
                <a:gd name="T8" fmla="*/ 17 w 25"/>
                <a:gd name="T9" fmla="*/ 23 h 23"/>
                <a:gd name="T10" fmla="*/ 11 w 25"/>
                <a:gd name="T11" fmla="*/ 23 h 23"/>
                <a:gd name="T12" fmla="*/ 8 w 25"/>
                <a:gd name="T13" fmla="*/ 23 h 23"/>
                <a:gd name="T14" fmla="*/ 4 w 25"/>
                <a:gd name="T15" fmla="*/ 21 h 23"/>
                <a:gd name="T16" fmla="*/ 2 w 25"/>
                <a:gd name="T17" fmla="*/ 17 h 23"/>
                <a:gd name="T18" fmla="*/ 0 w 25"/>
                <a:gd name="T19" fmla="*/ 12 h 23"/>
                <a:gd name="T20" fmla="*/ 0 w 25"/>
                <a:gd name="T21" fmla="*/ 12 h 23"/>
                <a:gd name="T22" fmla="*/ 2 w 25"/>
                <a:gd name="T23" fmla="*/ 6 h 23"/>
                <a:gd name="T24" fmla="*/ 4 w 25"/>
                <a:gd name="T25" fmla="*/ 2 h 23"/>
                <a:gd name="T26" fmla="*/ 8 w 25"/>
                <a:gd name="T27" fmla="*/ 0 h 23"/>
                <a:gd name="T28" fmla="*/ 11 w 25"/>
                <a:gd name="T29" fmla="*/ 0 h 23"/>
                <a:gd name="T30" fmla="*/ 17 w 25"/>
                <a:gd name="T31" fmla="*/ 0 h 23"/>
                <a:gd name="T32" fmla="*/ 21 w 25"/>
                <a:gd name="T33" fmla="*/ 2 h 23"/>
                <a:gd name="T34" fmla="*/ 23 w 25"/>
                <a:gd name="T35" fmla="*/ 6 h 23"/>
                <a:gd name="T36" fmla="*/ 25 w 25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5" y="12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2" name="Freeform 475">
              <a:extLst>
                <a:ext uri="{FF2B5EF4-FFF2-40B4-BE49-F238E27FC236}">
                  <a16:creationId xmlns:a16="http://schemas.microsoft.com/office/drawing/2014/main" id="{E0CAF7CE-EB52-09C7-5035-A39DDBF57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" y="2355"/>
              <a:ext cx="22" cy="25"/>
            </a:xfrm>
            <a:custGeom>
              <a:avLst/>
              <a:gdLst>
                <a:gd name="T0" fmla="*/ 22 w 22"/>
                <a:gd name="T1" fmla="*/ 13 h 25"/>
                <a:gd name="T2" fmla="*/ 22 w 22"/>
                <a:gd name="T3" fmla="*/ 13 h 25"/>
                <a:gd name="T4" fmla="*/ 22 w 22"/>
                <a:gd name="T5" fmla="*/ 17 h 25"/>
                <a:gd name="T6" fmla="*/ 18 w 22"/>
                <a:gd name="T7" fmla="*/ 21 h 25"/>
                <a:gd name="T8" fmla="*/ 15 w 22"/>
                <a:gd name="T9" fmla="*/ 23 h 25"/>
                <a:gd name="T10" fmla="*/ 11 w 22"/>
                <a:gd name="T11" fmla="*/ 25 h 25"/>
                <a:gd name="T12" fmla="*/ 7 w 22"/>
                <a:gd name="T13" fmla="*/ 23 h 25"/>
                <a:gd name="T14" fmla="*/ 3 w 22"/>
                <a:gd name="T15" fmla="*/ 21 h 25"/>
                <a:gd name="T16" fmla="*/ 0 w 22"/>
                <a:gd name="T17" fmla="*/ 17 h 25"/>
                <a:gd name="T18" fmla="*/ 0 w 22"/>
                <a:gd name="T19" fmla="*/ 13 h 25"/>
                <a:gd name="T20" fmla="*/ 0 w 22"/>
                <a:gd name="T21" fmla="*/ 13 h 25"/>
                <a:gd name="T22" fmla="*/ 0 w 22"/>
                <a:gd name="T23" fmla="*/ 8 h 25"/>
                <a:gd name="T24" fmla="*/ 3 w 22"/>
                <a:gd name="T25" fmla="*/ 4 h 25"/>
                <a:gd name="T26" fmla="*/ 7 w 22"/>
                <a:gd name="T27" fmla="*/ 2 h 25"/>
                <a:gd name="T28" fmla="*/ 11 w 22"/>
                <a:gd name="T29" fmla="*/ 0 h 25"/>
                <a:gd name="T30" fmla="*/ 15 w 22"/>
                <a:gd name="T31" fmla="*/ 2 h 25"/>
                <a:gd name="T32" fmla="*/ 18 w 22"/>
                <a:gd name="T33" fmla="*/ 4 h 25"/>
                <a:gd name="T34" fmla="*/ 22 w 22"/>
                <a:gd name="T35" fmla="*/ 8 h 25"/>
                <a:gd name="T36" fmla="*/ 22 w 22"/>
                <a:gd name="T3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5">
                  <a:moveTo>
                    <a:pt x="22" y="13"/>
                  </a:moveTo>
                  <a:lnTo>
                    <a:pt x="22" y="13"/>
                  </a:lnTo>
                  <a:lnTo>
                    <a:pt x="22" y="17"/>
                  </a:lnTo>
                  <a:lnTo>
                    <a:pt x="18" y="21"/>
                  </a:lnTo>
                  <a:lnTo>
                    <a:pt x="15" y="23"/>
                  </a:lnTo>
                  <a:lnTo>
                    <a:pt x="11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8" y="4"/>
                  </a:lnTo>
                  <a:lnTo>
                    <a:pt x="22" y="8"/>
                  </a:lnTo>
                  <a:lnTo>
                    <a:pt x="22" y="13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3" name="Freeform 476">
              <a:extLst>
                <a:ext uri="{FF2B5EF4-FFF2-40B4-BE49-F238E27FC236}">
                  <a16:creationId xmlns:a16="http://schemas.microsoft.com/office/drawing/2014/main" id="{4EA8D456-4157-D226-59D4-BBA792562548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" y="2355"/>
              <a:ext cx="22" cy="25"/>
            </a:xfrm>
            <a:custGeom>
              <a:avLst/>
              <a:gdLst>
                <a:gd name="T0" fmla="*/ 22 w 22"/>
                <a:gd name="T1" fmla="*/ 13 h 25"/>
                <a:gd name="T2" fmla="*/ 22 w 22"/>
                <a:gd name="T3" fmla="*/ 13 h 25"/>
                <a:gd name="T4" fmla="*/ 22 w 22"/>
                <a:gd name="T5" fmla="*/ 17 h 25"/>
                <a:gd name="T6" fmla="*/ 18 w 22"/>
                <a:gd name="T7" fmla="*/ 21 h 25"/>
                <a:gd name="T8" fmla="*/ 15 w 22"/>
                <a:gd name="T9" fmla="*/ 23 h 25"/>
                <a:gd name="T10" fmla="*/ 11 w 22"/>
                <a:gd name="T11" fmla="*/ 25 h 25"/>
                <a:gd name="T12" fmla="*/ 7 w 22"/>
                <a:gd name="T13" fmla="*/ 23 h 25"/>
                <a:gd name="T14" fmla="*/ 3 w 22"/>
                <a:gd name="T15" fmla="*/ 21 h 25"/>
                <a:gd name="T16" fmla="*/ 0 w 22"/>
                <a:gd name="T17" fmla="*/ 17 h 25"/>
                <a:gd name="T18" fmla="*/ 0 w 22"/>
                <a:gd name="T19" fmla="*/ 13 h 25"/>
                <a:gd name="T20" fmla="*/ 0 w 22"/>
                <a:gd name="T21" fmla="*/ 13 h 25"/>
                <a:gd name="T22" fmla="*/ 0 w 22"/>
                <a:gd name="T23" fmla="*/ 8 h 25"/>
                <a:gd name="T24" fmla="*/ 3 w 22"/>
                <a:gd name="T25" fmla="*/ 4 h 25"/>
                <a:gd name="T26" fmla="*/ 7 w 22"/>
                <a:gd name="T27" fmla="*/ 2 h 25"/>
                <a:gd name="T28" fmla="*/ 11 w 22"/>
                <a:gd name="T29" fmla="*/ 0 h 25"/>
                <a:gd name="T30" fmla="*/ 15 w 22"/>
                <a:gd name="T31" fmla="*/ 2 h 25"/>
                <a:gd name="T32" fmla="*/ 18 w 22"/>
                <a:gd name="T33" fmla="*/ 4 h 25"/>
                <a:gd name="T34" fmla="*/ 22 w 22"/>
                <a:gd name="T35" fmla="*/ 8 h 25"/>
                <a:gd name="T36" fmla="*/ 22 w 22"/>
                <a:gd name="T3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5">
                  <a:moveTo>
                    <a:pt x="22" y="13"/>
                  </a:moveTo>
                  <a:lnTo>
                    <a:pt x="22" y="13"/>
                  </a:lnTo>
                  <a:lnTo>
                    <a:pt x="22" y="17"/>
                  </a:lnTo>
                  <a:lnTo>
                    <a:pt x="18" y="21"/>
                  </a:lnTo>
                  <a:lnTo>
                    <a:pt x="15" y="23"/>
                  </a:lnTo>
                  <a:lnTo>
                    <a:pt x="11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8" y="4"/>
                  </a:lnTo>
                  <a:lnTo>
                    <a:pt x="22" y="8"/>
                  </a:lnTo>
                  <a:lnTo>
                    <a:pt x="22" y="13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4" name="Freeform 477">
              <a:extLst>
                <a:ext uri="{FF2B5EF4-FFF2-40B4-BE49-F238E27FC236}">
                  <a16:creationId xmlns:a16="http://schemas.microsoft.com/office/drawing/2014/main" id="{9C4BE705-6CFF-0C4C-9BB7-9E63BEB60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" y="2316"/>
              <a:ext cx="23" cy="22"/>
            </a:xfrm>
            <a:custGeom>
              <a:avLst/>
              <a:gdLst>
                <a:gd name="T0" fmla="*/ 23 w 23"/>
                <a:gd name="T1" fmla="*/ 11 h 22"/>
                <a:gd name="T2" fmla="*/ 23 w 23"/>
                <a:gd name="T3" fmla="*/ 11 h 22"/>
                <a:gd name="T4" fmla="*/ 23 w 23"/>
                <a:gd name="T5" fmla="*/ 17 h 22"/>
                <a:gd name="T6" fmla="*/ 19 w 23"/>
                <a:gd name="T7" fmla="*/ 20 h 22"/>
                <a:gd name="T8" fmla="*/ 15 w 23"/>
                <a:gd name="T9" fmla="*/ 22 h 22"/>
                <a:gd name="T10" fmla="*/ 12 w 23"/>
                <a:gd name="T11" fmla="*/ 22 h 22"/>
                <a:gd name="T12" fmla="*/ 8 w 23"/>
                <a:gd name="T13" fmla="*/ 22 h 22"/>
                <a:gd name="T14" fmla="*/ 4 w 23"/>
                <a:gd name="T15" fmla="*/ 20 h 22"/>
                <a:gd name="T16" fmla="*/ 0 w 23"/>
                <a:gd name="T17" fmla="*/ 17 h 22"/>
                <a:gd name="T18" fmla="*/ 0 w 23"/>
                <a:gd name="T19" fmla="*/ 11 h 22"/>
                <a:gd name="T20" fmla="*/ 0 w 23"/>
                <a:gd name="T21" fmla="*/ 11 h 22"/>
                <a:gd name="T22" fmla="*/ 0 w 23"/>
                <a:gd name="T23" fmla="*/ 7 h 22"/>
                <a:gd name="T24" fmla="*/ 4 w 23"/>
                <a:gd name="T25" fmla="*/ 3 h 22"/>
                <a:gd name="T26" fmla="*/ 8 w 23"/>
                <a:gd name="T27" fmla="*/ 0 h 22"/>
                <a:gd name="T28" fmla="*/ 12 w 23"/>
                <a:gd name="T29" fmla="*/ 0 h 22"/>
                <a:gd name="T30" fmla="*/ 15 w 23"/>
                <a:gd name="T31" fmla="*/ 0 h 22"/>
                <a:gd name="T32" fmla="*/ 19 w 23"/>
                <a:gd name="T33" fmla="*/ 3 h 22"/>
                <a:gd name="T34" fmla="*/ 23 w 23"/>
                <a:gd name="T35" fmla="*/ 7 h 22"/>
                <a:gd name="T36" fmla="*/ 23 w 23"/>
                <a:gd name="T37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2">
                  <a:moveTo>
                    <a:pt x="23" y="11"/>
                  </a:moveTo>
                  <a:lnTo>
                    <a:pt x="23" y="11"/>
                  </a:lnTo>
                  <a:lnTo>
                    <a:pt x="23" y="17"/>
                  </a:lnTo>
                  <a:lnTo>
                    <a:pt x="19" y="20"/>
                  </a:lnTo>
                  <a:lnTo>
                    <a:pt x="15" y="22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9" y="3"/>
                  </a:lnTo>
                  <a:lnTo>
                    <a:pt x="23" y="7"/>
                  </a:lnTo>
                  <a:lnTo>
                    <a:pt x="23" y="11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5" name="Freeform 478">
              <a:extLst>
                <a:ext uri="{FF2B5EF4-FFF2-40B4-BE49-F238E27FC236}">
                  <a16:creationId xmlns:a16="http://schemas.microsoft.com/office/drawing/2014/main" id="{C7FA59E9-3C92-DC01-ABFE-011DC4862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" y="2316"/>
              <a:ext cx="23" cy="22"/>
            </a:xfrm>
            <a:custGeom>
              <a:avLst/>
              <a:gdLst>
                <a:gd name="T0" fmla="*/ 23 w 23"/>
                <a:gd name="T1" fmla="*/ 11 h 22"/>
                <a:gd name="T2" fmla="*/ 23 w 23"/>
                <a:gd name="T3" fmla="*/ 11 h 22"/>
                <a:gd name="T4" fmla="*/ 23 w 23"/>
                <a:gd name="T5" fmla="*/ 17 h 22"/>
                <a:gd name="T6" fmla="*/ 19 w 23"/>
                <a:gd name="T7" fmla="*/ 20 h 22"/>
                <a:gd name="T8" fmla="*/ 15 w 23"/>
                <a:gd name="T9" fmla="*/ 22 h 22"/>
                <a:gd name="T10" fmla="*/ 12 w 23"/>
                <a:gd name="T11" fmla="*/ 22 h 22"/>
                <a:gd name="T12" fmla="*/ 8 w 23"/>
                <a:gd name="T13" fmla="*/ 22 h 22"/>
                <a:gd name="T14" fmla="*/ 4 w 23"/>
                <a:gd name="T15" fmla="*/ 20 h 22"/>
                <a:gd name="T16" fmla="*/ 0 w 23"/>
                <a:gd name="T17" fmla="*/ 17 h 22"/>
                <a:gd name="T18" fmla="*/ 0 w 23"/>
                <a:gd name="T19" fmla="*/ 11 h 22"/>
                <a:gd name="T20" fmla="*/ 0 w 23"/>
                <a:gd name="T21" fmla="*/ 11 h 22"/>
                <a:gd name="T22" fmla="*/ 0 w 23"/>
                <a:gd name="T23" fmla="*/ 7 h 22"/>
                <a:gd name="T24" fmla="*/ 4 w 23"/>
                <a:gd name="T25" fmla="*/ 3 h 22"/>
                <a:gd name="T26" fmla="*/ 8 w 23"/>
                <a:gd name="T27" fmla="*/ 0 h 22"/>
                <a:gd name="T28" fmla="*/ 12 w 23"/>
                <a:gd name="T29" fmla="*/ 0 h 22"/>
                <a:gd name="T30" fmla="*/ 15 w 23"/>
                <a:gd name="T31" fmla="*/ 0 h 22"/>
                <a:gd name="T32" fmla="*/ 19 w 23"/>
                <a:gd name="T33" fmla="*/ 3 h 22"/>
                <a:gd name="T34" fmla="*/ 23 w 23"/>
                <a:gd name="T35" fmla="*/ 7 h 22"/>
                <a:gd name="T36" fmla="*/ 23 w 23"/>
                <a:gd name="T37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2">
                  <a:moveTo>
                    <a:pt x="23" y="11"/>
                  </a:moveTo>
                  <a:lnTo>
                    <a:pt x="23" y="11"/>
                  </a:lnTo>
                  <a:lnTo>
                    <a:pt x="23" y="17"/>
                  </a:lnTo>
                  <a:lnTo>
                    <a:pt x="19" y="20"/>
                  </a:lnTo>
                  <a:lnTo>
                    <a:pt x="15" y="22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9" y="3"/>
                  </a:lnTo>
                  <a:lnTo>
                    <a:pt x="23" y="7"/>
                  </a:lnTo>
                  <a:lnTo>
                    <a:pt x="23" y="11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6" name="Freeform 479">
              <a:extLst>
                <a:ext uri="{FF2B5EF4-FFF2-40B4-BE49-F238E27FC236}">
                  <a16:creationId xmlns:a16="http://schemas.microsoft.com/office/drawing/2014/main" id="{2D19394F-D617-BF32-3972-A4DB9300E7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" y="2205"/>
              <a:ext cx="23" cy="24"/>
            </a:xfrm>
            <a:custGeom>
              <a:avLst/>
              <a:gdLst>
                <a:gd name="T0" fmla="*/ 23 w 23"/>
                <a:gd name="T1" fmla="*/ 11 h 24"/>
                <a:gd name="T2" fmla="*/ 23 w 23"/>
                <a:gd name="T3" fmla="*/ 11 h 24"/>
                <a:gd name="T4" fmla="*/ 21 w 23"/>
                <a:gd name="T5" fmla="*/ 17 h 24"/>
                <a:gd name="T6" fmla="*/ 19 w 23"/>
                <a:gd name="T7" fmla="*/ 20 h 24"/>
                <a:gd name="T8" fmla="*/ 15 w 23"/>
                <a:gd name="T9" fmla="*/ 22 h 24"/>
                <a:gd name="T10" fmla="*/ 11 w 23"/>
                <a:gd name="T11" fmla="*/ 24 h 24"/>
                <a:gd name="T12" fmla="*/ 6 w 23"/>
                <a:gd name="T13" fmla="*/ 22 h 24"/>
                <a:gd name="T14" fmla="*/ 2 w 23"/>
                <a:gd name="T15" fmla="*/ 20 h 24"/>
                <a:gd name="T16" fmla="*/ 0 w 23"/>
                <a:gd name="T17" fmla="*/ 17 h 24"/>
                <a:gd name="T18" fmla="*/ 0 w 23"/>
                <a:gd name="T19" fmla="*/ 11 h 24"/>
                <a:gd name="T20" fmla="*/ 0 w 23"/>
                <a:gd name="T21" fmla="*/ 11 h 24"/>
                <a:gd name="T22" fmla="*/ 0 w 23"/>
                <a:gd name="T23" fmla="*/ 7 h 24"/>
                <a:gd name="T24" fmla="*/ 2 w 23"/>
                <a:gd name="T25" fmla="*/ 3 h 24"/>
                <a:gd name="T26" fmla="*/ 6 w 23"/>
                <a:gd name="T27" fmla="*/ 2 h 24"/>
                <a:gd name="T28" fmla="*/ 11 w 23"/>
                <a:gd name="T29" fmla="*/ 0 h 24"/>
                <a:gd name="T30" fmla="*/ 15 w 23"/>
                <a:gd name="T31" fmla="*/ 2 h 24"/>
                <a:gd name="T32" fmla="*/ 19 w 23"/>
                <a:gd name="T33" fmla="*/ 3 h 24"/>
                <a:gd name="T34" fmla="*/ 21 w 23"/>
                <a:gd name="T35" fmla="*/ 7 h 24"/>
                <a:gd name="T36" fmla="*/ 23 w 23"/>
                <a:gd name="T37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4">
                  <a:moveTo>
                    <a:pt x="23" y="11"/>
                  </a:moveTo>
                  <a:lnTo>
                    <a:pt x="23" y="11"/>
                  </a:lnTo>
                  <a:lnTo>
                    <a:pt x="21" y="17"/>
                  </a:lnTo>
                  <a:lnTo>
                    <a:pt x="19" y="20"/>
                  </a:lnTo>
                  <a:lnTo>
                    <a:pt x="15" y="22"/>
                  </a:lnTo>
                  <a:lnTo>
                    <a:pt x="11" y="24"/>
                  </a:lnTo>
                  <a:lnTo>
                    <a:pt x="6" y="22"/>
                  </a:lnTo>
                  <a:lnTo>
                    <a:pt x="2" y="20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2" y="3"/>
                  </a:lnTo>
                  <a:lnTo>
                    <a:pt x="6" y="2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9" y="3"/>
                  </a:lnTo>
                  <a:lnTo>
                    <a:pt x="21" y="7"/>
                  </a:lnTo>
                  <a:lnTo>
                    <a:pt x="23" y="11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7" name="Freeform 480">
              <a:extLst>
                <a:ext uri="{FF2B5EF4-FFF2-40B4-BE49-F238E27FC236}">
                  <a16:creationId xmlns:a16="http://schemas.microsoft.com/office/drawing/2014/main" id="{8A3430BC-00F7-81AB-ADAC-04E22FC48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" y="2205"/>
              <a:ext cx="23" cy="24"/>
            </a:xfrm>
            <a:custGeom>
              <a:avLst/>
              <a:gdLst>
                <a:gd name="T0" fmla="*/ 23 w 23"/>
                <a:gd name="T1" fmla="*/ 11 h 24"/>
                <a:gd name="T2" fmla="*/ 23 w 23"/>
                <a:gd name="T3" fmla="*/ 11 h 24"/>
                <a:gd name="T4" fmla="*/ 21 w 23"/>
                <a:gd name="T5" fmla="*/ 17 h 24"/>
                <a:gd name="T6" fmla="*/ 19 w 23"/>
                <a:gd name="T7" fmla="*/ 20 h 24"/>
                <a:gd name="T8" fmla="*/ 15 w 23"/>
                <a:gd name="T9" fmla="*/ 22 h 24"/>
                <a:gd name="T10" fmla="*/ 11 w 23"/>
                <a:gd name="T11" fmla="*/ 24 h 24"/>
                <a:gd name="T12" fmla="*/ 6 w 23"/>
                <a:gd name="T13" fmla="*/ 22 h 24"/>
                <a:gd name="T14" fmla="*/ 2 w 23"/>
                <a:gd name="T15" fmla="*/ 20 h 24"/>
                <a:gd name="T16" fmla="*/ 0 w 23"/>
                <a:gd name="T17" fmla="*/ 17 h 24"/>
                <a:gd name="T18" fmla="*/ 0 w 23"/>
                <a:gd name="T19" fmla="*/ 11 h 24"/>
                <a:gd name="T20" fmla="*/ 0 w 23"/>
                <a:gd name="T21" fmla="*/ 11 h 24"/>
                <a:gd name="T22" fmla="*/ 0 w 23"/>
                <a:gd name="T23" fmla="*/ 7 h 24"/>
                <a:gd name="T24" fmla="*/ 2 w 23"/>
                <a:gd name="T25" fmla="*/ 3 h 24"/>
                <a:gd name="T26" fmla="*/ 6 w 23"/>
                <a:gd name="T27" fmla="*/ 2 h 24"/>
                <a:gd name="T28" fmla="*/ 11 w 23"/>
                <a:gd name="T29" fmla="*/ 0 h 24"/>
                <a:gd name="T30" fmla="*/ 15 w 23"/>
                <a:gd name="T31" fmla="*/ 2 h 24"/>
                <a:gd name="T32" fmla="*/ 19 w 23"/>
                <a:gd name="T33" fmla="*/ 3 h 24"/>
                <a:gd name="T34" fmla="*/ 21 w 23"/>
                <a:gd name="T35" fmla="*/ 7 h 24"/>
                <a:gd name="T36" fmla="*/ 23 w 23"/>
                <a:gd name="T37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4">
                  <a:moveTo>
                    <a:pt x="23" y="11"/>
                  </a:moveTo>
                  <a:lnTo>
                    <a:pt x="23" y="11"/>
                  </a:lnTo>
                  <a:lnTo>
                    <a:pt x="21" y="17"/>
                  </a:lnTo>
                  <a:lnTo>
                    <a:pt x="19" y="20"/>
                  </a:lnTo>
                  <a:lnTo>
                    <a:pt x="15" y="22"/>
                  </a:lnTo>
                  <a:lnTo>
                    <a:pt x="11" y="24"/>
                  </a:lnTo>
                  <a:lnTo>
                    <a:pt x="6" y="22"/>
                  </a:lnTo>
                  <a:lnTo>
                    <a:pt x="2" y="20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2" y="3"/>
                  </a:lnTo>
                  <a:lnTo>
                    <a:pt x="6" y="2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9" y="3"/>
                  </a:lnTo>
                  <a:lnTo>
                    <a:pt x="21" y="7"/>
                  </a:lnTo>
                  <a:lnTo>
                    <a:pt x="23" y="11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8" name="Freeform 481">
              <a:extLst>
                <a:ext uri="{FF2B5EF4-FFF2-40B4-BE49-F238E27FC236}">
                  <a16:creationId xmlns:a16="http://schemas.microsoft.com/office/drawing/2014/main" id="{B0588739-8F59-4B54-E284-34A2A21B46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" y="2618"/>
              <a:ext cx="25" cy="2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7 h 23"/>
                <a:gd name="T6" fmla="*/ 21 w 25"/>
                <a:gd name="T7" fmla="*/ 21 h 23"/>
                <a:gd name="T8" fmla="*/ 17 w 25"/>
                <a:gd name="T9" fmla="*/ 23 h 23"/>
                <a:gd name="T10" fmla="*/ 13 w 25"/>
                <a:gd name="T11" fmla="*/ 23 h 23"/>
                <a:gd name="T12" fmla="*/ 8 w 25"/>
                <a:gd name="T13" fmla="*/ 23 h 23"/>
                <a:gd name="T14" fmla="*/ 4 w 25"/>
                <a:gd name="T15" fmla="*/ 21 h 23"/>
                <a:gd name="T16" fmla="*/ 2 w 25"/>
                <a:gd name="T17" fmla="*/ 17 h 23"/>
                <a:gd name="T18" fmla="*/ 0 w 25"/>
                <a:gd name="T19" fmla="*/ 12 h 23"/>
                <a:gd name="T20" fmla="*/ 0 w 25"/>
                <a:gd name="T21" fmla="*/ 12 h 23"/>
                <a:gd name="T22" fmla="*/ 2 w 25"/>
                <a:gd name="T23" fmla="*/ 6 h 23"/>
                <a:gd name="T24" fmla="*/ 4 w 25"/>
                <a:gd name="T25" fmla="*/ 2 h 23"/>
                <a:gd name="T26" fmla="*/ 8 w 25"/>
                <a:gd name="T27" fmla="*/ 0 h 23"/>
                <a:gd name="T28" fmla="*/ 13 w 25"/>
                <a:gd name="T29" fmla="*/ 0 h 23"/>
                <a:gd name="T30" fmla="*/ 17 w 25"/>
                <a:gd name="T31" fmla="*/ 0 h 23"/>
                <a:gd name="T32" fmla="*/ 21 w 25"/>
                <a:gd name="T33" fmla="*/ 2 h 23"/>
                <a:gd name="T34" fmla="*/ 23 w 25"/>
                <a:gd name="T35" fmla="*/ 6 h 23"/>
                <a:gd name="T36" fmla="*/ 25 w 25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5" y="12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99" name="Freeform 482">
              <a:extLst>
                <a:ext uri="{FF2B5EF4-FFF2-40B4-BE49-F238E27FC236}">
                  <a16:creationId xmlns:a16="http://schemas.microsoft.com/office/drawing/2014/main" id="{959BC610-C6B0-4A96-196A-E477597A5C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" y="2618"/>
              <a:ext cx="25" cy="2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7 h 23"/>
                <a:gd name="T6" fmla="*/ 21 w 25"/>
                <a:gd name="T7" fmla="*/ 21 h 23"/>
                <a:gd name="T8" fmla="*/ 17 w 25"/>
                <a:gd name="T9" fmla="*/ 23 h 23"/>
                <a:gd name="T10" fmla="*/ 13 w 25"/>
                <a:gd name="T11" fmla="*/ 23 h 23"/>
                <a:gd name="T12" fmla="*/ 8 w 25"/>
                <a:gd name="T13" fmla="*/ 23 h 23"/>
                <a:gd name="T14" fmla="*/ 4 w 25"/>
                <a:gd name="T15" fmla="*/ 21 h 23"/>
                <a:gd name="T16" fmla="*/ 2 w 25"/>
                <a:gd name="T17" fmla="*/ 17 h 23"/>
                <a:gd name="T18" fmla="*/ 0 w 25"/>
                <a:gd name="T19" fmla="*/ 12 h 23"/>
                <a:gd name="T20" fmla="*/ 0 w 25"/>
                <a:gd name="T21" fmla="*/ 12 h 23"/>
                <a:gd name="T22" fmla="*/ 2 w 25"/>
                <a:gd name="T23" fmla="*/ 6 h 23"/>
                <a:gd name="T24" fmla="*/ 4 w 25"/>
                <a:gd name="T25" fmla="*/ 2 h 23"/>
                <a:gd name="T26" fmla="*/ 8 w 25"/>
                <a:gd name="T27" fmla="*/ 0 h 23"/>
                <a:gd name="T28" fmla="*/ 13 w 25"/>
                <a:gd name="T29" fmla="*/ 0 h 23"/>
                <a:gd name="T30" fmla="*/ 17 w 25"/>
                <a:gd name="T31" fmla="*/ 0 h 23"/>
                <a:gd name="T32" fmla="*/ 21 w 25"/>
                <a:gd name="T33" fmla="*/ 2 h 23"/>
                <a:gd name="T34" fmla="*/ 23 w 25"/>
                <a:gd name="T35" fmla="*/ 6 h 23"/>
                <a:gd name="T36" fmla="*/ 25 w 25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5" y="12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0" name="Freeform 483">
              <a:extLst>
                <a:ext uri="{FF2B5EF4-FFF2-40B4-BE49-F238E27FC236}">
                  <a16:creationId xmlns:a16="http://schemas.microsoft.com/office/drawing/2014/main" id="{7E9D614A-803E-F7A2-5990-ABDAA47D8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" y="2618"/>
              <a:ext cx="24" cy="2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2 w 24"/>
                <a:gd name="T5" fmla="*/ 17 h 23"/>
                <a:gd name="T6" fmla="*/ 20 w 24"/>
                <a:gd name="T7" fmla="*/ 21 h 23"/>
                <a:gd name="T8" fmla="*/ 17 w 24"/>
                <a:gd name="T9" fmla="*/ 23 h 23"/>
                <a:gd name="T10" fmla="*/ 11 w 24"/>
                <a:gd name="T11" fmla="*/ 23 h 23"/>
                <a:gd name="T12" fmla="*/ 7 w 24"/>
                <a:gd name="T13" fmla="*/ 23 h 23"/>
                <a:gd name="T14" fmla="*/ 3 w 24"/>
                <a:gd name="T15" fmla="*/ 21 h 23"/>
                <a:gd name="T16" fmla="*/ 2 w 24"/>
                <a:gd name="T17" fmla="*/ 17 h 23"/>
                <a:gd name="T18" fmla="*/ 0 w 24"/>
                <a:gd name="T19" fmla="*/ 12 h 23"/>
                <a:gd name="T20" fmla="*/ 0 w 24"/>
                <a:gd name="T21" fmla="*/ 12 h 23"/>
                <a:gd name="T22" fmla="*/ 2 w 24"/>
                <a:gd name="T23" fmla="*/ 6 h 23"/>
                <a:gd name="T24" fmla="*/ 3 w 24"/>
                <a:gd name="T25" fmla="*/ 2 h 23"/>
                <a:gd name="T26" fmla="*/ 7 w 24"/>
                <a:gd name="T27" fmla="*/ 0 h 23"/>
                <a:gd name="T28" fmla="*/ 11 w 24"/>
                <a:gd name="T29" fmla="*/ 0 h 23"/>
                <a:gd name="T30" fmla="*/ 17 w 24"/>
                <a:gd name="T31" fmla="*/ 0 h 23"/>
                <a:gd name="T32" fmla="*/ 20 w 24"/>
                <a:gd name="T33" fmla="*/ 2 h 23"/>
                <a:gd name="T34" fmla="*/ 22 w 24"/>
                <a:gd name="T35" fmla="*/ 6 h 23"/>
                <a:gd name="T36" fmla="*/ 24 w 24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2" y="6"/>
                  </a:lnTo>
                  <a:lnTo>
                    <a:pt x="24" y="12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1" name="Freeform 484">
              <a:extLst>
                <a:ext uri="{FF2B5EF4-FFF2-40B4-BE49-F238E27FC236}">
                  <a16:creationId xmlns:a16="http://schemas.microsoft.com/office/drawing/2014/main" id="{5D7DABA2-7B05-FCE4-77C1-8ECE2015D0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" y="2618"/>
              <a:ext cx="24" cy="2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2 w 24"/>
                <a:gd name="T5" fmla="*/ 17 h 23"/>
                <a:gd name="T6" fmla="*/ 20 w 24"/>
                <a:gd name="T7" fmla="*/ 21 h 23"/>
                <a:gd name="T8" fmla="*/ 17 w 24"/>
                <a:gd name="T9" fmla="*/ 23 h 23"/>
                <a:gd name="T10" fmla="*/ 11 w 24"/>
                <a:gd name="T11" fmla="*/ 23 h 23"/>
                <a:gd name="T12" fmla="*/ 7 w 24"/>
                <a:gd name="T13" fmla="*/ 23 h 23"/>
                <a:gd name="T14" fmla="*/ 3 w 24"/>
                <a:gd name="T15" fmla="*/ 21 h 23"/>
                <a:gd name="T16" fmla="*/ 2 w 24"/>
                <a:gd name="T17" fmla="*/ 17 h 23"/>
                <a:gd name="T18" fmla="*/ 0 w 24"/>
                <a:gd name="T19" fmla="*/ 12 h 23"/>
                <a:gd name="T20" fmla="*/ 0 w 24"/>
                <a:gd name="T21" fmla="*/ 12 h 23"/>
                <a:gd name="T22" fmla="*/ 2 w 24"/>
                <a:gd name="T23" fmla="*/ 6 h 23"/>
                <a:gd name="T24" fmla="*/ 3 w 24"/>
                <a:gd name="T25" fmla="*/ 2 h 23"/>
                <a:gd name="T26" fmla="*/ 7 w 24"/>
                <a:gd name="T27" fmla="*/ 0 h 23"/>
                <a:gd name="T28" fmla="*/ 11 w 24"/>
                <a:gd name="T29" fmla="*/ 0 h 23"/>
                <a:gd name="T30" fmla="*/ 17 w 24"/>
                <a:gd name="T31" fmla="*/ 0 h 23"/>
                <a:gd name="T32" fmla="*/ 20 w 24"/>
                <a:gd name="T33" fmla="*/ 2 h 23"/>
                <a:gd name="T34" fmla="*/ 22 w 24"/>
                <a:gd name="T35" fmla="*/ 6 h 23"/>
                <a:gd name="T36" fmla="*/ 24 w 24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2" y="6"/>
                  </a:lnTo>
                  <a:lnTo>
                    <a:pt x="24" y="12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2" name="Freeform 485">
              <a:extLst>
                <a:ext uri="{FF2B5EF4-FFF2-40B4-BE49-F238E27FC236}">
                  <a16:creationId xmlns:a16="http://schemas.microsoft.com/office/drawing/2014/main" id="{F58928B5-015B-5CC9-FEA6-9406B9B92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1" y="2201"/>
              <a:ext cx="23" cy="23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1 h 23"/>
                <a:gd name="T20" fmla="*/ 0 w 23"/>
                <a:gd name="T21" fmla="*/ 11 h 23"/>
                <a:gd name="T22" fmla="*/ 0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1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3" name="Freeform 486">
              <a:extLst>
                <a:ext uri="{FF2B5EF4-FFF2-40B4-BE49-F238E27FC236}">
                  <a16:creationId xmlns:a16="http://schemas.microsoft.com/office/drawing/2014/main" id="{068E20AF-6BB2-26C9-9042-20B197643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1" y="2201"/>
              <a:ext cx="23" cy="23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1 h 23"/>
                <a:gd name="T20" fmla="*/ 0 w 23"/>
                <a:gd name="T21" fmla="*/ 11 h 23"/>
                <a:gd name="T22" fmla="*/ 0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1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4" name="Freeform 487">
              <a:extLst>
                <a:ext uri="{FF2B5EF4-FFF2-40B4-BE49-F238E27FC236}">
                  <a16:creationId xmlns:a16="http://schemas.microsoft.com/office/drawing/2014/main" id="{412F5665-3971-CDF5-A609-0D7BA61C4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1" y="2107"/>
              <a:ext cx="24" cy="23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2 w 24"/>
                <a:gd name="T5" fmla="*/ 17 h 23"/>
                <a:gd name="T6" fmla="*/ 21 w 24"/>
                <a:gd name="T7" fmla="*/ 21 h 23"/>
                <a:gd name="T8" fmla="*/ 17 w 24"/>
                <a:gd name="T9" fmla="*/ 23 h 23"/>
                <a:gd name="T10" fmla="*/ 13 w 24"/>
                <a:gd name="T11" fmla="*/ 23 h 23"/>
                <a:gd name="T12" fmla="*/ 7 w 24"/>
                <a:gd name="T13" fmla="*/ 23 h 23"/>
                <a:gd name="T14" fmla="*/ 4 w 24"/>
                <a:gd name="T15" fmla="*/ 21 h 23"/>
                <a:gd name="T16" fmla="*/ 2 w 24"/>
                <a:gd name="T17" fmla="*/ 17 h 23"/>
                <a:gd name="T18" fmla="*/ 0 w 24"/>
                <a:gd name="T19" fmla="*/ 11 h 23"/>
                <a:gd name="T20" fmla="*/ 0 w 24"/>
                <a:gd name="T21" fmla="*/ 11 h 23"/>
                <a:gd name="T22" fmla="*/ 2 w 24"/>
                <a:gd name="T23" fmla="*/ 6 h 23"/>
                <a:gd name="T24" fmla="*/ 4 w 24"/>
                <a:gd name="T25" fmla="*/ 2 h 23"/>
                <a:gd name="T26" fmla="*/ 7 w 24"/>
                <a:gd name="T27" fmla="*/ 0 h 23"/>
                <a:gd name="T28" fmla="*/ 13 w 24"/>
                <a:gd name="T29" fmla="*/ 0 h 23"/>
                <a:gd name="T30" fmla="*/ 17 w 24"/>
                <a:gd name="T31" fmla="*/ 0 h 23"/>
                <a:gd name="T32" fmla="*/ 21 w 24"/>
                <a:gd name="T33" fmla="*/ 2 h 23"/>
                <a:gd name="T34" fmla="*/ 22 w 24"/>
                <a:gd name="T35" fmla="*/ 6 h 23"/>
                <a:gd name="T36" fmla="*/ 24 w 24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2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6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2" y="6"/>
                  </a:lnTo>
                  <a:lnTo>
                    <a:pt x="24" y="11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5" name="Freeform 488">
              <a:extLst>
                <a:ext uri="{FF2B5EF4-FFF2-40B4-BE49-F238E27FC236}">
                  <a16:creationId xmlns:a16="http://schemas.microsoft.com/office/drawing/2014/main" id="{6F48735C-2FE7-99FF-A529-390DA3B8B8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1" y="2107"/>
              <a:ext cx="24" cy="23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2 w 24"/>
                <a:gd name="T5" fmla="*/ 17 h 23"/>
                <a:gd name="T6" fmla="*/ 21 w 24"/>
                <a:gd name="T7" fmla="*/ 21 h 23"/>
                <a:gd name="T8" fmla="*/ 17 w 24"/>
                <a:gd name="T9" fmla="*/ 23 h 23"/>
                <a:gd name="T10" fmla="*/ 13 w 24"/>
                <a:gd name="T11" fmla="*/ 23 h 23"/>
                <a:gd name="T12" fmla="*/ 7 w 24"/>
                <a:gd name="T13" fmla="*/ 23 h 23"/>
                <a:gd name="T14" fmla="*/ 4 w 24"/>
                <a:gd name="T15" fmla="*/ 21 h 23"/>
                <a:gd name="T16" fmla="*/ 2 w 24"/>
                <a:gd name="T17" fmla="*/ 17 h 23"/>
                <a:gd name="T18" fmla="*/ 0 w 24"/>
                <a:gd name="T19" fmla="*/ 11 h 23"/>
                <a:gd name="T20" fmla="*/ 0 w 24"/>
                <a:gd name="T21" fmla="*/ 11 h 23"/>
                <a:gd name="T22" fmla="*/ 2 w 24"/>
                <a:gd name="T23" fmla="*/ 6 h 23"/>
                <a:gd name="T24" fmla="*/ 4 w 24"/>
                <a:gd name="T25" fmla="*/ 2 h 23"/>
                <a:gd name="T26" fmla="*/ 7 w 24"/>
                <a:gd name="T27" fmla="*/ 0 h 23"/>
                <a:gd name="T28" fmla="*/ 13 w 24"/>
                <a:gd name="T29" fmla="*/ 0 h 23"/>
                <a:gd name="T30" fmla="*/ 17 w 24"/>
                <a:gd name="T31" fmla="*/ 0 h 23"/>
                <a:gd name="T32" fmla="*/ 21 w 24"/>
                <a:gd name="T33" fmla="*/ 2 h 23"/>
                <a:gd name="T34" fmla="*/ 22 w 24"/>
                <a:gd name="T35" fmla="*/ 6 h 23"/>
                <a:gd name="T36" fmla="*/ 24 w 24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2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6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2" y="6"/>
                  </a:lnTo>
                  <a:lnTo>
                    <a:pt x="24" y="11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6" name="Freeform 489">
              <a:extLst>
                <a:ext uri="{FF2B5EF4-FFF2-40B4-BE49-F238E27FC236}">
                  <a16:creationId xmlns:a16="http://schemas.microsoft.com/office/drawing/2014/main" id="{62D2BFD3-3EB3-D755-3E42-94475F7FB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2" y="2271"/>
              <a:ext cx="25" cy="22"/>
            </a:xfrm>
            <a:custGeom>
              <a:avLst/>
              <a:gdLst>
                <a:gd name="T0" fmla="*/ 25 w 25"/>
                <a:gd name="T1" fmla="*/ 11 h 22"/>
                <a:gd name="T2" fmla="*/ 25 w 25"/>
                <a:gd name="T3" fmla="*/ 11 h 22"/>
                <a:gd name="T4" fmla="*/ 23 w 25"/>
                <a:gd name="T5" fmla="*/ 16 h 22"/>
                <a:gd name="T6" fmla="*/ 21 w 25"/>
                <a:gd name="T7" fmla="*/ 20 h 22"/>
                <a:gd name="T8" fmla="*/ 17 w 25"/>
                <a:gd name="T9" fmla="*/ 22 h 22"/>
                <a:gd name="T10" fmla="*/ 12 w 25"/>
                <a:gd name="T11" fmla="*/ 22 h 22"/>
                <a:gd name="T12" fmla="*/ 8 w 25"/>
                <a:gd name="T13" fmla="*/ 22 h 22"/>
                <a:gd name="T14" fmla="*/ 4 w 25"/>
                <a:gd name="T15" fmla="*/ 20 h 22"/>
                <a:gd name="T16" fmla="*/ 2 w 25"/>
                <a:gd name="T17" fmla="*/ 16 h 22"/>
                <a:gd name="T18" fmla="*/ 0 w 25"/>
                <a:gd name="T19" fmla="*/ 11 h 22"/>
                <a:gd name="T20" fmla="*/ 0 w 25"/>
                <a:gd name="T21" fmla="*/ 11 h 22"/>
                <a:gd name="T22" fmla="*/ 2 w 25"/>
                <a:gd name="T23" fmla="*/ 5 h 22"/>
                <a:gd name="T24" fmla="*/ 4 w 25"/>
                <a:gd name="T25" fmla="*/ 1 h 22"/>
                <a:gd name="T26" fmla="*/ 8 w 25"/>
                <a:gd name="T27" fmla="*/ 0 h 22"/>
                <a:gd name="T28" fmla="*/ 12 w 25"/>
                <a:gd name="T29" fmla="*/ 0 h 22"/>
                <a:gd name="T30" fmla="*/ 17 w 25"/>
                <a:gd name="T31" fmla="*/ 0 h 22"/>
                <a:gd name="T32" fmla="*/ 21 w 25"/>
                <a:gd name="T33" fmla="*/ 1 h 22"/>
                <a:gd name="T34" fmla="*/ 23 w 25"/>
                <a:gd name="T35" fmla="*/ 5 h 22"/>
                <a:gd name="T36" fmla="*/ 25 w 25"/>
                <a:gd name="T37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2">
                  <a:moveTo>
                    <a:pt x="25" y="11"/>
                  </a:moveTo>
                  <a:lnTo>
                    <a:pt x="25" y="11"/>
                  </a:lnTo>
                  <a:lnTo>
                    <a:pt x="23" y="16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2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5"/>
                  </a:lnTo>
                  <a:lnTo>
                    <a:pt x="4" y="1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1"/>
                  </a:lnTo>
                  <a:lnTo>
                    <a:pt x="23" y="5"/>
                  </a:lnTo>
                  <a:lnTo>
                    <a:pt x="25" y="11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7" name="Freeform 490">
              <a:extLst>
                <a:ext uri="{FF2B5EF4-FFF2-40B4-BE49-F238E27FC236}">
                  <a16:creationId xmlns:a16="http://schemas.microsoft.com/office/drawing/2014/main" id="{8F20EBF9-FC48-5C03-C3B4-0211FF39E0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2" y="2271"/>
              <a:ext cx="25" cy="22"/>
            </a:xfrm>
            <a:custGeom>
              <a:avLst/>
              <a:gdLst>
                <a:gd name="T0" fmla="*/ 25 w 25"/>
                <a:gd name="T1" fmla="*/ 11 h 22"/>
                <a:gd name="T2" fmla="*/ 25 w 25"/>
                <a:gd name="T3" fmla="*/ 11 h 22"/>
                <a:gd name="T4" fmla="*/ 23 w 25"/>
                <a:gd name="T5" fmla="*/ 16 h 22"/>
                <a:gd name="T6" fmla="*/ 21 w 25"/>
                <a:gd name="T7" fmla="*/ 20 h 22"/>
                <a:gd name="T8" fmla="*/ 17 w 25"/>
                <a:gd name="T9" fmla="*/ 22 h 22"/>
                <a:gd name="T10" fmla="*/ 12 w 25"/>
                <a:gd name="T11" fmla="*/ 22 h 22"/>
                <a:gd name="T12" fmla="*/ 8 w 25"/>
                <a:gd name="T13" fmla="*/ 22 h 22"/>
                <a:gd name="T14" fmla="*/ 4 w 25"/>
                <a:gd name="T15" fmla="*/ 20 h 22"/>
                <a:gd name="T16" fmla="*/ 2 w 25"/>
                <a:gd name="T17" fmla="*/ 16 h 22"/>
                <a:gd name="T18" fmla="*/ 0 w 25"/>
                <a:gd name="T19" fmla="*/ 11 h 22"/>
                <a:gd name="T20" fmla="*/ 0 w 25"/>
                <a:gd name="T21" fmla="*/ 11 h 22"/>
                <a:gd name="T22" fmla="*/ 2 w 25"/>
                <a:gd name="T23" fmla="*/ 5 h 22"/>
                <a:gd name="T24" fmla="*/ 4 w 25"/>
                <a:gd name="T25" fmla="*/ 1 h 22"/>
                <a:gd name="T26" fmla="*/ 8 w 25"/>
                <a:gd name="T27" fmla="*/ 0 h 22"/>
                <a:gd name="T28" fmla="*/ 12 w 25"/>
                <a:gd name="T29" fmla="*/ 0 h 22"/>
                <a:gd name="T30" fmla="*/ 17 w 25"/>
                <a:gd name="T31" fmla="*/ 0 h 22"/>
                <a:gd name="T32" fmla="*/ 21 w 25"/>
                <a:gd name="T33" fmla="*/ 1 h 22"/>
                <a:gd name="T34" fmla="*/ 23 w 25"/>
                <a:gd name="T35" fmla="*/ 5 h 22"/>
                <a:gd name="T36" fmla="*/ 25 w 25"/>
                <a:gd name="T37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2">
                  <a:moveTo>
                    <a:pt x="25" y="11"/>
                  </a:moveTo>
                  <a:lnTo>
                    <a:pt x="25" y="11"/>
                  </a:lnTo>
                  <a:lnTo>
                    <a:pt x="23" y="16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2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5"/>
                  </a:lnTo>
                  <a:lnTo>
                    <a:pt x="4" y="1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1"/>
                  </a:lnTo>
                  <a:lnTo>
                    <a:pt x="23" y="5"/>
                  </a:lnTo>
                  <a:lnTo>
                    <a:pt x="25" y="11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8" name="Freeform 491">
              <a:extLst>
                <a:ext uri="{FF2B5EF4-FFF2-40B4-BE49-F238E27FC236}">
                  <a16:creationId xmlns:a16="http://schemas.microsoft.com/office/drawing/2014/main" id="{E66587A4-FC68-FDBC-539F-6E4DE6BDB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4" y="2293"/>
              <a:ext cx="23" cy="25"/>
            </a:xfrm>
            <a:custGeom>
              <a:avLst/>
              <a:gdLst>
                <a:gd name="T0" fmla="*/ 23 w 23"/>
                <a:gd name="T1" fmla="*/ 11 h 25"/>
                <a:gd name="T2" fmla="*/ 23 w 23"/>
                <a:gd name="T3" fmla="*/ 11 h 25"/>
                <a:gd name="T4" fmla="*/ 23 w 23"/>
                <a:gd name="T5" fmla="*/ 17 h 25"/>
                <a:gd name="T6" fmla="*/ 19 w 23"/>
                <a:gd name="T7" fmla="*/ 21 h 25"/>
                <a:gd name="T8" fmla="*/ 15 w 23"/>
                <a:gd name="T9" fmla="*/ 23 h 25"/>
                <a:gd name="T10" fmla="*/ 11 w 23"/>
                <a:gd name="T11" fmla="*/ 25 h 25"/>
                <a:gd name="T12" fmla="*/ 8 w 23"/>
                <a:gd name="T13" fmla="*/ 23 h 25"/>
                <a:gd name="T14" fmla="*/ 4 w 23"/>
                <a:gd name="T15" fmla="*/ 21 h 25"/>
                <a:gd name="T16" fmla="*/ 0 w 23"/>
                <a:gd name="T17" fmla="*/ 17 h 25"/>
                <a:gd name="T18" fmla="*/ 0 w 23"/>
                <a:gd name="T19" fmla="*/ 11 h 25"/>
                <a:gd name="T20" fmla="*/ 0 w 23"/>
                <a:gd name="T21" fmla="*/ 11 h 25"/>
                <a:gd name="T22" fmla="*/ 0 w 23"/>
                <a:gd name="T23" fmla="*/ 8 h 25"/>
                <a:gd name="T24" fmla="*/ 4 w 23"/>
                <a:gd name="T25" fmla="*/ 4 h 25"/>
                <a:gd name="T26" fmla="*/ 8 w 23"/>
                <a:gd name="T27" fmla="*/ 2 h 25"/>
                <a:gd name="T28" fmla="*/ 11 w 23"/>
                <a:gd name="T29" fmla="*/ 0 h 25"/>
                <a:gd name="T30" fmla="*/ 15 w 23"/>
                <a:gd name="T31" fmla="*/ 2 h 25"/>
                <a:gd name="T32" fmla="*/ 19 w 23"/>
                <a:gd name="T33" fmla="*/ 4 h 25"/>
                <a:gd name="T34" fmla="*/ 23 w 23"/>
                <a:gd name="T35" fmla="*/ 8 h 25"/>
                <a:gd name="T36" fmla="*/ 23 w 23"/>
                <a:gd name="T37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5">
                  <a:moveTo>
                    <a:pt x="23" y="11"/>
                  </a:moveTo>
                  <a:lnTo>
                    <a:pt x="23" y="11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5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1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9" name="Freeform 492">
              <a:extLst>
                <a:ext uri="{FF2B5EF4-FFF2-40B4-BE49-F238E27FC236}">
                  <a16:creationId xmlns:a16="http://schemas.microsoft.com/office/drawing/2014/main" id="{E6869AE2-A43B-3A2F-F243-0484E6DFD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4" y="2293"/>
              <a:ext cx="23" cy="25"/>
            </a:xfrm>
            <a:custGeom>
              <a:avLst/>
              <a:gdLst>
                <a:gd name="T0" fmla="*/ 23 w 23"/>
                <a:gd name="T1" fmla="*/ 11 h 25"/>
                <a:gd name="T2" fmla="*/ 23 w 23"/>
                <a:gd name="T3" fmla="*/ 11 h 25"/>
                <a:gd name="T4" fmla="*/ 23 w 23"/>
                <a:gd name="T5" fmla="*/ 17 h 25"/>
                <a:gd name="T6" fmla="*/ 19 w 23"/>
                <a:gd name="T7" fmla="*/ 21 h 25"/>
                <a:gd name="T8" fmla="*/ 15 w 23"/>
                <a:gd name="T9" fmla="*/ 23 h 25"/>
                <a:gd name="T10" fmla="*/ 11 w 23"/>
                <a:gd name="T11" fmla="*/ 25 h 25"/>
                <a:gd name="T12" fmla="*/ 8 w 23"/>
                <a:gd name="T13" fmla="*/ 23 h 25"/>
                <a:gd name="T14" fmla="*/ 4 w 23"/>
                <a:gd name="T15" fmla="*/ 21 h 25"/>
                <a:gd name="T16" fmla="*/ 0 w 23"/>
                <a:gd name="T17" fmla="*/ 17 h 25"/>
                <a:gd name="T18" fmla="*/ 0 w 23"/>
                <a:gd name="T19" fmla="*/ 11 h 25"/>
                <a:gd name="T20" fmla="*/ 0 w 23"/>
                <a:gd name="T21" fmla="*/ 11 h 25"/>
                <a:gd name="T22" fmla="*/ 0 w 23"/>
                <a:gd name="T23" fmla="*/ 8 h 25"/>
                <a:gd name="T24" fmla="*/ 4 w 23"/>
                <a:gd name="T25" fmla="*/ 4 h 25"/>
                <a:gd name="T26" fmla="*/ 8 w 23"/>
                <a:gd name="T27" fmla="*/ 2 h 25"/>
                <a:gd name="T28" fmla="*/ 11 w 23"/>
                <a:gd name="T29" fmla="*/ 0 h 25"/>
                <a:gd name="T30" fmla="*/ 15 w 23"/>
                <a:gd name="T31" fmla="*/ 2 h 25"/>
                <a:gd name="T32" fmla="*/ 19 w 23"/>
                <a:gd name="T33" fmla="*/ 4 h 25"/>
                <a:gd name="T34" fmla="*/ 23 w 23"/>
                <a:gd name="T35" fmla="*/ 8 h 25"/>
                <a:gd name="T36" fmla="*/ 23 w 23"/>
                <a:gd name="T37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5">
                  <a:moveTo>
                    <a:pt x="23" y="11"/>
                  </a:moveTo>
                  <a:lnTo>
                    <a:pt x="23" y="11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5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1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0" name="Freeform 493">
              <a:extLst>
                <a:ext uri="{FF2B5EF4-FFF2-40B4-BE49-F238E27FC236}">
                  <a16:creationId xmlns:a16="http://schemas.microsoft.com/office/drawing/2014/main" id="{55739AB7-D232-F451-61D0-7A73C41F9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4" y="2618"/>
              <a:ext cx="24" cy="2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2 w 24"/>
                <a:gd name="T5" fmla="*/ 17 h 23"/>
                <a:gd name="T6" fmla="*/ 20 w 24"/>
                <a:gd name="T7" fmla="*/ 21 h 23"/>
                <a:gd name="T8" fmla="*/ 17 w 24"/>
                <a:gd name="T9" fmla="*/ 23 h 23"/>
                <a:gd name="T10" fmla="*/ 13 w 24"/>
                <a:gd name="T11" fmla="*/ 23 h 23"/>
                <a:gd name="T12" fmla="*/ 7 w 24"/>
                <a:gd name="T13" fmla="*/ 23 h 23"/>
                <a:gd name="T14" fmla="*/ 3 w 24"/>
                <a:gd name="T15" fmla="*/ 21 h 23"/>
                <a:gd name="T16" fmla="*/ 2 w 24"/>
                <a:gd name="T17" fmla="*/ 17 h 23"/>
                <a:gd name="T18" fmla="*/ 0 w 24"/>
                <a:gd name="T19" fmla="*/ 12 h 23"/>
                <a:gd name="T20" fmla="*/ 0 w 24"/>
                <a:gd name="T21" fmla="*/ 12 h 23"/>
                <a:gd name="T22" fmla="*/ 2 w 24"/>
                <a:gd name="T23" fmla="*/ 6 h 23"/>
                <a:gd name="T24" fmla="*/ 3 w 24"/>
                <a:gd name="T25" fmla="*/ 2 h 23"/>
                <a:gd name="T26" fmla="*/ 7 w 24"/>
                <a:gd name="T27" fmla="*/ 0 h 23"/>
                <a:gd name="T28" fmla="*/ 13 w 24"/>
                <a:gd name="T29" fmla="*/ 0 h 23"/>
                <a:gd name="T30" fmla="*/ 17 w 24"/>
                <a:gd name="T31" fmla="*/ 0 h 23"/>
                <a:gd name="T32" fmla="*/ 20 w 24"/>
                <a:gd name="T33" fmla="*/ 2 h 23"/>
                <a:gd name="T34" fmla="*/ 22 w 24"/>
                <a:gd name="T35" fmla="*/ 6 h 23"/>
                <a:gd name="T36" fmla="*/ 24 w 24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3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2" y="6"/>
                  </a:lnTo>
                  <a:lnTo>
                    <a:pt x="24" y="12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1" name="Freeform 494">
              <a:extLst>
                <a:ext uri="{FF2B5EF4-FFF2-40B4-BE49-F238E27FC236}">
                  <a16:creationId xmlns:a16="http://schemas.microsoft.com/office/drawing/2014/main" id="{8026FF5E-0474-3021-D228-4765513E6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4" y="2618"/>
              <a:ext cx="24" cy="2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2 w 24"/>
                <a:gd name="T5" fmla="*/ 17 h 23"/>
                <a:gd name="T6" fmla="*/ 20 w 24"/>
                <a:gd name="T7" fmla="*/ 21 h 23"/>
                <a:gd name="T8" fmla="*/ 17 w 24"/>
                <a:gd name="T9" fmla="*/ 23 h 23"/>
                <a:gd name="T10" fmla="*/ 13 w 24"/>
                <a:gd name="T11" fmla="*/ 23 h 23"/>
                <a:gd name="T12" fmla="*/ 7 w 24"/>
                <a:gd name="T13" fmla="*/ 23 h 23"/>
                <a:gd name="T14" fmla="*/ 3 w 24"/>
                <a:gd name="T15" fmla="*/ 21 h 23"/>
                <a:gd name="T16" fmla="*/ 2 w 24"/>
                <a:gd name="T17" fmla="*/ 17 h 23"/>
                <a:gd name="T18" fmla="*/ 0 w 24"/>
                <a:gd name="T19" fmla="*/ 12 h 23"/>
                <a:gd name="T20" fmla="*/ 0 w 24"/>
                <a:gd name="T21" fmla="*/ 12 h 23"/>
                <a:gd name="T22" fmla="*/ 2 w 24"/>
                <a:gd name="T23" fmla="*/ 6 h 23"/>
                <a:gd name="T24" fmla="*/ 3 w 24"/>
                <a:gd name="T25" fmla="*/ 2 h 23"/>
                <a:gd name="T26" fmla="*/ 7 w 24"/>
                <a:gd name="T27" fmla="*/ 0 h 23"/>
                <a:gd name="T28" fmla="*/ 13 w 24"/>
                <a:gd name="T29" fmla="*/ 0 h 23"/>
                <a:gd name="T30" fmla="*/ 17 w 24"/>
                <a:gd name="T31" fmla="*/ 0 h 23"/>
                <a:gd name="T32" fmla="*/ 20 w 24"/>
                <a:gd name="T33" fmla="*/ 2 h 23"/>
                <a:gd name="T34" fmla="*/ 22 w 24"/>
                <a:gd name="T35" fmla="*/ 6 h 23"/>
                <a:gd name="T36" fmla="*/ 24 w 24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3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2" y="6"/>
                  </a:lnTo>
                  <a:lnTo>
                    <a:pt x="24" y="12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2" name="Freeform 495">
              <a:extLst>
                <a:ext uri="{FF2B5EF4-FFF2-40B4-BE49-F238E27FC236}">
                  <a16:creationId xmlns:a16="http://schemas.microsoft.com/office/drawing/2014/main" id="{E0B6D709-3BD2-772A-EE19-6E8C42DD1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" y="2240"/>
              <a:ext cx="25" cy="25"/>
            </a:xfrm>
            <a:custGeom>
              <a:avLst/>
              <a:gdLst>
                <a:gd name="T0" fmla="*/ 25 w 25"/>
                <a:gd name="T1" fmla="*/ 14 h 25"/>
                <a:gd name="T2" fmla="*/ 25 w 25"/>
                <a:gd name="T3" fmla="*/ 14 h 25"/>
                <a:gd name="T4" fmla="*/ 23 w 25"/>
                <a:gd name="T5" fmla="*/ 17 h 25"/>
                <a:gd name="T6" fmla="*/ 21 w 25"/>
                <a:gd name="T7" fmla="*/ 21 h 25"/>
                <a:gd name="T8" fmla="*/ 17 w 25"/>
                <a:gd name="T9" fmla="*/ 25 h 25"/>
                <a:gd name="T10" fmla="*/ 12 w 25"/>
                <a:gd name="T11" fmla="*/ 25 h 25"/>
                <a:gd name="T12" fmla="*/ 8 w 25"/>
                <a:gd name="T13" fmla="*/ 25 h 25"/>
                <a:gd name="T14" fmla="*/ 4 w 25"/>
                <a:gd name="T15" fmla="*/ 21 h 25"/>
                <a:gd name="T16" fmla="*/ 2 w 25"/>
                <a:gd name="T17" fmla="*/ 17 h 25"/>
                <a:gd name="T18" fmla="*/ 0 w 25"/>
                <a:gd name="T19" fmla="*/ 14 h 25"/>
                <a:gd name="T20" fmla="*/ 0 w 25"/>
                <a:gd name="T21" fmla="*/ 14 h 25"/>
                <a:gd name="T22" fmla="*/ 2 w 25"/>
                <a:gd name="T23" fmla="*/ 8 h 25"/>
                <a:gd name="T24" fmla="*/ 4 w 25"/>
                <a:gd name="T25" fmla="*/ 4 h 25"/>
                <a:gd name="T26" fmla="*/ 8 w 25"/>
                <a:gd name="T27" fmla="*/ 2 h 25"/>
                <a:gd name="T28" fmla="*/ 12 w 25"/>
                <a:gd name="T29" fmla="*/ 0 h 25"/>
                <a:gd name="T30" fmla="*/ 17 w 25"/>
                <a:gd name="T31" fmla="*/ 2 h 25"/>
                <a:gd name="T32" fmla="*/ 21 w 25"/>
                <a:gd name="T33" fmla="*/ 4 h 25"/>
                <a:gd name="T34" fmla="*/ 23 w 25"/>
                <a:gd name="T35" fmla="*/ 8 h 25"/>
                <a:gd name="T36" fmla="*/ 25 w 25"/>
                <a:gd name="T37" fmla="*/ 1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5">
                  <a:moveTo>
                    <a:pt x="25" y="14"/>
                  </a:moveTo>
                  <a:lnTo>
                    <a:pt x="25" y="14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5"/>
                  </a:lnTo>
                  <a:lnTo>
                    <a:pt x="12" y="25"/>
                  </a:lnTo>
                  <a:lnTo>
                    <a:pt x="8" y="25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5" y="14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3" name="Freeform 496">
              <a:extLst>
                <a:ext uri="{FF2B5EF4-FFF2-40B4-BE49-F238E27FC236}">
                  <a16:creationId xmlns:a16="http://schemas.microsoft.com/office/drawing/2014/main" id="{C7942B4E-9317-246C-E567-1726EEA53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" y="2240"/>
              <a:ext cx="25" cy="25"/>
            </a:xfrm>
            <a:custGeom>
              <a:avLst/>
              <a:gdLst>
                <a:gd name="T0" fmla="*/ 25 w 25"/>
                <a:gd name="T1" fmla="*/ 14 h 25"/>
                <a:gd name="T2" fmla="*/ 25 w 25"/>
                <a:gd name="T3" fmla="*/ 14 h 25"/>
                <a:gd name="T4" fmla="*/ 23 w 25"/>
                <a:gd name="T5" fmla="*/ 17 h 25"/>
                <a:gd name="T6" fmla="*/ 21 w 25"/>
                <a:gd name="T7" fmla="*/ 21 h 25"/>
                <a:gd name="T8" fmla="*/ 17 w 25"/>
                <a:gd name="T9" fmla="*/ 25 h 25"/>
                <a:gd name="T10" fmla="*/ 12 w 25"/>
                <a:gd name="T11" fmla="*/ 25 h 25"/>
                <a:gd name="T12" fmla="*/ 8 w 25"/>
                <a:gd name="T13" fmla="*/ 25 h 25"/>
                <a:gd name="T14" fmla="*/ 4 w 25"/>
                <a:gd name="T15" fmla="*/ 21 h 25"/>
                <a:gd name="T16" fmla="*/ 2 w 25"/>
                <a:gd name="T17" fmla="*/ 17 h 25"/>
                <a:gd name="T18" fmla="*/ 0 w 25"/>
                <a:gd name="T19" fmla="*/ 14 h 25"/>
                <a:gd name="T20" fmla="*/ 0 w 25"/>
                <a:gd name="T21" fmla="*/ 14 h 25"/>
                <a:gd name="T22" fmla="*/ 2 w 25"/>
                <a:gd name="T23" fmla="*/ 8 h 25"/>
                <a:gd name="T24" fmla="*/ 4 w 25"/>
                <a:gd name="T25" fmla="*/ 4 h 25"/>
                <a:gd name="T26" fmla="*/ 8 w 25"/>
                <a:gd name="T27" fmla="*/ 2 h 25"/>
                <a:gd name="T28" fmla="*/ 12 w 25"/>
                <a:gd name="T29" fmla="*/ 0 h 25"/>
                <a:gd name="T30" fmla="*/ 17 w 25"/>
                <a:gd name="T31" fmla="*/ 2 h 25"/>
                <a:gd name="T32" fmla="*/ 21 w 25"/>
                <a:gd name="T33" fmla="*/ 4 h 25"/>
                <a:gd name="T34" fmla="*/ 23 w 25"/>
                <a:gd name="T35" fmla="*/ 8 h 25"/>
                <a:gd name="T36" fmla="*/ 25 w 25"/>
                <a:gd name="T37" fmla="*/ 1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5">
                  <a:moveTo>
                    <a:pt x="25" y="14"/>
                  </a:moveTo>
                  <a:lnTo>
                    <a:pt x="25" y="14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5"/>
                  </a:lnTo>
                  <a:lnTo>
                    <a:pt x="12" y="25"/>
                  </a:lnTo>
                  <a:lnTo>
                    <a:pt x="8" y="25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5" y="14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4" name="Freeform 497">
              <a:extLst>
                <a:ext uri="{FF2B5EF4-FFF2-40B4-BE49-F238E27FC236}">
                  <a16:creationId xmlns:a16="http://schemas.microsoft.com/office/drawing/2014/main" id="{45BC3458-38DB-AFDA-45D8-DBCDB3FF9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192"/>
              <a:ext cx="22" cy="22"/>
            </a:xfrm>
            <a:custGeom>
              <a:avLst/>
              <a:gdLst>
                <a:gd name="T0" fmla="*/ 22 w 22"/>
                <a:gd name="T1" fmla="*/ 11 h 22"/>
                <a:gd name="T2" fmla="*/ 22 w 22"/>
                <a:gd name="T3" fmla="*/ 11 h 22"/>
                <a:gd name="T4" fmla="*/ 22 w 22"/>
                <a:gd name="T5" fmla="*/ 16 h 22"/>
                <a:gd name="T6" fmla="*/ 19 w 22"/>
                <a:gd name="T7" fmla="*/ 20 h 22"/>
                <a:gd name="T8" fmla="*/ 15 w 22"/>
                <a:gd name="T9" fmla="*/ 22 h 22"/>
                <a:gd name="T10" fmla="*/ 11 w 22"/>
                <a:gd name="T11" fmla="*/ 22 h 22"/>
                <a:gd name="T12" fmla="*/ 7 w 22"/>
                <a:gd name="T13" fmla="*/ 22 h 22"/>
                <a:gd name="T14" fmla="*/ 4 w 22"/>
                <a:gd name="T15" fmla="*/ 20 h 22"/>
                <a:gd name="T16" fmla="*/ 0 w 22"/>
                <a:gd name="T17" fmla="*/ 16 h 22"/>
                <a:gd name="T18" fmla="*/ 0 w 22"/>
                <a:gd name="T19" fmla="*/ 11 h 22"/>
                <a:gd name="T20" fmla="*/ 0 w 22"/>
                <a:gd name="T21" fmla="*/ 11 h 22"/>
                <a:gd name="T22" fmla="*/ 0 w 22"/>
                <a:gd name="T23" fmla="*/ 5 h 22"/>
                <a:gd name="T24" fmla="*/ 4 w 22"/>
                <a:gd name="T25" fmla="*/ 1 h 22"/>
                <a:gd name="T26" fmla="*/ 7 w 22"/>
                <a:gd name="T27" fmla="*/ 0 h 22"/>
                <a:gd name="T28" fmla="*/ 11 w 22"/>
                <a:gd name="T29" fmla="*/ 0 h 22"/>
                <a:gd name="T30" fmla="*/ 15 w 22"/>
                <a:gd name="T31" fmla="*/ 0 h 22"/>
                <a:gd name="T32" fmla="*/ 19 w 22"/>
                <a:gd name="T33" fmla="*/ 1 h 22"/>
                <a:gd name="T34" fmla="*/ 22 w 22"/>
                <a:gd name="T35" fmla="*/ 5 h 22"/>
                <a:gd name="T36" fmla="*/ 22 w 22"/>
                <a:gd name="T37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lnTo>
                    <a:pt x="22" y="11"/>
                  </a:lnTo>
                  <a:lnTo>
                    <a:pt x="22" y="16"/>
                  </a:lnTo>
                  <a:lnTo>
                    <a:pt x="19" y="20"/>
                  </a:lnTo>
                  <a:lnTo>
                    <a:pt x="15" y="22"/>
                  </a:lnTo>
                  <a:lnTo>
                    <a:pt x="11" y="22"/>
                  </a:lnTo>
                  <a:lnTo>
                    <a:pt x="7" y="22"/>
                  </a:lnTo>
                  <a:lnTo>
                    <a:pt x="4" y="20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5"/>
                  </a:lnTo>
                  <a:lnTo>
                    <a:pt x="4" y="1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1"/>
                  </a:lnTo>
                  <a:lnTo>
                    <a:pt x="22" y="5"/>
                  </a:lnTo>
                  <a:lnTo>
                    <a:pt x="22" y="11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5" name="Freeform 498">
              <a:extLst>
                <a:ext uri="{FF2B5EF4-FFF2-40B4-BE49-F238E27FC236}">
                  <a16:creationId xmlns:a16="http://schemas.microsoft.com/office/drawing/2014/main" id="{A424123C-DE6A-8082-0D0B-7DBD10E7F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192"/>
              <a:ext cx="22" cy="22"/>
            </a:xfrm>
            <a:custGeom>
              <a:avLst/>
              <a:gdLst>
                <a:gd name="T0" fmla="*/ 22 w 22"/>
                <a:gd name="T1" fmla="*/ 11 h 22"/>
                <a:gd name="T2" fmla="*/ 22 w 22"/>
                <a:gd name="T3" fmla="*/ 11 h 22"/>
                <a:gd name="T4" fmla="*/ 22 w 22"/>
                <a:gd name="T5" fmla="*/ 16 h 22"/>
                <a:gd name="T6" fmla="*/ 19 w 22"/>
                <a:gd name="T7" fmla="*/ 20 h 22"/>
                <a:gd name="T8" fmla="*/ 15 w 22"/>
                <a:gd name="T9" fmla="*/ 22 h 22"/>
                <a:gd name="T10" fmla="*/ 11 w 22"/>
                <a:gd name="T11" fmla="*/ 22 h 22"/>
                <a:gd name="T12" fmla="*/ 7 w 22"/>
                <a:gd name="T13" fmla="*/ 22 h 22"/>
                <a:gd name="T14" fmla="*/ 4 w 22"/>
                <a:gd name="T15" fmla="*/ 20 h 22"/>
                <a:gd name="T16" fmla="*/ 0 w 22"/>
                <a:gd name="T17" fmla="*/ 16 h 22"/>
                <a:gd name="T18" fmla="*/ 0 w 22"/>
                <a:gd name="T19" fmla="*/ 11 h 22"/>
                <a:gd name="T20" fmla="*/ 0 w 22"/>
                <a:gd name="T21" fmla="*/ 11 h 22"/>
                <a:gd name="T22" fmla="*/ 0 w 22"/>
                <a:gd name="T23" fmla="*/ 5 h 22"/>
                <a:gd name="T24" fmla="*/ 4 w 22"/>
                <a:gd name="T25" fmla="*/ 1 h 22"/>
                <a:gd name="T26" fmla="*/ 7 w 22"/>
                <a:gd name="T27" fmla="*/ 0 h 22"/>
                <a:gd name="T28" fmla="*/ 11 w 22"/>
                <a:gd name="T29" fmla="*/ 0 h 22"/>
                <a:gd name="T30" fmla="*/ 15 w 22"/>
                <a:gd name="T31" fmla="*/ 0 h 22"/>
                <a:gd name="T32" fmla="*/ 19 w 22"/>
                <a:gd name="T33" fmla="*/ 1 h 22"/>
                <a:gd name="T34" fmla="*/ 22 w 22"/>
                <a:gd name="T35" fmla="*/ 5 h 22"/>
                <a:gd name="T36" fmla="*/ 22 w 22"/>
                <a:gd name="T37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2">
                  <a:moveTo>
                    <a:pt x="22" y="11"/>
                  </a:moveTo>
                  <a:lnTo>
                    <a:pt x="22" y="11"/>
                  </a:lnTo>
                  <a:lnTo>
                    <a:pt x="22" y="16"/>
                  </a:lnTo>
                  <a:lnTo>
                    <a:pt x="19" y="20"/>
                  </a:lnTo>
                  <a:lnTo>
                    <a:pt x="15" y="22"/>
                  </a:lnTo>
                  <a:lnTo>
                    <a:pt x="11" y="22"/>
                  </a:lnTo>
                  <a:lnTo>
                    <a:pt x="7" y="22"/>
                  </a:lnTo>
                  <a:lnTo>
                    <a:pt x="4" y="20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5"/>
                  </a:lnTo>
                  <a:lnTo>
                    <a:pt x="4" y="1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1"/>
                  </a:lnTo>
                  <a:lnTo>
                    <a:pt x="22" y="5"/>
                  </a:lnTo>
                  <a:lnTo>
                    <a:pt x="22" y="11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6" name="Freeform 499">
              <a:extLst>
                <a:ext uri="{FF2B5EF4-FFF2-40B4-BE49-F238E27FC236}">
                  <a16:creationId xmlns:a16="http://schemas.microsoft.com/office/drawing/2014/main" id="{AFDA1F5E-784A-F861-4DE1-2860C0DBE3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6" y="2173"/>
              <a:ext cx="25" cy="22"/>
            </a:xfrm>
            <a:custGeom>
              <a:avLst/>
              <a:gdLst>
                <a:gd name="T0" fmla="*/ 25 w 25"/>
                <a:gd name="T1" fmla="*/ 11 h 22"/>
                <a:gd name="T2" fmla="*/ 25 w 25"/>
                <a:gd name="T3" fmla="*/ 11 h 22"/>
                <a:gd name="T4" fmla="*/ 23 w 25"/>
                <a:gd name="T5" fmla="*/ 17 h 22"/>
                <a:gd name="T6" fmla="*/ 21 w 25"/>
                <a:gd name="T7" fmla="*/ 19 h 22"/>
                <a:gd name="T8" fmla="*/ 17 w 25"/>
                <a:gd name="T9" fmla="*/ 22 h 22"/>
                <a:gd name="T10" fmla="*/ 14 w 25"/>
                <a:gd name="T11" fmla="*/ 22 h 22"/>
                <a:gd name="T12" fmla="*/ 8 w 25"/>
                <a:gd name="T13" fmla="*/ 22 h 22"/>
                <a:gd name="T14" fmla="*/ 4 w 25"/>
                <a:gd name="T15" fmla="*/ 19 h 22"/>
                <a:gd name="T16" fmla="*/ 2 w 25"/>
                <a:gd name="T17" fmla="*/ 17 h 22"/>
                <a:gd name="T18" fmla="*/ 0 w 25"/>
                <a:gd name="T19" fmla="*/ 11 h 22"/>
                <a:gd name="T20" fmla="*/ 0 w 25"/>
                <a:gd name="T21" fmla="*/ 11 h 22"/>
                <a:gd name="T22" fmla="*/ 2 w 25"/>
                <a:gd name="T23" fmla="*/ 5 h 22"/>
                <a:gd name="T24" fmla="*/ 4 w 25"/>
                <a:gd name="T25" fmla="*/ 2 h 22"/>
                <a:gd name="T26" fmla="*/ 8 w 25"/>
                <a:gd name="T27" fmla="*/ 0 h 22"/>
                <a:gd name="T28" fmla="*/ 14 w 25"/>
                <a:gd name="T29" fmla="*/ 0 h 22"/>
                <a:gd name="T30" fmla="*/ 17 w 25"/>
                <a:gd name="T31" fmla="*/ 0 h 22"/>
                <a:gd name="T32" fmla="*/ 21 w 25"/>
                <a:gd name="T33" fmla="*/ 2 h 22"/>
                <a:gd name="T34" fmla="*/ 23 w 25"/>
                <a:gd name="T35" fmla="*/ 5 h 22"/>
                <a:gd name="T36" fmla="*/ 25 w 25"/>
                <a:gd name="T37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2">
                  <a:moveTo>
                    <a:pt x="25" y="11"/>
                  </a:moveTo>
                  <a:lnTo>
                    <a:pt x="25" y="11"/>
                  </a:lnTo>
                  <a:lnTo>
                    <a:pt x="23" y="17"/>
                  </a:lnTo>
                  <a:lnTo>
                    <a:pt x="21" y="19"/>
                  </a:lnTo>
                  <a:lnTo>
                    <a:pt x="17" y="22"/>
                  </a:lnTo>
                  <a:lnTo>
                    <a:pt x="14" y="22"/>
                  </a:lnTo>
                  <a:lnTo>
                    <a:pt x="8" y="22"/>
                  </a:lnTo>
                  <a:lnTo>
                    <a:pt x="4" y="19"/>
                  </a:lnTo>
                  <a:lnTo>
                    <a:pt x="2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5"/>
                  </a:lnTo>
                  <a:lnTo>
                    <a:pt x="4" y="2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5"/>
                  </a:lnTo>
                  <a:lnTo>
                    <a:pt x="25" y="11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7" name="Freeform 500">
              <a:extLst>
                <a:ext uri="{FF2B5EF4-FFF2-40B4-BE49-F238E27FC236}">
                  <a16:creationId xmlns:a16="http://schemas.microsoft.com/office/drawing/2014/main" id="{9F32DD2E-AA05-CA04-8227-6973B05B3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6" y="2173"/>
              <a:ext cx="25" cy="22"/>
            </a:xfrm>
            <a:custGeom>
              <a:avLst/>
              <a:gdLst>
                <a:gd name="T0" fmla="*/ 25 w 25"/>
                <a:gd name="T1" fmla="*/ 11 h 22"/>
                <a:gd name="T2" fmla="*/ 25 w 25"/>
                <a:gd name="T3" fmla="*/ 11 h 22"/>
                <a:gd name="T4" fmla="*/ 23 w 25"/>
                <a:gd name="T5" fmla="*/ 17 h 22"/>
                <a:gd name="T6" fmla="*/ 21 w 25"/>
                <a:gd name="T7" fmla="*/ 19 h 22"/>
                <a:gd name="T8" fmla="*/ 17 w 25"/>
                <a:gd name="T9" fmla="*/ 22 h 22"/>
                <a:gd name="T10" fmla="*/ 14 w 25"/>
                <a:gd name="T11" fmla="*/ 22 h 22"/>
                <a:gd name="T12" fmla="*/ 8 w 25"/>
                <a:gd name="T13" fmla="*/ 22 h 22"/>
                <a:gd name="T14" fmla="*/ 4 w 25"/>
                <a:gd name="T15" fmla="*/ 19 h 22"/>
                <a:gd name="T16" fmla="*/ 2 w 25"/>
                <a:gd name="T17" fmla="*/ 17 h 22"/>
                <a:gd name="T18" fmla="*/ 0 w 25"/>
                <a:gd name="T19" fmla="*/ 11 h 22"/>
                <a:gd name="T20" fmla="*/ 0 w 25"/>
                <a:gd name="T21" fmla="*/ 11 h 22"/>
                <a:gd name="T22" fmla="*/ 2 w 25"/>
                <a:gd name="T23" fmla="*/ 5 h 22"/>
                <a:gd name="T24" fmla="*/ 4 w 25"/>
                <a:gd name="T25" fmla="*/ 2 h 22"/>
                <a:gd name="T26" fmla="*/ 8 w 25"/>
                <a:gd name="T27" fmla="*/ 0 h 22"/>
                <a:gd name="T28" fmla="*/ 14 w 25"/>
                <a:gd name="T29" fmla="*/ 0 h 22"/>
                <a:gd name="T30" fmla="*/ 17 w 25"/>
                <a:gd name="T31" fmla="*/ 0 h 22"/>
                <a:gd name="T32" fmla="*/ 21 w 25"/>
                <a:gd name="T33" fmla="*/ 2 h 22"/>
                <a:gd name="T34" fmla="*/ 23 w 25"/>
                <a:gd name="T35" fmla="*/ 5 h 22"/>
                <a:gd name="T36" fmla="*/ 25 w 25"/>
                <a:gd name="T37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2">
                  <a:moveTo>
                    <a:pt x="25" y="11"/>
                  </a:moveTo>
                  <a:lnTo>
                    <a:pt x="25" y="11"/>
                  </a:lnTo>
                  <a:lnTo>
                    <a:pt x="23" y="17"/>
                  </a:lnTo>
                  <a:lnTo>
                    <a:pt x="21" y="19"/>
                  </a:lnTo>
                  <a:lnTo>
                    <a:pt x="17" y="22"/>
                  </a:lnTo>
                  <a:lnTo>
                    <a:pt x="14" y="22"/>
                  </a:lnTo>
                  <a:lnTo>
                    <a:pt x="8" y="22"/>
                  </a:lnTo>
                  <a:lnTo>
                    <a:pt x="4" y="19"/>
                  </a:lnTo>
                  <a:lnTo>
                    <a:pt x="2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5"/>
                  </a:lnTo>
                  <a:lnTo>
                    <a:pt x="4" y="2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5"/>
                  </a:lnTo>
                  <a:lnTo>
                    <a:pt x="25" y="11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8" name="Freeform 501">
              <a:extLst>
                <a:ext uri="{FF2B5EF4-FFF2-40B4-BE49-F238E27FC236}">
                  <a16:creationId xmlns:a16="http://schemas.microsoft.com/office/drawing/2014/main" id="{2721276C-61FA-921C-36A3-14B271FC3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8" y="2171"/>
              <a:ext cx="24" cy="22"/>
            </a:xfrm>
            <a:custGeom>
              <a:avLst/>
              <a:gdLst>
                <a:gd name="T0" fmla="*/ 24 w 24"/>
                <a:gd name="T1" fmla="*/ 11 h 22"/>
                <a:gd name="T2" fmla="*/ 24 w 24"/>
                <a:gd name="T3" fmla="*/ 11 h 22"/>
                <a:gd name="T4" fmla="*/ 23 w 24"/>
                <a:gd name="T5" fmla="*/ 15 h 22"/>
                <a:gd name="T6" fmla="*/ 21 w 24"/>
                <a:gd name="T7" fmla="*/ 19 h 22"/>
                <a:gd name="T8" fmla="*/ 17 w 24"/>
                <a:gd name="T9" fmla="*/ 22 h 22"/>
                <a:gd name="T10" fmla="*/ 11 w 24"/>
                <a:gd name="T11" fmla="*/ 22 h 22"/>
                <a:gd name="T12" fmla="*/ 8 w 24"/>
                <a:gd name="T13" fmla="*/ 22 h 22"/>
                <a:gd name="T14" fmla="*/ 4 w 24"/>
                <a:gd name="T15" fmla="*/ 19 h 22"/>
                <a:gd name="T16" fmla="*/ 2 w 24"/>
                <a:gd name="T17" fmla="*/ 15 h 22"/>
                <a:gd name="T18" fmla="*/ 0 w 24"/>
                <a:gd name="T19" fmla="*/ 11 h 22"/>
                <a:gd name="T20" fmla="*/ 0 w 24"/>
                <a:gd name="T21" fmla="*/ 11 h 22"/>
                <a:gd name="T22" fmla="*/ 2 w 24"/>
                <a:gd name="T23" fmla="*/ 6 h 22"/>
                <a:gd name="T24" fmla="*/ 4 w 24"/>
                <a:gd name="T25" fmla="*/ 2 h 22"/>
                <a:gd name="T26" fmla="*/ 8 w 24"/>
                <a:gd name="T27" fmla="*/ 0 h 22"/>
                <a:gd name="T28" fmla="*/ 11 w 24"/>
                <a:gd name="T29" fmla="*/ 0 h 22"/>
                <a:gd name="T30" fmla="*/ 17 w 24"/>
                <a:gd name="T31" fmla="*/ 0 h 22"/>
                <a:gd name="T32" fmla="*/ 21 w 24"/>
                <a:gd name="T33" fmla="*/ 2 h 22"/>
                <a:gd name="T34" fmla="*/ 23 w 24"/>
                <a:gd name="T35" fmla="*/ 6 h 22"/>
                <a:gd name="T36" fmla="*/ 24 w 24"/>
                <a:gd name="T37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2">
                  <a:moveTo>
                    <a:pt x="24" y="11"/>
                  </a:moveTo>
                  <a:lnTo>
                    <a:pt x="24" y="11"/>
                  </a:lnTo>
                  <a:lnTo>
                    <a:pt x="23" y="15"/>
                  </a:lnTo>
                  <a:lnTo>
                    <a:pt x="21" y="19"/>
                  </a:lnTo>
                  <a:lnTo>
                    <a:pt x="17" y="22"/>
                  </a:lnTo>
                  <a:lnTo>
                    <a:pt x="11" y="22"/>
                  </a:lnTo>
                  <a:lnTo>
                    <a:pt x="8" y="22"/>
                  </a:lnTo>
                  <a:lnTo>
                    <a:pt x="4" y="19"/>
                  </a:lnTo>
                  <a:lnTo>
                    <a:pt x="2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4" y="11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9" name="Freeform 502">
              <a:extLst>
                <a:ext uri="{FF2B5EF4-FFF2-40B4-BE49-F238E27FC236}">
                  <a16:creationId xmlns:a16="http://schemas.microsoft.com/office/drawing/2014/main" id="{5B5F6657-4E29-2FDD-C39F-E0729F005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8" y="2171"/>
              <a:ext cx="24" cy="22"/>
            </a:xfrm>
            <a:custGeom>
              <a:avLst/>
              <a:gdLst>
                <a:gd name="T0" fmla="*/ 24 w 24"/>
                <a:gd name="T1" fmla="*/ 11 h 22"/>
                <a:gd name="T2" fmla="*/ 24 w 24"/>
                <a:gd name="T3" fmla="*/ 11 h 22"/>
                <a:gd name="T4" fmla="*/ 23 w 24"/>
                <a:gd name="T5" fmla="*/ 15 h 22"/>
                <a:gd name="T6" fmla="*/ 21 w 24"/>
                <a:gd name="T7" fmla="*/ 19 h 22"/>
                <a:gd name="T8" fmla="*/ 17 w 24"/>
                <a:gd name="T9" fmla="*/ 22 h 22"/>
                <a:gd name="T10" fmla="*/ 11 w 24"/>
                <a:gd name="T11" fmla="*/ 22 h 22"/>
                <a:gd name="T12" fmla="*/ 8 w 24"/>
                <a:gd name="T13" fmla="*/ 22 h 22"/>
                <a:gd name="T14" fmla="*/ 4 w 24"/>
                <a:gd name="T15" fmla="*/ 19 h 22"/>
                <a:gd name="T16" fmla="*/ 2 w 24"/>
                <a:gd name="T17" fmla="*/ 15 h 22"/>
                <a:gd name="T18" fmla="*/ 0 w 24"/>
                <a:gd name="T19" fmla="*/ 11 h 22"/>
                <a:gd name="T20" fmla="*/ 0 w 24"/>
                <a:gd name="T21" fmla="*/ 11 h 22"/>
                <a:gd name="T22" fmla="*/ 2 w 24"/>
                <a:gd name="T23" fmla="*/ 6 h 22"/>
                <a:gd name="T24" fmla="*/ 4 w 24"/>
                <a:gd name="T25" fmla="*/ 2 h 22"/>
                <a:gd name="T26" fmla="*/ 8 w 24"/>
                <a:gd name="T27" fmla="*/ 0 h 22"/>
                <a:gd name="T28" fmla="*/ 11 w 24"/>
                <a:gd name="T29" fmla="*/ 0 h 22"/>
                <a:gd name="T30" fmla="*/ 17 w 24"/>
                <a:gd name="T31" fmla="*/ 0 h 22"/>
                <a:gd name="T32" fmla="*/ 21 w 24"/>
                <a:gd name="T33" fmla="*/ 2 h 22"/>
                <a:gd name="T34" fmla="*/ 23 w 24"/>
                <a:gd name="T35" fmla="*/ 6 h 22"/>
                <a:gd name="T36" fmla="*/ 24 w 24"/>
                <a:gd name="T37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2">
                  <a:moveTo>
                    <a:pt x="24" y="11"/>
                  </a:moveTo>
                  <a:lnTo>
                    <a:pt x="24" y="11"/>
                  </a:lnTo>
                  <a:lnTo>
                    <a:pt x="23" y="15"/>
                  </a:lnTo>
                  <a:lnTo>
                    <a:pt x="21" y="19"/>
                  </a:lnTo>
                  <a:lnTo>
                    <a:pt x="17" y="22"/>
                  </a:lnTo>
                  <a:lnTo>
                    <a:pt x="11" y="22"/>
                  </a:lnTo>
                  <a:lnTo>
                    <a:pt x="8" y="22"/>
                  </a:lnTo>
                  <a:lnTo>
                    <a:pt x="4" y="19"/>
                  </a:lnTo>
                  <a:lnTo>
                    <a:pt x="2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4" y="11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0" name="Freeform 503">
              <a:extLst>
                <a:ext uri="{FF2B5EF4-FFF2-40B4-BE49-F238E27FC236}">
                  <a16:creationId xmlns:a16="http://schemas.microsoft.com/office/drawing/2014/main" id="{85A0BE70-ED72-82B6-1587-6B6427C267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0" y="2271"/>
              <a:ext cx="22" cy="24"/>
            </a:xfrm>
            <a:custGeom>
              <a:avLst/>
              <a:gdLst>
                <a:gd name="T0" fmla="*/ 22 w 22"/>
                <a:gd name="T1" fmla="*/ 11 h 24"/>
                <a:gd name="T2" fmla="*/ 22 w 22"/>
                <a:gd name="T3" fmla="*/ 11 h 24"/>
                <a:gd name="T4" fmla="*/ 22 w 22"/>
                <a:gd name="T5" fmla="*/ 16 h 24"/>
                <a:gd name="T6" fmla="*/ 18 w 22"/>
                <a:gd name="T7" fmla="*/ 20 h 24"/>
                <a:gd name="T8" fmla="*/ 15 w 22"/>
                <a:gd name="T9" fmla="*/ 22 h 24"/>
                <a:gd name="T10" fmla="*/ 11 w 22"/>
                <a:gd name="T11" fmla="*/ 24 h 24"/>
                <a:gd name="T12" fmla="*/ 7 w 22"/>
                <a:gd name="T13" fmla="*/ 22 h 24"/>
                <a:gd name="T14" fmla="*/ 3 w 22"/>
                <a:gd name="T15" fmla="*/ 20 h 24"/>
                <a:gd name="T16" fmla="*/ 0 w 22"/>
                <a:gd name="T17" fmla="*/ 16 h 24"/>
                <a:gd name="T18" fmla="*/ 0 w 22"/>
                <a:gd name="T19" fmla="*/ 11 h 24"/>
                <a:gd name="T20" fmla="*/ 0 w 22"/>
                <a:gd name="T21" fmla="*/ 11 h 24"/>
                <a:gd name="T22" fmla="*/ 0 w 22"/>
                <a:gd name="T23" fmla="*/ 7 h 24"/>
                <a:gd name="T24" fmla="*/ 3 w 22"/>
                <a:gd name="T25" fmla="*/ 3 h 24"/>
                <a:gd name="T26" fmla="*/ 7 w 22"/>
                <a:gd name="T27" fmla="*/ 1 h 24"/>
                <a:gd name="T28" fmla="*/ 11 w 22"/>
                <a:gd name="T29" fmla="*/ 0 h 24"/>
                <a:gd name="T30" fmla="*/ 15 w 22"/>
                <a:gd name="T31" fmla="*/ 1 h 24"/>
                <a:gd name="T32" fmla="*/ 18 w 22"/>
                <a:gd name="T33" fmla="*/ 3 h 24"/>
                <a:gd name="T34" fmla="*/ 22 w 22"/>
                <a:gd name="T35" fmla="*/ 7 h 24"/>
                <a:gd name="T36" fmla="*/ 22 w 22"/>
                <a:gd name="T37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4">
                  <a:moveTo>
                    <a:pt x="22" y="11"/>
                  </a:moveTo>
                  <a:lnTo>
                    <a:pt x="22" y="11"/>
                  </a:lnTo>
                  <a:lnTo>
                    <a:pt x="22" y="16"/>
                  </a:lnTo>
                  <a:lnTo>
                    <a:pt x="18" y="20"/>
                  </a:lnTo>
                  <a:lnTo>
                    <a:pt x="15" y="22"/>
                  </a:lnTo>
                  <a:lnTo>
                    <a:pt x="11" y="24"/>
                  </a:lnTo>
                  <a:lnTo>
                    <a:pt x="7" y="22"/>
                  </a:lnTo>
                  <a:lnTo>
                    <a:pt x="3" y="20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5" y="1"/>
                  </a:lnTo>
                  <a:lnTo>
                    <a:pt x="18" y="3"/>
                  </a:lnTo>
                  <a:lnTo>
                    <a:pt x="22" y="7"/>
                  </a:lnTo>
                  <a:lnTo>
                    <a:pt x="22" y="11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1" name="Freeform 504">
              <a:extLst>
                <a:ext uri="{FF2B5EF4-FFF2-40B4-BE49-F238E27FC236}">
                  <a16:creationId xmlns:a16="http://schemas.microsoft.com/office/drawing/2014/main" id="{5CF3E93B-0AC9-6890-EF56-718A2C2CF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0" y="2271"/>
              <a:ext cx="22" cy="24"/>
            </a:xfrm>
            <a:custGeom>
              <a:avLst/>
              <a:gdLst>
                <a:gd name="T0" fmla="*/ 22 w 22"/>
                <a:gd name="T1" fmla="*/ 11 h 24"/>
                <a:gd name="T2" fmla="*/ 22 w 22"/>
                <a:gd name="T3" fmla="*/ 11 h 24"/>
                <a:gd name="T4" fmla="*/ 22 w 22"/>
                <a:gd name="T5" fmla="*/ 16 h 24"/>
                <a:gd name="T6" fmla="*/ 18 w 22"/>
                <a:gd name="T7" fmla="*/ 20 h 24"/>
                <a:gd name="T8" fmla="*/ 15 w 22"/>
                <a:gd name="T9" fmla="*/ 22 h 24"/>
                <a:gd name="T10" fmla="*/ 11 w 22"/>
                <a:gd name="T11" fmla="*/ 24 h 24"/>
                <a:gd name="T12" fmla="*/ 7 w 22"/>
                <a:gd name="T13" fmla="*/ 22 h 24"/>
                <a:gd name="T14" fmla="*/ 3 w 22"/>
                <a:gd name="T15" fmla="*/ 20 h 24"/>
                <a:gd name="T16" fmla="*/ 0 w 22"/>
                <a:gd name="T17" fmla="*/ 16 h 24"/>
                <a:gd name="T18" fmla="*/ 0 w 22"/>
                <a:gd name="T19" fmla="*/ 11 h 24"/>
                <a:gd name="T20" fmla="*/ 0 w 22"/>
                <a:gd name="T21" fmla="*/ 11 h 24"/>
                <a:gd name="T22" fmla="*/ 0 w 22"/>
                <a:gd name="T23" fmla="*/ 7 h 24"/>
                <a:gd name="T24" fmla="*/ 3 w 22"/>
                <a:gd name="T25" fmla="*/ 3 h 24"/>
                <a:gd name="T26" fmla="*/ 7 w 22"/>
                <a:gd name="T27" fmla="*/ 1 h 24"/>
                <a:gd name="T28" fmla="*/ 11 w 22"/>
                <a:gd name="T29" fmla="*/ 0 h 24"/>
                <a:gd name="T30" fmla="*/ 15 w 22"/>
                <a:gd name="T31" fmla="*/ 1 h 24"/>
                <a:gd name="T32" fmla="*/ 18 w 22"/>
                <a:gd name="T33" fmla="*/ 3 h 24"/>
                <a:gd name="T34" fmla="*/ 22 w 22"/>
                <a:gd name="T35" fmla="*/ 7 h 24"/>
                <a:gd name="T36" fmla="*/ 22 w 22"/>
                <a:gd name="T37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4">
                  <a:moveTo>
                    <a:pt x="22" y="11"/>
                  </a:moveTo>
                  <a:lnTo>
                    <a:pt x="22" y="11"/>
                  </a:lnTo>
                  <a:lnTo>
                    <a:pt x="22" y="16"/>
                  </a:lnTo>
                  <a:lnTo>
                    <a:pt x="18" y="20"/>
                  </a:lnTo>
                  <a:lnTo>
                    <a:pt x="15" y="22"/>
                  </a:lnTo>
                  <a:lnTo>
                    <a:pt x="11" y="24"/>
                  </a:lnTo>
                  <a:lnTo>
                    <a:pt x="7" y="22"/>
                  </a:lnTo>
                  <a:lnTo>
                    <a:pt x="3" y="20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5" y="1"/>
                  </a:lnTo>
                  <a:lnTo>
                    <a:pt x="18" y="3"/>
                  </a:lnTo>
                  <a:lnTo>
                    <a:pt x="22" y="7"/>
                  </a:lnTo>
                  <a:lnTo>
                    <a:pt x="22" y="11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2" name="Freeform 505">
              <a:extLst>
                <a:ext uri="{FF2B5EF4-FFF2-40B4-BE49-F238E27FC236}">
                  <a16:creationId xmlns:a16="http://schemas.microsoft.com/office/drawing/2014/main" id="{C30EABAE-B024-FEC3-7895-5207C3642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1" y="2355"/>
              <a:ext cx="23" cy="23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1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6 w 23"/>
                <a:gd name="T13" fmla="*/ 23 h 23"/>
                <a:gd name="T14" fmla="*/ 2 w 23"/>
                <a:gd name="T15" fmla="*/ 21 h 23"/>
                <a:gd name="T16" fmla="*/ 0 w 23"/>
                <a:gd name="T17" fmla="*/ 17 h 23"/>
                <a:gd name="T18" fmla="*/ 0 w 23"/>
                <a:gd name="T19" fmla="*/ 11 h 23"/>
                <a:gd name="T20" fmla="*/ 0 w 23"/>
                <a:gd name="T21" fmla="*/ 11 h 23"/>
                <a:gd name="T22" fmla="*/ 0 w 23"/>
                <a:gd name="T23" fmla="*/ 6 h 23"/>
                <a:gd name="T24" fmla="*/ 2 w 23"/>
                <a:gd name="T25" fmla="*/ 2 h 23"/>
                <a:gd name="T26" fmla="*/ 6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1 w 23"/>
                <a:gd name="T35" fmla="*/ 6 h 23"/>
                <a:gd name="T36" fmla="*/ 23 w 23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1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6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1" y="6"/>
                  </a:lnTo>
                  <a:lnTo>
                    <a:pt x="23" y="11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3" name="Freeform 506">
              <a:extLst>
                <a:ext uri="{FF2B5EF4-FFF2-40B4-BE49-F238E27FC236}">
                  <a16:creationId xmlns:a16="http://schemas.microsoft.com/office/drawing/2014/main" id="{540D8936-C92D-CC09-2E9B-087456A20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1" y="2355"/>
              <a:ext cx="23" cy="23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1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6 w 23"/>
                <a:gd name="T13" fmla="*/ 23 h 23"/>
                <a:gd name="T14" fmla="*/ 2 w 23"/>
                <a:gd name="T15" fmla="*/ 21 h 23"/>
                <a:gd name="T16" fmla="*/ 0 w 23"/>
                <a:gd name="T17" fmla="*/ 17 h 23"/>
                <a:gd name="T18" fmla="*/ 0 w 23"/>
                <a:gd name="T19" fmla="*/ 11 h 23"/>
                <a:gd name="T20" fmla="*/ 0 w 23"/>
                <a:gd name="T21" fmla="*/ 11 h 23"/>
                <a:gd name="T22" fmla="*/ 0 w 23"/>
                <a:gd name="T23" fmla="*/ 6 h 23"/>
                <a:gd name="T24" fmla="*/ 2 w 23"/>
                <a:gd name="T25" fmla="*/ 2 h 23"/>
                <a:gd name="T26" fmla="*/ 6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1 w 23"/>
                <a:gd name="T35" fmla="*/ 6 h 23"/>
                <a:gd name="T36" fmla="*/ 23 w 23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1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6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1" y="6"/>
                  </a:lnTo>
                  <a:lnTo>
                    <a:pt x="23" y="11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4" name="Freeform 507">
              <a:extLst>
                <a:ext uri="{FF2B5EF4-FFF2-40B4-BE49-F238E27FC236}">
                  <a16:creationId xmlns:a16="http://schemas.microsoft.com/office/drawing/2014/main" id="{4502880C-D746-8232-3D63-5CFF69FDFF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1" y="2289"/>
              <a:ext cx="24" cy="2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2 w 24"/>
                <a:gd name="T5" fmla="*/ 17 h 23"/>
                <a:gd name="T6" fmla="*/ 21 w 24"/>
                <a:gd name="T7" fmla="*/ 21 h 23"/>
                <a:gd name="T8" fmla="*/ 17 w 24"/>
                <a:gd name="T9" fmla="*/ 23 h 23"/>
                <a:gd name="T10" fmla="*/ 11 w 24"/>
                <a:gd name="T11" fmla="*/ 23 h 23"/>
                <a:gd name="T12" fmla="*/ 7 w 24"/>
                <a:gd name="T13" fmla="*/ 23 h 23"/>
                <a:gd name="T14" fmla="*/ 4 w 24"/>
                <a:gd name="T15" fmla="*/ 21 h 23"/>
                <a:gd name="T16" fmla="*/ 2 w 24"/>
                <a:gd name="T17" fmla="*/ 17 h 23"/>
                <a:gd name="T18" fmla="*/ 0 w 24"/>
                <a:gd name="T19" fmla="*/ 12 h 23"/>
                <a:gd name="T20" fmla="*/ 0 w 24"/>
                <a:gd name="T21" fmla="*/ 12 h 23"/>
                <a:gd name="T22" fmla="*/ 2 w 24"/>
                <a:gd name="T23" fmla="*/ 6 h 23"/>
                <a:gd name="T24" fmla="*/ 4 w 24"/>
                <a:gd name="T25" fmla="*/ 2 h 23"/>
                <a:gd name="T26" fmla="*/ 7 w 24"/>
                <a:gd name="T27" fmla="*/ 0 h 23"/>
                <a:gd name="T28" fmla="*/ 11 w 24"/>
                <a:gd name="T29" fmla="*/ 0 h 23"/>
                <a:gd name="T30" fmla="*/ 17 w 24"/>
                <a:gd name="T31" fmla="*/ 0 h 23"/>
                <a:gd name="T32" fmla="*/ 21 w 24"/>
                <a:gd name="T33" fmla="*/ 2 h 23"/>
                <a:gd name="T34" fmla="*/ 22 w 24"/>
                <a:gd name="T35" fmla="*/ 6 h 23"/>
                <a:gd name="T36" fmla="*/ 24 w 24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2" y="6"/>
                  </a:lnTo>
                  <a:lnTo>
                    <a:pt x="24" y="12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5" name="Freeform 508">
              <a:extLst>
                <a:ext uri="{FF2B5EF4-FFF2-40B4-BE49-F238E27FC236}">
                  <a16:creationId xmlns:a16="http://schemas.microsoft.com/office/drawing/2014/main" id="{69C5FA0F-8646-75FC-CB9A-A47C084997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1" y="2289"/>
              <a:ext cx="24" cy="2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2 w 24"/>
                <a:gd name="T5" fmla="*/ 17 h 23"/>
                <a:gd name="T6" fmla="*/ 21 w 24"/>
                <a:gd name="T7" fmla="*/ 21 h 23"/>
                <a:gd name="T8" fmla="*/ 17 w 24"/>
                <a:gd name="T9" fmla="*/ 23 h 23"/>
                <a:gd name="T10" fmla="*/ 11 w 24"/>
                <a:gd name="T11" fmla="*/ 23 h 23"/>
                <a:gd name="T12" fmla="*/ 7 w 24"/>
                <a:gd name="T13" fmla="*/ 23 h 23"/>
                <a:gd name="T14" fmla="*/ 4 w 24"/>
                <a:gd name="T15" fmla="*/ 21 h 23"/>
                <a:gd name="T16" fmla="*/ 2 w 24"/>
                <a:gd name="T17" fmla="*/ 17 h 23"/>
                <a:gd name="T18" fmla="*/ 0 w 24"/>
                <a:gd name="T19" fmla="*/ 12 h 23"/>
                <a:gd name="T20" fmla="*/ 0 w 24"/>
                <a:gd name="T21" fmla="*/ 12 h 23"/>
                <a:gd name="T22" fmla="*/ 2 w 24"/>
                <a:gd name="T23" fmla="*/ 6 h 23"/>
                <a:gd name="T24" fmla="*/ 4 w 24"/>
                <a:gd name="T25" fmla="*/ 2 h 23"/>
                <a:gd name="T26" fmla="*/ 7 w 24"/>
                <a:gd name="T27" fmla="*/ 0 h 23"/>
                <a:gd name="T28" fmla="*/ 11 w 24"/>
                <a:gd name="T29" fmla="*/ 0 h 23"/>
                <a:gd name="T30" fmla="*/ 17 w 24"/>
                <a:gd name="T31" fmla="*/ 0 h 23"/>
                <a:gd name="T32" fmla="*/ 21 w 24"/>
                <a:gd name="T33" fmla="*/ 2 h 23"/>
                <a:gd name="T34" fmla="*/ 22 w 24"/>
                <a:gd name="T35" fmla="*/ 6 h 23"/>
                <a:gd name="T36" fmla="*/ 24 w 24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2" y="6"/>
                  </a:lnTo>
                  <a:lnTo>
                    <a:pt x="24" y="12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6" name="Freeform 509">
              <a:extLst>
                <a:ext uri="{FF2B5EF4-FFF2-40B4-BE49-F238E27FC236}">
                  <a16:creationId xmlns:a16="http://schemas.microsoft.com/office/drawing/2014/main" id="{4E3D0F58-D7A4-1C60-D428-61EE47BED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2" y="2302"/>
              <a:ext cx="23" cy="25"/>
            </a:xfrm>
            <a:custGeom>
              <a:avLst/>
              <a:gdLst>
                <a:gd name="T0" fmla="*/ 23 w 23"/>
                <a:gd name="T1" fmla="*/ 12 h 25"/>
                <a:gd name="T2" fmla="*/ 23 w 23"/>
                <a:gd name="T3" fmla="*/ 12 h 25"/>
                <a:gd name="T4" fmla="*/ 23 w 23"/>
                <a:gd name="T5" fmla="*/ 17 h 25"/>
                <a:gd name="T6" fmla="*/ 19 w 23"/>
                <a:gd name="T7" fmla="*/ 21 h 25"/>
                <a:gd name="T8" fmla="*/ 15 w 23"/>
                <a:gd name="T9" fmla="*/ 23 h 25"/>
                <a:gd name="T10" fmla="*/ 12 w 23"/>
                <a:gd name="T11" fmla="*/ 25 h 25"/>
                <a:gd name="T12" fmla="*/ 8 w 23"/>
                <a:gd name="T13" fmla="*/ 23 h 25"/>
                <a:gd name="T14" fmla="*/ 4 w 23"/>
                <a:gd name="T15" fmla="*/ 21 h 25"/>
                <a:gd name="T16" fmla="*/ 0 w 23"/>
                <a:gd name="T17" fmla="*/ 17 h 25"/>
                <a:gd name="T18" fmla="*/ 0 w 23"/>
                <a:gd name="T19" fmla="*/ 12 h 25"/>
                <a:gd name="T20" fmla="*/ 0 w 23"/>
                <a:gd name="T21" fmla="*/ 12 h 25"/>
                <a:gd name="T22" fmla="*/ 0 w 23"/>
                <a:gd name="T23" fmla="*/ 8 h 25"/>
                <a:gd name="T24" fmla="*/ 4 w 23"/>
                <a:gd name="T25" fmla="*/ 4 h 25"/>
                <a:gd name="T26" fmla="*/ 8 w 23"/>
                <a:gd name="T27" fmla="*/ 2 h 25"/>
                <a:gd name="T28" fmla="*/ 12 w 23"/>
                <a:gd name="T29" fmla="*/ 0 h 25"/>
                <a:gd name="T30" fmla="*/ 15 w 23"/>
                <a:gd name="T31" fmla="*/ 2 h 25"/>
                <a:gd name="T32" fmla="*/ 19 w 23"/>
                <a:gd name="T33" fmla="*/ 4 h 25"/>
                <a:gd name="T34" fmla="*/ 23 w 23"/>
                <a:gd name="T35" fmla="*/ 8 h 25"/>
                <a:gd name="T36" fmla="*/ 23 w 23"/>
                <a:gd name="T3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5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5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2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7" name="Freeform 510">
              <a:extLst>
                <a:ext uri="{FF2B5EF4-FFF2-40B4-BE49-F238E27FC236}">
                  <a16:creationId xmlns:a16="http://schemas.microsoft.com/office/drawing/2014/main" id="{25FBE91F-DDA4-47CB-6129-6661CAF03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2" y="2302"/>
              <a:ext cx="23" cy="25"/>
            </a:xfrm>
            <a:custGeom>
              <a:avLst/>
              <a:gdLst>
                <a:gd name="T0" fmla="*/ 23 w 23"/>
                <a:gd name="T1" fmla="*/ 12 h 25"/>
                <a:gd name="T2" fmla="*/ 23 w 23"/>
                <a:gd name="T3" fmla="*/ 12 h 25"/>
                <a:gd name="T4" fmla="*/ 23 w 23"/>
                <a:gd name="T5" fmla="*/ 17 h 25"/>
                <a:gd name="T6" fmla="*/ 19 w 23"/>
                <a:gd name="T7" fmla="*/ 21 h 25"/>
                <a:gd name="T8" fmla="*/ 15 w 23"/>
                <a:gd name="T9" fmla="*/ 23 h 25"/>
                <a:gd name="T10" fmla="*/ 12 w 23"/>
                <a:gd name="T11" fmla="*/ 25 h 25"/>
                <a:gd name="T12" fmla="*/ 8 w 23"/>
                <a:gd name="T13" fmla="*/ 23 h 25"/>
                <a:gd name="T14" fmla="*/ 4 w 23"/>
                <a:gd name="T15" fmla="*/ 21 h 25"/>
                <a:gd name="T16" fmla="*/ 0 w 23"/>
                <a:gd name="T17" fmla="*/ 17 h 25"/>
                <a:gd name="T18" fmla="*/ 0 w 23"/>
                <a:gd name="T19" fmla="*/ 12 h 25"/>
                <a:gd name="T20" fmla="*/ 0 w 23"/>
                <a:gd name="T21" fmla="*/ 12 h 25"/>
                <a:gd name="T22" fmla="*/ 0 w 23"/>
                <a:gd name="T23" fmla="*/ 8 h 25"/>
                <a:gd name="T24" fmla="*/ 4 w 23"/>
                <a:gd name="T25" fmla="*/ 4 h 25"/>
                <a:gd name="T26" fmla="*/ 8 w 23"/>
                <a:gd name="T27" fmla="*/ 2 h 25"/>
                <a:gd name="T28" fmla="*/ 12 w 23"/>
                <a:gd name="T29" fmla="*/ 0 h 25"/>
                <a:gd name="T30" fmla="*/ 15 w 23"/>
                <a:gd name="T31" fmla="*/ 2 h 25"/>
                <a:gd name="T32" fmla="*/ 19 w 23"/>
                <a:gd name="T33" fmla="*/ 4 h 25"/>
                <a:gd name="T34" fmla="*/ 23 w 23"/>
                <a:gd name="T35" fmla="*/ 8 h 25"/>
                <a:gd name="T36" fmla="*/ 23 w 23"/>
                <a:gd name="T3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5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5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2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8" name="Freeform 511">
              <a:extLst>
                <a:ext uri="{FF2B5EF4-FFF2-40B4-BE49-F238E27FC236}">
                  <a16:creationId xmlns:a16="http://schemas.microsoft.com/office/drawing/2014/main" id="{88F88700-3E13-7616-EFD6-E5C1AE2B1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3" y="2308"/>
              <a:ext cx="23" cy="23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1 h 23"/>
                <a:gd name="T20" fmla="*/ 0 w 23"/>
                <a:gd name="T21" fmla="*/ 11 h 23"/>
                <a:gd name="T22" fmla="*/ 0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1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9" name="Freeform 512">
              <a:extLst>
                <a:ext uri="{FF2B5EF4-FFF2-40B4-BE49-F238E27FC236}">
                  <a16:creationId xmlns:a16="http://schemas.microsoft.com/office/drawing/2014/main" id="{7919B123-C75B-2A1A-D38A-473D55BA2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3" y="2308"/>
              <a:ext cx="23" cy="23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1 h 23"/>
                <a:gd name="T20" fmla="*/ 0 w 23"/>
                <a:gd name="T21" fmla="*/ 11 h 23"/>
                <a:gd name="T22" fmla="*/ 0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1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0" name="Freeform 513">
              <a:extLst>
                <a:ext uri="{FF2B5EF4-FFF2-40B4-BE49-F238E27FC236}">
                  <a16:creationId xmlns:a16="http://schemas.microsoft.com/office/drawing/2014/main" id="{6E6C12AF-32BE-D7C8-2192-66F804494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4" y="2261"/>
              <a:ext cx="23" cy="25"/>
            </a:xfrm>
            <a:custGeom>
              <a:avLst/>
              <a:gdLst>
                <a:gd name="T0" fmla="*/ 23 w 23"/>
                <a:gd name="T1" fmla="*/ 13 h 25"/>
                <a:gd name="T2" fmla="*/ 23 w 23"/>
                <a:gd name="T3" fmla="*/ 13 h 25"/>
                <a:gd name="T4" fmla="*/ 23 w 23"/>
                <a:gd name="T5" fmla="*/ 17 h 25"/>
                <a:gd name="T6" fmla="*/ 19 w 23"/>
                <a:gd name="T7" fmla="*/ 21 h 25"/>
                <a:gd name="T8" fmla="*/ 15 w 23"/>
                <a:gd name="T9" fmla="*/ 23 h 25"/>
                <a:gd name="T10" fmla="*/ 11 w 23"/>
                <a:gd name="T11" fmla="*/ 25 h 25"/>
                <a:gd name="T12" fmla="*/ 7 w 23"/>
                <a:gd name="T13" fmla="*/ 23 h 25"/>
                <a:gd name="T14" fmla="*/ 4 w 23"/>
                <a:gd name="T15" fmla="*/ 21 h 25"/>
                <a:gd name="T16" fmla="*/ 0 w 23"/>
                <a:gd name="T17" fmla="*/ 17 h 25"/>
                <a:gd name="T18" fmla="*/ 0 w 23"/>
                <a:gd name="T19" fmla="*/ 13 h 25"/>
                <a:gd name="T20" fmla="*/ 0 w 23"/>
                <a:gd name="T21" fmla="*/ 13 h 25"/>
                <a:gd name="T22" fmla="*/ 0 w 23"/>
                <a:gd name="T23" fmla="*/ 8 h 25"/>
                <a:gd name="T24" fmla="*/ 4 w 23"/>
                <a:gd name="T25" fmla="*/ 4 h 25"/>
                <a:gd name="T26" fmla="*/ 7 w 23"/>
                <a:gd name="T27" fmla="*/ 2 h 25"/>
                <a:gd name="T28" fmla="*/ 11 w 23"/>
                <a:gd name="T29" fmla="*/ 0 h 25"/>
                <a:gd name="T30" fmla="*/ 15 w 23"/>
                <a:gd name="T31" fmla="*/ 2 h 25"/>
                <a:gd name="T32" fmla="*/ 19 w 23"/>
                <a:gd name="T33" fmla="*/ 4 h 25"/>
                <a:gd name="T34" fmla="*/ 23 w 23"/>
                <a:gd name="T35" fmla="*/ 8 h 25"/>
                <a:gd name="T36" fmla="*/ 23 w 23"/>
                <a:gd name="T3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5">
                  <a:moveTo>
                    <a:pt x="23" y="13"/>
                  </a:moveTo>
                  <a:lnTo>
                    <a:pt x="23" y="13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5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3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1" name="Freeform 514">
              <a:extLst>
                <a:ext uri="{FF2B5EF4-FFF2-40B4-BE49-F238E27FC236}">
                  <a16:creationId xmlns:a16="http://schemas.microsoft.com/office/drawing/2014/main" id="{9185F581-AEEE-DE7A-DA28-2CBD84F5B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4" y="2261"/>
              <a:ext cx="23" cy="25"/>
            </a:xfrm>
            <a:custGeom>
              <a:avLst/>
              <a:gdLst>
                <a:gd name="T0" fmla="*/ 23 w 23"/>
                <a:gd name="T1" fmla="*/ 13 h 25"/>
                <a:gd name="T2" fmla="*/ 23 w 23"/>
                <a:gd name="T3" fmla="*/ 13 h 25"/>
                <a:gd name="T4" fmla="*/ 23 w 23"/>
                <a:gd name="T5" fmla="*/ 17 h 25"/>
                <a:gd name="T6" fmla="*/ 19 w 23"/>
                <a:gd name="T7" fmla="*/ 21 h 25"/>
                <a:gd name="T8" fmla="*/ 15 w 23"/>
                <a:gd name="T9" fmla="*/ 23 h 25"/>
                <a:gd name="T10" fmla="*/ 11 w 23"/>
                <a:gd name="T11" fmla="*/ 25 h 25"/>
                <a:gd name="T12" fmla="*/ 7 w 23"/>
                <a:gd name="T13" fmla="*/ 23 h 25"/>
                <a:gd name="T14" fmla="*/ 4 w 23"/>
                <a:gd name="T15" fmla="*/ 21 h 25"/>
                <a:gd name="T16" fmla="*/ 0 w 23"/>
                <a:gd name="T17" fmla="*/ 17 h 25"/>
                <a:gd name="T18" fmla="*/ 0 w 23"/>
                <a:gd name="T19" fmla="*/ 13 h 25"/>
                <a:gd name="T20" fmla="*/ 0 w 23"/>
                <a:gd name="T21" fmla="*/ 13 h 25"/>
                <a:gd name="T22" fmla="*/ 0 w 23"/>
                <a:gd name="T23" fmla="*/ 8 h 25"/>
                <a:gd name="T24" fmla="*/ 4 w 23"/>
                <a:gd name="T25" fmla="*/ 4 h 25"/>
                <a:gd name="T26" fmla="*/ 7 w 23"/>
                <a:gd name="T27" fmla="*/ 2 h 25"/>
                <a:gd name="T28" fmla="*/ 11 w 23"/>
                <a:gd name="T29" fmla="*/ 0 h 25"/>
                <a:gd name="T30" fmla="*/ 15 w 23"/>
                <a:gd name="T31" fmla="*/ 2 h 25"/>
                <a:gd name="T32" fmla="*/ 19 w 23"/>
                <a:gd name="T33" fmla="*/ 4 h 25"/>
                <a:gd name="T34" fmla="*/ 23 w 23"/>
                <a:gd name="T35" fmla="*/ 8 h 25"/>
                <a:gd name="T36" fmla="*/ 23 w 23"/>
                <a:gd name="T3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5">
                  <a:moveTo>
                    <a:pt x="23" y="13"/>
                  </a:moveTo>
                  <a:lnTo>
                    <a:pt x="23" y="13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5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3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2" name="Freeform 515">
              <a:extLst>
                <a:ext uri="{FF2B5EF4-FFF2-40B4-BE49-F238E27FC236}">
                  <a16:creationId xmlns:a16="http://schemas.microsoft.com/office/drawing/2014/main" id="{F21E76F4-8724-DC70-8F46-1FB6533B00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" y="2257"/>
              <a:ext cx="25" cy="2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5 h 23"/>
                <a:gd name="T6" fmla="*/ 21 w 25"/>
                <a:gd name="T7" fmla="*/ 19 h 23"/>
                <a:gd name="T8" fmla="*/ 17 w 25"/>
                <a:gd name="T9" fmla="*/ 23 h 23"/>
                <a:gd name="T10" fmla="*/ 11 w 25"/>
                <a:gd name="T11" fmla="*/ 23 h 23"/>
                <a:gd name="T12" fmla="*/ 8 w 25"/>
                <a:gd name="T13" fmla="*/ 23 h 23"/>
                <a:gd name="T14" fmla="*/ 4 w 25"/>
                <a:gd name="T15" fmla="*/ 19 h 23"/>
                <a:gd name="T16" fmla="*/ 2 w 25"/>
                <a:gd name="T17" fmla="*/ 15 h 23"/>
                <a:gd name="T18" fmla="*/ 0 w 25"/>
                <a:gd name="T19" fmla="*/ 12 h 23"/>
                <a:gd name="T20" fmla="*/ 0 w 25"/>
                <a:gd name="T21" fmla="*/ 12 h 23"/>
                <a:gd name="T22" fmla="*/ 2 w 25"/>
                <a:gd name="T23" fmla="*/ 6 h 23"/>
                <a:gd name="T24" fmla="*/ 4 w 25"/>
                <a:gd name="T25" fmla="*/ 2 h 23"/>
                <a:gd name="T26" fmla="*/ 8 w 25"/>
                <a:gd name="T27" fmla="*/ 0 h 23"/>
                <a:gd name="T28" fmla="*/ 11 w 25"/>
                <a:gd name="T29" fmla="*/ 0 h 23"/>
                <a:gd name="T30" fmla="*/ 17 w 25"/>
                <a:gd name="T31" fmla="*/ 0 h 23"/>
                <a:gd name="T32" fmla="*/ 21 w 25"/>
                <a:gd name="T33" fmla="*/ 2 h 23"/>
                <a:gd name="T34" fmla="*/ 23 w 25"/>
                <a:gd name="T35" fmla="*/ 6 h 23"/>
                <a:gd name="T36" fmla="*/ 25 w 25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5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19"/>
                  </a:lnTo>
                  <a:lnTo>
                    <a:pt x="2" y="15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5" y="12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3" name="Freeform 516">
              <a:extLst>
                <a:ext uri="{FF2B5EF4-FFF2-40B4-BE49-F238E27FC236}">
                  <a16:creationId xmlns:a16="http://schemas.microsoft.com/office/drawing/2014/main" id="{C2D372E5-E10A-CEFE-A4D8-0146C7C28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" y="2257"/>
              <a:ext cx="25" cy="2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5 h 23"/>
                <a:gd name="T6" fmla="*/ 21 w 25"/>
                <a:gd name="T7" fmla="*/ 19 h 23"/>
                <a:gd name="T8" fmla="*/ 17 w 25"/>
                <a:gd name="T9" fmla="*/ 23 h 23"/>
                <a:gd name="T10" fmla="*/ 11 w 25"/>
                <a:gd name="T11" fmla="*/ 23 h 23"/>
                <a:gd name="T12" fmla="*/ 8 w 25"/>
                <a:gd name="T13" fmla="*/ 23 h 23"/>
                <a:gd name="T14" fmla="*/ 4 w 25"/>
                <a:gd name="T15" fmla="*/ 19 h 23"/>
                <a:gd name="T16" fmla="*/ 2 w 25"/>
                <a:gd name="T17" fmla="*/ 15 h 23"/>
                <a:gd name="T18" fmla="*/ 0 w 25"/>
                <a:gd name="T19" fmla="*/ 12 h 23"/>
                <a:gd name="T20" fmla="*/ 0 w 25"/>
                <a:gd name="T21" fmla="*/ 12 h 23"/>
                <a:gd name="T22" fmla="*/ 2 w 25"/>
                <a:gd name="T23" fmla="*/ 6 h 23"/>
                <a:gd name="T24" fmla="*/ 4 w 25"/>
                <a:gd name="T25" fmla="*/ 2 h 23"/>
                <a:gd name="T26" fmla="*/ 8 w 25"/>
                <a:gd name="T27" fmla="*/ 0 h 23"/>
                <a:gd name="T28" fmla="*/ 11 w 25"/>
                <a:gd name="T29" fmla="*/ 0 h 23"/>
                <a:gd name="T30" fmla="*/ 17 w 25"/>
                <a:gd name="T31" fmla="*/ 0 h 23"/>
                <a:gd name="T32" fmla="*/ 21 w 25"/>
                <a:gd name="T33" fmla="*/ 2 h 23"/>
                <a:gd name="T34" fmla="*/ 23 w 25"/>
                <a:gd name="T35" fmla="*/ 6 h 23"/>
                <a:gd name="T36" fmla="*/ 25 w 25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5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19"/>
                  </a:lnTo>
                  <a:lnTo>
                    <a:pt x="2" y="15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5" y="12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4" name="Freeform 517">
              <a:extLst>
                <a:ext uri="{FF2B5EF4-FFF2-40B4-BE49-F238E27FC236}">
                  <a16:creationId xmlns:a16="http://schemas.microsoft.com/office/drawing/2014/main" id="{B331CEC9-1EF5-8A79-82D1-713D6EC68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3" y="2242"/>
              <a:ext cx="22" cy="25"/>
            </a:xfrm>
            <a:custGeom>
              <a:avLst/>
              <a:gdLst>
                <a:gd name="T0" fmla="*/ 22 w 22"/>
                <a:gd name="T1" fmla="*/ 13 h 25"/>
                <a:gd name="T2" fmla="*/ 22 w 22"/>
                <a:gd name="T3" fmla="*/ 13 h 25"/>
                <a:gd name="T4" fmla="*/ 22 w 22"/>
                <a:gd name="T5" fmla="*/ 17 h 25"/>
                <a:gd name="T6" fmla="*/ 19 w 22"/>
                <a:gd name="T7" fmla="*/ 21 h 25"/>
                <a:gd name="T8" fmla="*/ 15 w 22"/>
                <a:gd name="T9" fmla="*/ 25 h 25"/>
                <a:gd name="T10" fmla="*/ 11 w 22"/>
                <a:gd name="T11" fmla="*/ 25 h 25"/>
                <a:gd name="T12" fmla="*/ 7 w 22"/>
                <a:gd name="T13" fmla="*/ 25 h 25"/>
                <a:gd name="T14" fmla="*/ 3 w 22"/>
                <a:gd name="T15" fmla="*/ 21 h 25"/>
                <a:gd name="T16" fmla="*/ 0 w 22"/>
                <a:gd name="T17" fmla="*/ 17 h 25"/>
                <a:gd name="T18" fmla="*/ 0 w 22"/>
                <a:gd name="T19" fmla="*/ 13 h 25"/>
                <a:gd name="T20" fmla="*/ 0 w 22"/>
                <a:gd name="T21" fmla="*/ 13 h 25"/>
                <a:gd name="T22" fmla="*/ 0 w 22"/>
                <a:gd name="T23" fmla="*/ 8 h 25"/>
                <a:gd name="T24" fmla="*/ 3 w 22"/>
                <a:gd name="T25" fmla="*/ 4 h 25"/>
                <a:gd name="T26" fmla="*/ 7 w 22"/>
                <a:gd name="T27" fmla="*/ 2 h 25"/>
                <a:gd name="T28" fmla="*/ 11 w 22"/>
                <a:gd name="T29" fmla="*/ 0 h 25"/>
                <a:gd name="T30" fmla="*/ 15 w 22"/>
                <a:gd name="T31" fmla="*/ 2 h 25"/>
                <a:gd name="T32" fmla="*/ 19 w 22"/>
                <a:gd name="T33" fmla="*/ 4 h 25"/>
                <a:gd name="T34" fmla="*/ 22 w 22"/>
                <a:gd name="T35" fmla="*/ 8 h 25"/>
                <a:gd name="T36" fmla="*/ 22 w 22"/>
                <a:gd name="T3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5">
                  <a:moveTo>
                    <a:pt x="22" y="13"/>
                  </a:moveTo>
                  <a:lnTo>
                    <a:pt x="22" y="13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5" y="25"/>
                  </a:lnTo>
                  <a:lnTo>
                    <a:pt x="11" y="25"/>
                  </a:lnTo>
                  <a:lnTo>
                    <a:pt x="7" y="25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2" y="8"/>
                  </a:lnTo>
                  <a:lnTo>
                    <a:pt x="22" y="13"/>
                  </a:lnTo>
                  <a:close/>
                </a:path>
              </a:pathLst>
            </a:custGeom>
            <a:solidFill>
              <a:srgbClr val="6A5A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5" name="Freeform 518">
              <a:extLst>
                <a:ext uri="{FF2B5EF4-FFF2-40B4-BE49-F238E27FC236}">
                  <a16:creationId xmlns:a16="http://schemas.microsoft.com/office/drawing/2014/main" id="{5A158173-2A40-3F2D-5B63-9446CFB81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3" y="2242"/>
              <a:ext cx="22" cy="25"/>
            </a:xfrm>
            <a:custGeom>
              <a:avLst/>
              <a:gdLst>
                <a:gd name="T0" fmla="*/ 22 w 22"/>
                <a:gd name="T1" fmla="*/ 13 h 25"/>
                <a:gd name="T2" fmla="*/ 22 w 22"/>
                <a:gd name="T3" fmla="*/ 13 h 25"/>
                <a:gd name="T4" fmla="*/ 22 w 22"/>
                <a:gd name="T5" fmla="*/ 17 h 25"/>
                <a:gd name="T6" fmla="*/ 19 w 22"/>
                <a:gd name="T7" fmla="*/ 21 h 25"/>
                <a:gd name="T8" fmla="*/ 15 w 22"/>
                <a:gd name="T9" fmla="*/ 25 h 25"/>
                <a:gd name="T10" fmla="*/ 11 w 22"/>
                <a:gd name="T11" fmla="*/ 25 h 25"/>
                <a:gd name="T12" fmla="*/ 7 w 22"/>
                <a:gd name="T13" fmla="*/ 25 h 25"/>
                <a:gd name="T14" fmla="*/ 3 w 22"/>
                <a:gd name="T15" fmla="*/ 21 h 25"/>
                <a:gd name="T16" fmla="*/ 0 w 22"/>
                <a:gd name="T17" fmla="*/ 17 h 25"/>
                <a:gd name="T18" fmla="*/ 0 w 22"/>
                <a:gd name="T19" fmla="*/ 13 h 25"/>
                <a:gd name="T20" fmla="*/ 0 w 22"/>
                <a:gd name="T21" fmla="*/ 13 h 25"/>
                <a:gd name="T22" fmla="*/ 0 w 22"/>
                <a:gd name="T23" fmla="*/ 8 h 25"/>
                <a:gd name="T24" fmla="*/ 3 w 22"/>
                <a:gd name="T25" fmla="*/ 4 h 25"/>
                <a:gd name="T26" fmla="*/ 7 w 22"/>
                <a:gd name="T27" fmla="*/ 2 h 25"/>
                <a:gd name="T28" fmla="*/ 11 w 22"/>
                <a:gd name="T29" fmla="*/ 0 h 25"/>
                <a:gd name="T30" fmla="*/ 15 w 22"/>
                <a:gd name="T31" fmla="*/ 2 h 25"/>
                <a:gd name="T32" fmla="*/ 19 w 22"/>
                <a:gd name="T33" fmla="*/ 4 h 25"/>
                <a:gd name="T34" fmla="*/ 22 w 22"/>
                <a:gd name="T35" fmla="*/ 8 h 25"/>
                <a:gd name="T36" fmla="*/ 22 w 22"/>
                <a:gd name="T3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5">
                  <a:moveTo>
                    <a:pt x="22" y="13"/>
                  </a:moveTo>
                  <a:lnTo>
                    <a:pt x="22" y="13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5" y="25"/>
                  </a:lnTo>
                  <a:lnTo>
                    <a:pt x="11" y="25"/>
                  </a:lnTo>
                  <a:lnTo>
                    <a:pt x="7" y="25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2" y="8"/>
                  </a:lnTo>
                  <a:lnTo>
                    <a:pt x="22" y="13"/>
                  </a:lnTo>
                </a:path>
              </a:pathLst>
            </a:custGeom>
            <a:noFill/>
            <a:ln w="9525">
              <a:solidFill>
                <a:srgbClr val="6A5A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6" name="Freeform 519">
              <a:extLst>
                <a:ext uri="{FF2B5EF4-FFF2-40B4-BE49-F238E27FC236}">
                  <a16:creationId xmlns:a16="http://schemas.microsoft.com/office/drawing/2014/main" id="{574F9D65-DE06-1A48-578D-5B42E60DE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" y="2618"/>
              <a:ext cx="25" cy="2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7 h 23"/>
                <a:gd name="T6" fmla="*/ 21 w 25"/>
                <a:gd name="T7" fmla="*/ 21 h 23"/>
                <a:gd name="T8" fmla="*/ 17 w 25"/>
                <a:gd name="T9" fmla="*/ 23 h 23"/>
                <a:gd name="T10" fmla="*/ 11 w 25"/>
                <a:gd name="T11" fmla="*/ 23 h 23"/>
                <a:gd name="T12" fmla="*/ 8 w 25"/>
                <a:gd name="T13" fmla="*/ 23 h 23"/>
                <a:gd name="T14" fmla="*/ 4 w 25"/>
                <a:gd name="T15" fmla="*/ 21 h 23"/>
                <a:gd name="T16" fmla="*/ 2 w 25"/>
                <a:gd name="T17" fmla="*/ 17 h 23"/>
                <a:gd name="T18" fmla="*/ 0 w 25"/>
                <a:gd name="T19" fmla="*/ 12 h 23"/>
                <a:gd name="T20" fmla="*/ 0 w 25"/>
                <a:gd name="T21" fmla="*/ 12 h 23"/>
                <a:gd name="T22" fmla="*/ 2 w 25"/>
                <a:gd name="T23" fmla="*/ 6 h 23"/>
                <a:gd name="T24" fmla="*/ 4 w 25"/>
                <a:gd name="T25" fmla="*/ 2 h 23"/>
                <a:gd name="T26" fmla="*/ 8 w 25"/>
                <a:gd name="T27" fmla="*/ 0 h 23"/>
                <a:gd name="T28" fmla="*/ 11 w 25"/>
                <a:gd name="T29" fmla="*/ 0 h 23"/>
                <a:gd name="T30" fmla="*/ 17 w 25"/>
                <a:gd name="T31" fmla="*/ 0 h 23"/>
                <a:gd name="T32" fmla="*/ 21 w 25"/>
                <a:gd name="T33" fmla="*/ 2 h 23"/>
                <a:gd name="T34" fmla="*/ 23 w 25"/>
                <a:gd name="T35" fmla="*/ 6 h 23"/>
                <a:gd name="T36" fmla="*/ 25 w 25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5" y="12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7" name="Freeform 520">
              <a:extLst>
                <a:ext uri="{FF2B5EF4-FFF2-40B4-BE49-F238E27FC236}">
                  <a16:creationId xmlns:a16="http://schemas.microsoft.com/office/drawing/2014/main" id="{9F04A002-828D-2A5C-4C12-F75EA7A75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" y="2618"/>
              <a:ext cx="25" cy="2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7 h 23"/>
                <a:gd name="T6" fmla="*/ 21 w 25"/>
                <a:gd name="T7" fmla="*/ 21 h 23"/>
                <a:gd name="T8" fmla="*/ 17 w 25"/>
                <a:gd name="T9" fmla="*/ 23 h 23"/>
                <a:gd name="T10" fmla="*/ 11 w 25"/>
                <a:gd name="T11" fmla="*/ 23 h 23"/>
                <a:gd name="T12" fmla="*/ 8 w 25"/>
                <a:gd name="T13" fmla="*/ 23 h 23"/>
                <a:gd name="T14" fmla="*/ 4 w 25"/>
                <a:gd name="T15" fmla="*/ 21 h 23"/>
                <a:gd name="T16" fmla="*/ 2 w 25"/>
                <a:gd name="T17" fmla="*/ 17 h 23"/>
                <a:gd name="T18" fmla="*/ 0 w 25"/>
                <a:gd name="T19" fmla="*/ 12 h 23"/>
                <a:gd name="T20" fmla="*/ 0 w 25"/>
                <a:gd name="T21" fmla="*/ 12 h 23"/>
                <a:gd name="T22" fmla="*/ 2 w 25"/>
                <a:gd name="T23" fmla="*/ 6 h 23"/>
                <a:gd name="T24" fmla="*/ 4 w 25"/>
                <a:gd name="T25" fmla="*/ 2 h 23"/>
                <a:gd name="T26" fmla="*/ 8 w 25"/>
                <a:gd name="T27" fmla="*/ 0 h 23"/>
                <a:gd name="T28" fmla="*/ 11 w 25"/>
                <a:gd name="T29" fmla="*/ 0 h 23"/>
                <a:gd name="T30" fmla="*/ 17 w 25"/>
                <a:gd name="T31" fmla="*/ 0 h 23"/>
                <a:gd name="T32" fmla="*/ 21 w 25"/>
                <a:gd name="T33" fmla="*/ 2 h 23"/>
                <a:gd name="T34" fmla="*/ 23 w 25"/>
                <a:gd name="T35" fmla="*/ 6 h 23"/>
                <a:gd name="T36" fmla="*/ 25 w 25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5" y="12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8" name="Freeform 521">
              <a:extLst>
                <a:ext uri="{FF2B5EF4-FFF2-40B4-BE49-F238E27FC236}">
                  <a16:creationId xmlns:a16="http://schemas.microsoft.com/office/drawing/2014/main" id="{251BA579-BBD6-2705-4700-4FD641054F1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" y="2139"/>
              <a:ext cx="22" cy="23"/>
            </a:xfrm>
            <a:custGeom>
              <a:avLst/>
              <a:gdLst>
                <a:gd name="T0" fmla="*/ 22 w 22"/>
                <a:gd name="T1" fmla="*/ 11 h 23"/>
                <a:gd name="T2" fmla="*/ 22 w 22"/>
                <a:gd name="T3" fmla="*/ 11 h 23"/>
                <a:gd name="T4" fmla="*/ 22 w 22"/>
                <a:gd name="T5" fmla="*/ 17 h 23"/>
                <a:gd name="T6" fmla="*/ 18 w 22"/>
                <a:gd name="T7" fmla="*/ 21 h 23"/>
                <a:gd name="T8" fmla="*/ 15 w 22"/>
                <a:gd name="T9" fmla="*/ 23 h 23"/>
                <a:gd name="T10" fmla="*/ 11 w 22"/>
                <a:gd name="T11" fmla="*/ 23 h 23"/>
                <a:gd name="T12" fmla="*/ 7 w 22"/>
                <a:gd name="T13" fmla="*/ 23 h 23"/>
                <a:gd name="T14" fmla="*/ 3 w 22"/>
                <a:gd name="T15" fmla="*/ 21 h 23"/>
                <a:gd name="T16" fmla="*/ 0 w 22"/>
                <a:gd name="T17" fmla="*/ 17 h 23"/>
                <a:gd name="T18" fmla="*/ 0 w 22"/>
                <a:gd name="T19" fmla="*/ 11 h 23"/>
                <a:gd name="T20" fmla="*/ 0 w 22"/>
                <a:gd name="T21" fmla="*/ 11 h 23"/>
                <a:gd name="T22" fmla="*/ 0 w 22"/>
                <a:gd name="T23" fmla="*/ 6 h 23"/>
                <a:gd name="T24" fmla="*/ 3 w 22"/>
                <a:gd name="T25" fmla="*/ 2 h 23"/>
                <a:gd name="T26" fmla="*/ 7 w 22"/>
                <a:gd name="T27" fmla="*/ 0 h 23"/>
                <a:gd name="T28" fmla="*/ 11 w 22"/>
                <a:gd name="T29" fmla="*/ 0 h 23"/>
                <a:gd name="T30" fmla="*/ 15 w 22"/>
                <a:gd name="T31" fmla="*/ 0 h 23"/>
                <a:gd name="T32" fmla="*/ 18 w 22"/>
                <a:gd name="T33" fmla="*/ 2 h 23"/>
                <a:gd name="T34" fmla="*/ 22 w 22"/>
                <a:gd name="T35" fmla="*/ 6 h 23"/>
                <a:gd name="T36" fmla="*/ 22 w 22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3">
                  <a:moveTo>
                    <a:pt x="22" y="11"/>
                  </a:moveTo>
                  <a:lnTo>
                    <a:pt x="22" y="11"/>
                  </a:lnTo>
                  <a:lnTo>
                    <a:pt x="22" y="17"/>
                  </a:lnTo>
                  <a:lnTo>
                    <a:pt x="18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8" y="2"/>
                  </a:lnTo>
                  <a:lnTo>
                    <a:pt x="22" y="6"/>
                  </a:lnTo>
                  <a:lnTo>
                    <a:pt x="22" y="11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39" name="Freeform 522">
              <a:extLst>
                <a:ext uri="{FF2B5EF4-FFF2-40B4-BE49-F238E27FC236}">
                  <a16:creationId xmlns:a16="http://schemas.microsoft.com/office/drawing/2014/main" id="{8D103AEF-AD4E-778D-40FF-F1D9DF392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" y="2139"/>
              <a:ext cx="22" cy="23"/>
            </a:xfrm>
            <a:custGeom>
              <a:avLst/>
              <a:gdLst>
                <a:gd name="T0" fmla="*/ 22 w 22"/>
                <a:gd name="T1" fmla="*/ 11 h 23"/>
                <a:gd name="T2" fmla="*/ 22 w 22"/>
                <a:gd name="T3" fmla="*/ 11 h 23"/>
                <a:gd name="T4" fmla="*/ 22 w 22"/>
                <a:gd name="T5" fmla="*/ 17 h 23"/>
                <a:gd name="T6" fmla="*/ 18 w 22"/>
                <a:gd name="T7" fmla="*/ 21 h 23"/>
                <a:gd name="T8" fmla="*/ 15 w 22"/>
                <a:gd name="T9" fmla="*/ 23 h 23"/>
                <a:gd name="T10" fmla="*/ 11 w 22"/>
                <a:gd name="T11" fmla="*/ 23 h 23"/>
                <a:gd name="T12" fmla="*/ 7 w 22"/>
                <a:gd name="T13" fmla="*/ 23 h 23"/>
                <a:gd name="T14" fmla="*/ 3 w 22"/>
                <a:gd name="T15" fmla="*/ 21 h 23"/>
                <a:gd name="T16" fmla="*/ 0 w 22"/>
                <a:gd name="T17" fmla="*/ 17 h 23"/>
                <a:gd name="T18" fmla="*/ 0 w 22"/>
                <a:gd name="T19" fmla="*/ 11 h 23"/>
                <a:gd name="T20" fmla="*/ 0 w 22"/>
                <a:gd name="T21" fmla="*/ 11 h 23"/>
                <a:gd name="T22" fmla="*/ 0 w 22"/>
                <a:gd name="T23" fmla="*/ 6 h 23"/>
                <a:gd name="T24" fmla="*/ 3 w 22"/>
                <a:gd name="T25" fmla="*/ 2 h 23"/>
                <a:gd name="T26" fmla="*/ 7 w 22"/>
                <a:gd name="T27" fmla="*/ 0 h 23"/>
                <a:gd name="T28" fmla="*/ 11 w 22"/>
                <a:gd name="T29" fmla="*/ 0 h 23"/>
                <a:gd name="T30" fmla="*/ 15 w 22"/>
                <a:gd name="T31" fmla="*/ 0 h 23"/>
                <a:gd name="T32" fmla="*/ 18 w 22"/>
                <a:gd name="T33" fmla="*/ 2 h 23"/>
                <a:gd name="T34" fmla="*/ 22 w 22"/>
                <a:gd name="T35" fmla="*/ 6 h 23"/>
                <a:gd name="T36" fmla="*/ 22 w 22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3">
                  <a:moveTo>
                    <a:pt x="22" y="11"/>
                  </a:moveTo>
                  <a:lnTo>
                    <a:pt x="22" y="11"/>
                  </a:lnTo>
                  <a:lnTo>
                    <a:pt x="22" y="17"/>
                  </a:lnTo>
                  <a:lnTo>
                    <a:pt x="18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8" y="2"/>
                  </a:lnTo>
                  <a:lnTo>
                    <a:pt x="22" y="6"/>
                  </a:lnTo>
                  <a:lnTo>
                    <a:pt x="22" y="11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0" name="Freeform 523">
              <a:extLst>
                <a:ext uri="{FF2B5EF4-FFF2-40B4-BE49-F238E27FC236}">
                  <a16:creationId xmlns:a16="http://schemas.microsoft.com/office/drawing/2014/main" id="{512DF7B8-EF7B-0740-4FE6-43D31A8C8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" y="1996"/>
              <a:ext cx="23" cy="23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2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1 h 23"/>
                <a:gd name="T20" fmla="*/ 0 w 23"/>
                <a:gd name="T21" fmla="*/ 11 h 23"/>
                <a:gd name="T22" fmla="*/ 0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2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1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1" name="Freeform 524">
              <a:extLst>
                <a:ext uri="{FF2B5EF4-FFF2-40B4-BE49-F238E27FC236}">
                  <a16:creationId xmlns:a16="http://schemas.microsoft.com/office/drawing/2014/main" id="{08531807-02E8-5D91-D968-965412CE6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" y="1996"/>
              <a:ext cx="23" cy="23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2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1 h 23"/>
                <a:gd name="T20" fmla="*/ 0 w 23"/>
                <a:gd name="T21" fmla="*/ 11 h 23"/>
                <a:gd name="T22" fmla="*/ 0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2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1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2" name="Freeform 525">
              <a:extLst>
                <a:ext uri="{FF2B5EF4-FFF2-40B4-BE49-F238E27FC236}">
                  <a16:creationId xmlns:a16="http://schemas.microsoft.com/office/drawing/2014/main" id="{0E97816A-9635-038B-4E56-8F01E82541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" y="2425"/>
              <a:ext cx="25" cy="22"/>
            </a:xfrm>
            <a:custGeom>
              <a:avLst/>
              <a:gdLst>
                <a:gd name="T0" fmla="*/ 25 w 25"/>
                <a:gd name="T1" fmla="*/ 11 h 22"/>
                <a:gd name="T2" fmla="*/ 25 w 25"/>
                <a:gd name="T3" fmla="*/ 11 h 22"/>
                <a:gd name="T4" fmla="*/ 23 w 25"/>
                <a:gd name="T5" fmla="*/ 17 h 22"/>
                <a:gd name="T6" fmla="*/ 21 w 25"/>
                <a:gd name="T7" fmla="*/ 20 h 22"/>
                <a:gd name="T8" fmla="*/ 17 w 25"/>
                <a:gd name="T9" fmla="*/ 22 h 22"/>
                <a:gd name="T10" fmla="*/ 13 w 25"/>
                <a:gd name="T11" fmla="*/ 22 h 22"/>
                <a:gd name="T12" fmla="*/ 8 w 25"/>
                <a:gd name="T13" fmla="*/ 22 h 22"/>
                <a:gd name="T14" fmla="*/ 4 w 25"/>
                <a:gd name="T15" fmla="*/ 20 h 22"/>
                <a:gd name="T16" fmla="*/ 2 w 25"/>
                <a:gd name="T17" fmla="*/ 17 h 22"/>
                <a:gd name="T18" fmla="*/ 0 w 25"/>
                <a:gd name="T19" fmla="*/ 11 h 22"/>
                <a:gd name="T20" fmla="*/ 0 w 25"/>
                <a:gd name="T21" fmla="*/ 11 h 22"/>
                <a:gd name="T22" fmla="*/ 2 w 25"/>
                <a:gd name="T23" fmla="*/ 5 h 22"/>
                <a:gd name="T24" fmla="*/ 4 w 25"/>
                <a:gd name="T25" fmla="*/ 2 h 22"/>
                <a:gd name="T26" fmla="*/ 8 w 25"/>
                <a:gd name="T27" fmla="*/ 0 h 22"/>
                <a:gd name="T28" fmla="*/ 13 w 25"/>
                <a:gd name="T29" fmla="*/ 0 h 22"/>
                <a:gd name="T30" fmla="*/ 17 w 25"/>
                <a:gd name="T31" fmla="*/ 0 h 22"/>
                <a:gd name="T32" fmla="*/ 21 w 25"/>
                <a:gd name="T33" fmla="*/ 2 h 22"/>
                <a:gd name="T34" fmla="*/ 23 w 25"/>
                <a:gd name="T35" fmla="*/ 5 h 22"/>
                <a:gd name="T36" fmla="*/ 25 w 25"/>
                <a:gd name="T37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2">
                  <a:moveTo>
                    <a:pt x="25" y="11"/>
                  </a:moveTo>
                  <a:lnTo>
                    <a:pt x="25" y="11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3" y="22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2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5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5"/>
                  </a:lnTo>
                  <a:lnTo>
                    <a:pt x="25" y="11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3" name="Freeform 526">
              <a:extLst>
                <a:ext uri="{FF2B5EF4-FFF2-40B4-BE49-F238E27FC236}">
                  <a16:creationId xmlns:a16="http://schemas.microsoft.com/office/drawing/2014/main" id="{7A5E6190-AEF8-6C35-7AA5-B32D7D39A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" y="2425"/>
              <a:ext cx="25" cy="22"/>
            </a:xfrm>
            <a:custGeom>
              <a:avLst/>
              <a:gdLst>
                <a:gd name="T0" fmla="*/ 25 w 25"/>
                <a:gd name="T1" fmla="*/ 11 h 22"/>
                <a:gd name="T2" fmla="*/ 25 w 25"/>
                <a:gd name="T3" fmla="*/ 11 h 22"/>
                <a:gd name="T4" fmla="*/ 23 w 25"/>
                <a:gd name="T5" fmla="*/ 17 h 22"/>
                <a:gd name="T6" fmla="*/ 21 w 25"/>
                <a:gd name="T7" fmla="*/ 20 h 22"/>
                <a:gd name="T8" fmla="*/ 17 w 25"/>
                <a:gd name="T9" fmla="*/ 22 h 22"/>
                <a:gd name="T10" fmla="*/ 13 w 25"/>
                <a:gd name="T11" fmla="*/ 22 h 22"/>
                <a:gd name="T12" fmla="*/ 8 w 25"/>
                <a:gd name="T13" fmla="*/ 22 h 22"/>
                <a:gd name="T14" fmla="*/ 4 w 25"/>
                <a:gd name="T15" fmla="*/ 20 h 22"/>
                <a:gd name="T16" fmla="*/ 2 w 25"/>
                <a:gd name="T17" fmla="*/ 17 h 22"/>
                <a:gd name="T18" fmla="*/ 0 w 25"/>
                <a:gd name="T19" fmla="*/ 11 h 22"/>
                <a:gd name="T20" fmla="*/ 0 w 25"/>
                <a:gd name="T21" fmla="*/ 11 h 22"/>
                <a:gd name="T22" fmla="*/ 2 w 25"/>
                <a:gd name="T23" fmla="*/ 5 h 22"/>
                <a:gd name="T24" fmla="*/ 4 w 25"/>
                <a:gd name="T25" fmla="*/ 2 h 22"/>
                <a:gd name="T26" fmla="*/ 8 w 25"/>
                <a:gd name="T27" fmla="*/ 0 h 22"/>
                <a:gd name="T28" fmla="*/ 13 w 25"/>
                <a:gd name="T29" fmla="*/ 0 h 22"/>
                <a:gd name="T30" fmla="*/ 17 w 25"/>
                <a:gd name="T31" fmla="*/ 0 h 22"/>
                <a:gd name="T32" fmla="*/ 21 w 25"/>
                <a:gd name="T33" fmla="*/ 2 h 22"/>
                <a:gd name="T34" fmla="*/ 23 w 25"/>
                <a:gd name="T35" fmla="*/ 5 h 22"/>
                <a:gd name="T36" fmla="*/ 25 w 25"/>
                <a:gd name="T37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2">
                  <a:moveTo>
                    <a:pt x="25" y="11"/>
                  </a:moveTo>
                  <a:lnTo>
                    <a:pt x="25" y="11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3" y="22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2" y="1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5"/>
                  </a:lnTo>
                  <a:lnTo>
                    <a:pt x="4" y="2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5"/>
                  </a:lnTo>
                  <a:lnTo>
                    <a:pt x="25" y="11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4" name="Freeform 527">
              <a:extLst>
                <a:ext uri="{FF2B5EF4-FFF2-40B4-BE49-F238E27FC236}">
                  <a16:creationId xmlns:a16="http://schemas.microsoft.com/office/drawing/2014/main" id="{BEA112C2-70D2-F3E0-B575-1C503F100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" y="2474"/>
              <a:ext cx="25" cy="22"/>
            </a:xfrm>
            <a:custGeom>
              <a:avLst/>
              <a:gdLst>
                <a:gd name="T0" fmla="*/ 25 w 25"/>
                <a:gd name="T1" fmla="*/ 11 h 22"/>
                <a:gd name="T2" fmla="*/ 25 w 25"/>
                <a:gd name="T3" fmla="*/ 11 h 22"/>
                <a:gd name="T4" fmla="*/ 23 w 25"/>
                <a:gd name="T5" fmla="*/ 16 h 22"/>
                <a:gd name="T6" fmla="*/ 21 w 25"/>
                <a:gd name="T7" fmla="*/ 20 h 22"/>
                <a:gd name="T8" fmla="*/ 17 w 25"/>
                <a:gd name="T9" fmla="*/ 22 h 22"/>
                <a:gd name="T10" fmla="*/ 11 w 25"/>
                <a:gd name="T11" fmla="*/ 22 h 22"/>
                <a:gd name="T12" fmla="*/ 8 w 25"/>
                <a:gd name="T13" fmla="*/ 22 h 22"/>
                <a:gd name="T14" fmla="*/ 4 w 25"/>
                <a:gd name="T15" fmla="*/ 20 h 22"/>
                <a:gd name="T16" fmla="*/ 2 w 25"/>
                <a:gd name="T17" fmla="*/ 16 h 22"/>
                <a:gd name="T18" fmla="*/ 0 w 25"/>
                <a:gd name="T19" fmla="*/ 11 h 22"/>
                <a:gd name="T20" fmla="*/ 0 w 25"/>
                <a:gd name="T21" fmla="*/ 11 h 22"/>
                <a:gd name="T22" fmla="*/ 2 w 25"/>
                <a:gd name="T23" fmla="*/ 7 h 22"/>
                <a:gd name="T24" fmla="*/ 4 w 25"/>
                <a:gd name="T25" fmla="*/ 3 h 22"/>
                <a:gd name="T26" fmla="*/ 8 w 25"/>
                <a:gd name="T27" fmla="*/ 0 h 22"/>
                <a:gd name="T28" fmla="*/ 11 w 25"/>
                <a:gd name="T29" fmla="*/ 0 h 22"/>
                <a:gd name="T30" fmla="*/ 17 w 25"/>
                <a:gd name="T31" fmla="*/ 0 h 22"/>
                <a:gd name="T32" fmla="*/ 21 w 25"/>
                <a:gd name="T33" fmla="*/ 3 h 22"/>
                <a:gd name="T34" fmla="*/ 23 w 25"/>
                <a:gd name="T35" fmla="*/ 7 h 22"/>
                <a:gd name="T36" fmla="*/ 25 w 25"/>
                <a:gd name="T37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2">
                  <a:moveTo>
                    <a:pt x="25" y="11"/>
                  </a:moveTo>
                  <a:lnTo>
                    <a:pt x="25" y="11"/>
                  </a:lnTo>
                  <a:lnTo>
                    <a:pt x="23" y="16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1" y="22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2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5" y="11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5" name="Freeform 528">
              <a:extLst>
                <a:ext uri="{FF2B5EF4-FFF2-40B4-BE49-F238E27FC236}">
                  <a16:creationId xmlns:a16="http://schemas.microsoft.com/office/drawing/2014/main" id="{0229E5CE-C7B5-327B-EDC4-9A27AB582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" y="2474"/>
              <a:ext cx="25" cy="22"/>
            </a:xfrm>
            <a:custGeom>
              <a:avLst/>
              <a:gdLst>
                <a:gd name="T0" fmla="*/ 25 w 25"/>
                <a:gd name="T1" fmla="*/ 11 h 22"/>
                <a:gd name="T2" fmla="*/ 25 w 25"/>
                <a:gd name="T3" fmla="*/ 11 h 22"/>
                <a:gd name="T4" fmla="*/ 23 w 25"/>
                <a:gd name="T5" fmla="*/ 16 h 22"/>
                <a:gd name="T6" fmla="*/ 21 w 25"/>
                <a:gd name="T7" fmla="*/ 20 h 22"/>
                <a:gd name="T8" fmla="*/ 17 w 25"/>
                <a:gd name="T9" fmla="*/ 22 h 22"/>
                <a:gd name="T10" fmla="*/ 11 w 25"/>
                <a:gd name="T11" fmla="*/ 22 h 22"/>
                <a:gd name="T12" fmla="*/ 8 w 25"/>
                <a:gd name="T13" fmla="*/ 22 h 22"/>
                <a:gd name="T14" fmla="*/ 4 w 25"/>
                <a:gd name="T15" fmla="*/ 20 h 22"/>
                <a:gd name="T16" fmla="*/ 2 w 25"/>
                <a:gd name="T17" fmla="*/ 16 h 22"/>
                <a:gd name="T18" fmla="*/ 0 w 25"/>
                <a:gd name="T19" fmla="*/ 11 h 22"/>
                <a:gd name="T20" fmla="*/ 0 w 25"/>
                <a:gd name="T21" fmla="*/ 11 h 22"/>
                <a:gd name="T22" fmla="*/ 2 w 25"/>
                <a:gd name="T23" fmla="*/ 7 h 22"/>
                <a:gd name="T24" fmla="*/ 4 w 25"/>
                <a:gd name="T25" fmla="*/ 3 h 22"/>
                <a:gd name="T26" fmla="*/ 8 w 25"/>
                <a:gd name="T27" fmla="*/ 0 h 22"/>
                <a:gd name="T28" fmla="*/ 11 w 25"/>
                <a:gd name="T29" fmla="*/ 0 h 22"/>
                <a:gd name="T30" fmla="*/ 17 w 25"/>
                <a:gd name="T31" fmla="*/ 0 h 22"/>
                <a:gd name="T32" fmla="*/ 21 w 25"/>
                <a:gd name="T33" fmla="*/ 3 h 22"/>
                <a:gd name="T34" fmla="*/ 23 w 25"/>
                <a:gd name="T35" fmla="*/ 7 h 22"/>
                <a:gd name="T36" fmla="*/ 25 w 25"/>
                <a:gd name="T37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2">
                  <a:moveTo>
                    <a:pt x="25" y="11"/>
                  </a:moveTo>
                  <a:lnTo>
                    <a:pt x="25" y="11"/>
                  </a:lnTo>
                  <a:lnTo>
                    <a:pt x="23" y="16"/>
                  </a:lnTo>
                  <a:lnTo>
                    <a:pt x="21" y="20"/>
                  </a:lnTo>
                  <a:lnTo>
                    <a:pt x="17" y="22"/>
                  </a:lnTo>
                  <a:lnTo>
                    <a:pt x="11" y="22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2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5" y="11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6" name="Freeform 529">
              <a:extLst>
                <a:ext uri="{FF2B5EF4-FFF2-40B4-BE49-F238E27FC236}">
                  <a16:creationId xmlns:a16="http://schemas.microsoft.com/office/drawing/2014/main" id="{164E83BB-D449-943E-3BAC-0D7E176F2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1" y="261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2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7" name="Freeform 530">
              <a:extLst>
                <a:ext uri="{FF2B5EF4-FFF2-40B4-BE49-F238E27FC236}">
                  <a16:creationId xmlns:a16="http://schemas.microsoft.com/office/drawing/2014/main" id="{55877551-B0A1-8138-D01A-CD81DAF79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1" y="261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2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8" name="Freeform 531">
              <a:extLst>
                <a:ext uri="{FF2B5EF4-FFF2-40B4-BE49-F238E27FC236}">
                  <a16:creationId xmlns:a16="http://schemas.microsoft.com/office/drawing/2014/main" id="{4B5D74EB-322E-DB8B-201E-48800CE00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5" y="261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2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2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2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49" name="Freeform 532">
              <a:extLst>
                <a:ext uri="{FF2B5EF4-FFF2-40B4-BE49-F238E27FC236}">
                  <a16:creationId xmlns:a16="http://schemas.microsoft.com/office/drawing/2014/main" id="{B6D5E3C0-AD93-BB90-F743-049059DAB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5" y="261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2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2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2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0" name="Freeform 533">
              <a:extLst>
                <a:ext uri="{FF2B5EF4-FFF2-40B4-BE49-F238E27FC236}">
                  <a16:creationId xmlns:a16="http://schemas.microsoft.com/office/drawing/2014/main" id="{FD2B12C6-8DBD-1866-D7B0-A93069EED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2" y="2423"/>
              <a:ext cx="25" cy="24"/>
            </a:xfrm>
            <a:custGeom>
              <a:avLst/>
              <a:gdLst>
                <a:gd name="T0" fmla="*/ 25 w 25"/>
                <a:gd name="T1" fmla="*/ 13 h 24"/>
                <a:gd name="T2" fmla="*/ 25 w 25"/>
                <a:gd name="T3" fmla="*/ 13 h 24"/>
                <a:gd name="T4" fmla="*/ 23 w 25"/>
                <a:gd name="T5" fmla="*/ 17 h 24"/>
                <a:gd name="T6" fmla="*/ 21 w 25"/>
                <a:gd name="T7" fmla="*/ 20 h 24"/>
                <a:gd name="T8" fmla="*/ 17 w 25"/>
                <a:gd name="T9" fmla="*/ 24 h 24"/>
                <a:gd name="T10" fmla="*/ 12 w 25"/>
                <a:gd name="T11" fmla="*/ 24 h 24"/>
                <a:gd name="T12" fmla="*/ 8 w 25"/>
                <a:gd name="T13" fmla="*/ 24 h 24"/>
                <a:gd name="T14" fmla="*/ 4 w 25"/>
                <a:gd name="T15" fmla="*/ 20 h 24"/>
                <a:gd name="T16" fmla="*/ 2 w 25"/>
                <a:gd name="T17" fmla="*/ 17 h 24"/>
                <a:gd name="T18" fmla="*/ 0 w 25"/>
                <a:gd name="T19" fmla="*/ 13 h 24"/>
                <a:gd name="T20" fmla="*/ 0 w 25"/>
                <a:gd name="T21" fmla="*/ 13 h 24"/>
                <a:gd name="T22" fmla="*/ 2 w 25"/>
                <a:gd name="T23" fmla="*/ 7 h 24"/>
                <a:gd name="T24" fmla="*/ 4 w 25"/>
                <a:gd name="T25" fmla="*/ 4 h 24"/>
                <a:gd name="T26" fmla="*/ 8 w 25"/>
                <a:gd name="T27" fmla="*/ 2 h 24"/>
                <a:gd name="T28" fmla="*/ 12 w 25"/>
                <a:gd name="T29" fmla="*/ 0 h 24"/>
                <a:gd name="T30" fmla="*/ 17 w 25"/>
                <a:gd name="T31" fmla="*/ 2 h 24"/>
                <a:gd name="T32" fmla="*/ 21 w 25"/>
                <a:gd name="T33" fmla="*/ 4 h 24"/>
                <a:gd name="T34" fmla="*/ 23 w 25"/>
                <a:gd name="T35" fmla="*/ 7 h 24"/>
                <a:gd name="T36" fmla="*/ 25 w 25"/>
                <a:gd name="T37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4">
                  <a:moveTo>
                    <a:pt x="25" y="13"/>
                  </a:moveTo>
                  <a:lnTo>
                    <a:pt x="25" y="13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2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1" name="Freeform 534">
              <a:extLst>
                <a:ext uri="{FF2B5EF4-FFF2-40B4-BE49-F238E27FC236}">
                  <a16:creationId xmlns:a16="http://schemas.microsoft.com/office/drawing/2014/main" id="{2A1555F7-F875-F379-423D-96E1E49FB5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2" y="2423"/>
              <a:ext cx="25" cy="24"/>
            </a:xfrm>
            <a:custGeom>
              <a:avLst/>
              <a:gdLst>
                <a:gd name="T0" fmla="*/ 25 w 25"/>
                <a:gd name="T1" fmla="*/ 13 h 24"/>
                <a:gd name="T2" fmla="*/ 25 w 25"/>
                <a:gd name="T3" fmla="*/ 13 h 24"/>
                <a:gd name="T4" fmla="*/ 23 w 25"/>
                <a:gd name="T5" fmla="*/ 17 h 24"/>
                <a:gd name="T6" fmla="*/ 21 w 25"/>
                <a:gd name="T7" fmla="*/ 20 h 24"/>
                <a:gd name="T8" fmla="*/ 17 w 25"/>
                <a:gd name="T9" fmla="*/ 24 h 24"/>
                <a:gd name="T10" fmla="*/ 12 w 25"/>
                <a:gd name="T11" fmla="*/ 24 h 24"/>
                <a:gd name="T12" fmla="*/ 8 w 25"/>
                <a:gd name="T13" fmla="*/ 24 h 24"/>
                <a:gd name="T14" fmla="*/ 4 w 25"/>
                <a:gd name="T15" fmla="*/ 20 h 24"/>
                <a:gd name="T16" fmla="*/ 2 w 25"/>
                <a:gd name="T17" fmla="*/ 17 h 24"/>
                <a:gd name="T18" fmla="*/ 0 w 25"/>
                <a:gd name="T19" fmla="*/ 13 h 24"/>
                <a:gd name="T20" fmla="*/ 0 w 25"/>
                <a:gd name="T21" fmla="*/ 13 h 24"/>
                <a:gd name="T22" fmla="*/ 2 w 25"/>
                <a:gd name="T23" fmla="*/ 7 h 24"/>
                <a:gd name="T24" fmla="*/ 4 w 25"/>
                <a:gd name="T25" fmla="*/ 4 h 24"/>
                <a:gd name="T26" fmla="*/ 8 w 25"/>
                <a:gd name="T27" fmla="*/ 2 h 24"/>
                <a:gd name="T28" fmla="*/ 12 w 25"/>
                <a:gd name="T29" fmla="*/ 0 h 24"/>
                <a:gd name="T30" fmla="*/ 17 w 25"/>
                <a:gd name="T31" fmla="*/ 2 h 24"/>
                <a:gd name="T32" fmla="*/ 21 w 25"/>
                <a:gd name="T33" fmla="*/ 4 h 24"/>
                <a:gd name="T34" fmla="*/ 23 w 25"/>
                <a:gd name="T35" fmla="*/ 7 h 24"/>
                <a:gd name="T36" fmla="*/ 25 w 25"/>
                <a:gd name="T37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4">
                  <a:moveTo>
                    <a:pt x="25" y="13"/>
                  </a:moveTo>
                  <a:lnTo>
                    <a:pt x="25" y="13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2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5" y="13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2" name="Freeform 535">
              <a:extLst>
                <a:ext uri="{FF2B5EF4-FFF2-40B4-BE49-F238E27FC236}">
                  <a16:creationId xmlns:a16="http://schemas.microsoft.com/office/drawing/2014/main" id="{D5A26FD6-176C-5232-47E9-71CC2839B5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4" y="261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2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3" name="Freeform 536">
              <a:extLst>
                <a:ext uri="{FF2B5EF4-FFF2-40B4-BE49-F238E27FC236}">
                  <a16:creationId xmlns:a16="http://schemas.microsoft.com/office/drawing/2014/main" id="{C64F28C2-003F-3F3C-CE7C-799EB822F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4" y="261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2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4" name="Freeform 537">
              <a:extLst>
                <a:ext uri="{FF2B5EF4-FFF2-40B4-BE49-F238E27FC236}">
                  <a16:creationId xmlns:a16="http://schemas.microsoft.com/office/drawing/2014/main" id="{156F77C2-F945-012E-AFC1-D5B571242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4" y="2618"/>
              <a:ext cx="24" cy="2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2 w 24"/>
                <a:gd name="T5" fmla="*/ 17 h 23"/>
                <a:gd name="T6" fmla="*/ 20 w 24"/>
                <a:gd name="T7" fmla="*/ 21 h 23"/>
                <a:gd name="T8" fmla="*/ 17 w 24"/>
                <a:gd name="T9" fmla="*/ 23 h 23"/>
                <a:gd name="T10" fmla="*/ 13 w 24"/>
                <a:gd name="T11" fmla="*/ 23 h 23"/>
                <a:gd name="T12" fmla="*/ 7 w 24"/>
                <a:gd name="T13" fmla="*/ 23 h 23"/>
                <a:gd name="T14" fmla="*/ 3 w 24"/>
                <a:gd name="T15" fmla="*/ 21 h 23"/>
                <a:gd name="T16" fmla="*/ 2 w 24"/>
                <a:gd name="T17" fmla="*/ 17 h 23"/>
                <a:gd name="T18" fmla="*/ 0 w 24"/>
                <a:gd name="T19" fmla="*/ 12 h 23"/>
                <a:gd name="T20" fmla="*/ 0 w 24"/>
                <a:gd name="T21" fmla="*/ 12 h 23"/>
                <a:gd name="T22" fmla="*/ 2 w 24"/>
                <a:gd name="T23" fmla="*/ 6 h 23"/>
                <a:gd name="T24" fmla="*/ 3 w 24"/>
                <a:gd name="T25" fmla="*/ 2 h 23"/>
                <a:gd name="T26" fmla="*/ 7 w 24"/>
                <a:gd name="T27" fmla="*/ 0 h 23"/>
                <a:gd name="T28" fmla="*/ 13 w 24"/>
                <a:gd name="T29" fmla="*/ 0 h 23"/>
                <a:gd name="T30" fmla="*/ 17 w 24"/>
                <a:gd name="T31" fmla="*/ 0 h 23"/>
                <a:gd name="T32" fmla="*/ 20 w 24"/>
                <a:gd name="T33" fmla="*/ 2 h 23"/>
                <a:gd name="T34" fmla="*/ 22 w 24"/>
                <a:gd name="T35" fmla="*/ 6 h 23"/>
                <a:gd name="T36" fmla="*/ 24 w 24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3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2" y="6"/>
                  </a:lnTo>
                  <a:lnTo>
                    <a:pt x="24" y="12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5" name="Freeform 538">
              <a:extLst>
                <a:ext uri="{FF2B5EF4-FFF2-40B4-BE49-F238E27FC236}">
                  <a16:creationId xmlns:a16="http://schemas.microsoft.com/office/drawing/2014/main" id="{4A391135-F116-A57A-545F-E03F266EE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4" y="2618"/>
              <a:ext cx="24" cy="2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2 w 24"/>
                <a:gd name="T5" fmla="*/ 17 h 23"/>
                <a:gd name="T6" fmla="*/ 20 w 24"/>
                <a:gd name="T7" fmla="*/ 21 h 23"/>
                <a:gd name="T8" fmla="*/ 17 w 24"/>
                <a:gd name="T9" fmla="*/ 23 h 23"/>
                <a:gd name="T10" fmla="*/ 13 w 24"/>
                <a:gd name="T11" fmla="*/ 23 h 23"/>
                <a:gd name="T12" fmla="*/ 7 w 24"/>
                <a:gd name="T13" fmla="*/ 23 h 23"/>
                <a:gd name="T14" fmla="*/ 3 w 24"/>
                <a:gd name="T15" fmla="*/ 21 h 23"/>
                <a:gd name="T16" fmla="*/ 2 w 24"/>
                <a:gd name="T17" fmla="*/ 17 h 23"/>
                <a:gd name="T18" fmla="*/ 0 w 24"/>
                <a:gd name="T19" fmla="*/ 12 h 23"/>
                <a:gd name="T20" fmla="*/ 0 w 24"/>
                <a:gd name="T21" fmla="*/ 12 h 23"/>
                <a:gd name="T22" fmla="*/ 2 w 24"/>
                <a:gd name="T23" fmla="*/ 6 h 23"/>
                <a:gd name="T24" fmla="*/ 3 w 24"/>
                <a:gd name="T25" fmla="*/ 2 h 23"/>
                <a:gd name="T26" fmla="*/ 7 w 24"/>
                <a:gd name="T27" fmla="*/ 0 h 23"/>
                <a:gd name="T28" fmla="*/ 13 w 24"/>
                <a:gd name="T29" fmla="*/ 0 h 23"/>
                <a:gd name="T30" fmla="*/ 17 w 24"/>
                <a:gd name="T31" fmla="*/ 0 h 23"/>
                <a:gd name="T32" fmla="*/ 20 w 24"/>
                <a:gd name="T33" fmla="*/ 2 h 23"/>
                <a:gd name="T34" fmla="*/ 22 w 24"/>
                <a:gd name="T35" fmla="*/ 6 h 23"/>
                <a:gd name="T36" fmla="*/ 24 w 24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3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2" y="6"/>
                  </a:lnTo>
                  <a:lnTo>
                    <a:pt x="24" y="12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6" name="Freeform 539">
              <a:extLst>
                <a:ext uri="{FF2B5EF4-FFF2-40B4-BE49-F238E27FC236}">
                  <a16:creationId xmlns:a16="http://schemas.microsoft.com/office/drawing/2014/main" id="{44D852FA-F0B1-327B-1CDC-7872960EF1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" y="2618"/>
              <a:ext cx="25" cy="2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7 h 23"/>
                <a:gd name="T6" fmla="*/ 21 w 25"/>
                <a:gd name="T7" fmla="*/ 21 h 23"/>
                <a:gd name="T8" fmla="*/ 17 w 25"/>
                <a:gd name="T9" fmla="*/ 23 h 23"/>
                <a:gd name="T10" fmla="*/ 12 w 25"/>
                <a:gd name="T11" fmla="*/ 23 h 23"/>
                <a:gd name="T12" fmla="*/ 8 w 25"/>
                <a:gd name="T13" fmla="*/ 23 h 23"/>
                <a:gd name="T14" fmla="*/ 4 w 25"/>
                <a:gd name="T15" fmla="*/ 21 h 23"/>
                <a:gd name="T16" fmla="*/ 2 w 25"/>
                <a:gd name="T17" fmla="*/ 17 h 23"/>
                <a:gd name="T18" fmla="*/ 0 w 25"/>
                <a:gd name="T19" fmla="*/ 12 h 23"/>
                <a:gd name="T20" fmla="*/ 0 w 25"/>
                <a:gd name="T21" fmla="*/ 12 h 23"/>
                <a:gd name="T22" fmla="*/ 2 w 25"/>
                <a:gd name="T23" fmla="*/ 6 h 23"/>
                <a:gd name="T24" fmla="*/ 4 w 25"/>
                <a:gd name="T25" fmla="*/ 2 h 23"/>
                <a:gd name="T26" fmla="*/ 8 w 25"/>
                <a:gd name="T27" fmla="*/ 0 h 23"/>
                <a:gd name="T28" fmla="*/ 12 w 25"/>
                <a:gd name="T29" fmla="*/ 0 h 23"/>
                <a:gd name="T30" fmla="*/ 17 w 25"/>
                <a:gd name="T31" fmla="*/ 0 h 23"/>
                <a:gd name="T32" fmla="*/ 21 w 25"/>
                <a:gd name="T33" fmla="*/ 2 h 23"/>
                <a:gd name="T34" fmla="*/ 23 w 25"/>
                <a:gd name="T35" fmla="*/ 6 h 23"/>
                <a:gd name="T36" fmla="*/ 25 w 25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5" y="12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7" name="Freeform 540">
              <a:extLst>
                <a:ext uri="{FF2B5EF4-FFF2-40B4-BE49-F238E27FC236}">
                  <a16:creationId xmlns:a16="http://schemas.microsoft.com/office/drawing/2014/main" id="{C141D07C-DB15-7161-D132-3EA95BA44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" y="2618"/>
              <a:ext cx="25" cy="2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7 h 23"/>
                <a:gd name="T6" fmla="*/ 21 w 25"/>
                <a:gd name="T7" fmla="*/ 21 h 23"/>
                <a:gd name="T8" fmla="*/ 17 w 25"/>
                <a:gd name="T9" fmla="*/ 23 h 23"/>
                <a:gd name="T10" fmla="*/ 12 w 25"/>
                <a:gd name="T11" fmla="*/ 23 h 23"/>
                <a:gd name="T12" fmla="*/ 8 w 25"/>
                <a:gd name="T13" fmla="*/ 23 h 23"/>
                <a:gd name="T14" fmla="*/ 4 w 25"/>
                <a:gd name="T15" fmla="*/ 21 h 23"/>
                <a:gd name="T16" fmla="*/ 2 w 25"/>
                <a:gd name="T17" fmla="*/ 17 h 23"/>
                <a:gd name="T18" fmla="*/ 0 w 25"/>
                <a:gd name="T19" fmla="*/ 12 h 23"/>
                <a:gd name="T20" fmla="*/ 0 w 25"/>
                <a:gd name="T21" fmla="*/ 12 h 23"/>
                <a:gd name="T22" fmla="*/ 2 w 25"/>
                <a:gd name="T23" fmla="*/ 6 h 23"/>
                <a:gd name="T24" fmla="*/ 4 w 25"/>
                <a:gd name="T25" fmla="*/ 2 h 23"/>
                <a:gd name="T26" fmla="*/ 8 w 25"/>
                <a:gd name="T27" fmla="*/ 0 h 23"/>
                <a:gd name="T28" fmla="*/ 12 w 25"/>
                <a:gd name="T29" fmla="*/ 0 h 23"/>
                <a:gd name="T30" fmla="*/ 17 w 25"/>
                <a:gd name="T31" fmla="*/ 0 h 23"/>
                <a:gd name="T32" fmla="*/ 21 w 25"/>
                <a:gd name="T33" fmla="*/ 2 h 23"/>
                <a:gd name="T34" fmla="*/ 23 w 25"/>
                <a:gd name="T35" fmla="*/ 6 h 23"/>
                <a:gd name="T36" fmla="*/ 25 w 25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5" y="12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8" name="Freeform 541">
              <a:extLst>
                <a:ext uri="{FF2B5EF4-FFF2-40B4-BE49-F238E27FC236}">
                  <a16:creationId xmlns:a16="http://schemas.microsoft.com/office/drawing/2014/main" id="{D4D021C1-F100-8C69-5B47-6EBBB709F5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618"/>
              <a:ext cx="22" cy="23"/>
            </a:xfrm>
            <a:custGeom>
              <a:avLst/>
              <a:gdLst>
                <a:gd name="T0" fmla="*/ 22 w 22"/>
                <a:gd name="T1" fmla="*/ 12 h 23"/>
                <a:gd name="T2" fmla="*/ 22 w 22"/>
                <a:gd name="T3" fmla="*/ 12 h 23"/>
                <a:gd name="T4" fmla="*/ 22 w 22"/>
                <a:gd name="T5" fmla="*/ 17 h 23"/>
                <a:gd name="T6" fmla="*/ 19 w 22"/>
                <a:gd name="T7" fmla="*/ 21 h 23"/>
                <a:gd name="T8" fmla="*/ 15 w 22"/>
                <a:gd name="T9" fmla="*/ 23 h 23"/>
                <a:gd name="T10" fmla="*/ 11 w 22"/>
                <a:gd name="T11" fmla="*/ 23 h 23"/>
                <a:gd name="T12" fmla="*/ 7 w 22"/>
                <a:gd name="T13" fmla="*/ 23 h 23"/>
                <a:gd name="T14" fmla="*/ 4 w 22"/>
                <a:gd name="T15" fmla="*/ 21 h 23"/>
                <a:gd name="T16" fmla="*/ 0 w 22"/>
                <a:gd name="T17" fmla="*/ 17 h 23"/>
                <a:gd name="T18" fmla="*/ 0 w 22"/>
                <a:gd name="T19" fmla="*/ 12 h 23"/>
                <a:gd name="T20" fmla="*/ 0 w 22"/>
                <a:gd name="T21" fmla="*/ 12 h 23"/>
                <a:gd name="T22" fmla="*/ 0 w 22"/>
                <a:gd name="T23" fmla="*/ 6 h 23"/>
                <a:gd name="T24" fmla="*/ 4 w 22"/>
                <a:gd name="T25" fmla="*/ 2 h 23"/>
                <a:gd name="T26" fmla="*/ 7 w 22"/>
                <a:gd name="T27" fmla="*/ 0 h 23"/>
                <a:gd name="T28" fmla="*/ 11 w 22"/>
                <a:gd name="T29" fmla="*/ 0 h 23"/>
                <a:gd name="T30" fmla="*/ 15 w 22"/>
                <a:gd name="T31" fmla="*/ 0 h 23"/>
                <a:gd name="T32" fmla="*/ 19 w 22"/>
                <a:gd name="T33" fmla="*/ 2 h 23"/>
                <a:gd name="T34" fmla="*/ 22 w 22"/>
                <a:gd name="T35" fmla="*/ 6 h 23"/>
                <a:gd name="T36" fmla="*/ 22 w 22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3">
                  <a:moveTo>
                    <a:pt x="22" y="12"/>
                  </a:moveTo>
                  <a:lnTo>
                    <a:pt x="22" y="12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2" y="6"/>
                  </a:lnTo>
                  <a:lnTo>
                    <a:pt x="22" y="12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59" name="Freeform 542">
              <a:extLst>
                <a:ext uri="{FF2B5EF4-FFF2-40B4-BE49-F238E27FC236}">
                  <a16:creationId xmlns:a16="http://schemas.microsoft.com/office/drawing/2014/main" id="{0CC64A3D-191D-5073-E7C4-3C141E09D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618"/>
              <a:ext cx="22" cy="23"/>
            </a:xfrm>
            <a:custGeom>
              <a:avLst/>
              <a:gdLst>
                <a:gd name="T0" fmla="*/ 22 w 22"/>
                <a:gd name="T1" fmla="*/ 12 h 23"/>
                <a:gd name="T2" fmla="*/ 22 w 22"/>
                <a:gd name="T3" fmla="*/ 12 h 23"/>
                <a:gd name="T4" fmla="*/ 22 w 22"/>
                <a:gd name="T5" fmla="*/ 17 h 23"/>
                <a:gd name="T6" fmla="*/ 19 w 22"/>
                <a:gd name="T7" fmla="*/ 21 h 23"/>
                <a:gd name="T8" fmla="*/ 15 w 22"/>
                <a:gd name="T9" fmla="*/ 23 h 23"/>
                <a:gd name="T10" fmla="*/ 11 w 22"/>
                <a:gd name="T11" fmla="*/ 23 h 23"/>
                <a:gd name="T12" fmla="*/ 7 w 22"/>
                <a:gd name="T13" fmla="*/ 23 h 23"/>
                <a:gd name="T14" fmla="*/ 4 w 22"/>
                <a:gd name="T15" fmla="*/ 21 h 23"/>
                <a:gd name="T16" fmla="*/ 0 w 22"/>
                <a:gd name="T17" fmla="*/ 17 h 23"/>
                <a:gd name="T18" fmla="*/ 0 w 22"/>
                <a:gd name="T19" fmla="*/ 12 h 23"/>
                <a:gd name="T20" fmla="*/ 0 w 22"/>
                <a:gd name="T21" fmla="*/ 12 h 23"/>
                <a:gd name="T22" fmla="*/ 0 w 22"/>
                <a:gd name="T23" fmla="*/ 6 h 23"/>
                <a:gd name="T24" fmla="*/ 4 w 22"/>
                <a:gd name="T25" fmla="*/ 2 h 23"/>
                <a:gd name="T26" fmla="*/ 7 w 22"/>
                <a:gd name="T27" fmla="*/ 0 h 23"/>
                <a:gd name="T28" fmla="*/ 11 w 22"/>
                <a:gd name="T29" fmla="*/ 0 h 23"/>
                <a:gd name="T30" fmla="*/ 15 w 22"/>
                <a:gd name="T31" fmla="*/ 0 h 23"/>
                <a:gd name="T32" fmla="*/ 19 w 22"/>
                <a:gd name="T33" fmla="*/ 2 h 23"/>
                <a:gd name="T34" fmla="*/ 22 w 22"/>
                <a:gd name="T35" fmla="*/ 6 h 23"/>
                <a:gd name="T36" fmla="*/ 22 w 22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3">
                  <a:moveTo>
                    <a:pt x="22" y="12"/>
                  </a:moveTo>
                  <a:lnTo>
                    <a:pt x="22" y="12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2" y="6"/>
                  </a:lnTo>
                  <a:lnTo>
                    <a:pt x="22" y="12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0" name="Freeform 543">
              <a:extLst>
                <a:ext uri="{FF2B5EF4-FFF2-40B4-BE49-F238E27FC236}">
                  <a16:creationId xmlns:a16="http://schemas.microsoft.com/office/drawing/2014/main" id="{106D059B-753D-65B1-B050-4296F34C75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6" y="2618"/>
              <a:ext cx="25" cy="2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7 h 23"/>
                <a:gd name="T6" fmla="*/ 21 w 25"/>
                <a:gd name="T7" fmla="*/ 21 h 23"/>
                <a:gd name="T8" fmla="*/ 17 w 25"/>
                <a:gd name="T9" fmla="*/ 23 h 23"/>
                <a:gd name="T10" fmla="*/ 14 w 25"/>
                <a:gd name="T11" fmla="*/ 23 h 23"/>
                <a:gd name="T12" fmla="*/ 8 w 25"/>
                <a:gd name="T13" fmla="*/ 23 h 23"/>
                <a:gd name="T14" fmla="*/ 4 w 25"/>
                <a:gd name="T15" fmla="*/ 21 h 23"/>
                <a:gd name="T16" fmla="*/ 2 w 25"/>
                <a:gd name="T17" fmla="*/ 17 h 23"/>
                <a:gd name="T18" fmla="*/ 0 w 25"/>
                <a:gd name="T19" fmla="*/ 12 h 23"/>
                <a:gd name="T20" fmla="*/ 0 w 25"/>
                <a:gd name="T21" fmla="*/ 12 h 23"/>
                <a:gd name="T22" fmla="*/ 2 w 25"/>
                <a:gd name="T23" fmla="*/ 6 h 23"/>
                <a:gd name="T24" fmla="*/ 4 w 25"/>
                <a:gd name="T25" fmla="*/ 2 h 23"/>
                <a:gd name="T26" fmla="*/ 8 w 25"/>
                <a:gd name="T27" fmla="*/ 0 h 23"/>
                <a:gd name="T28" fmla="*/ 14 w 25"/>
                <a:gd name="T29" fmla="*/ 0 h 23"/>
                <a:gd name="T30" fmla="*/ 17 w 25"/>
                <a:gd name="T31" fmla="*/ 0 h 23"/>
                <a:gd name="T32" fmla="*/ 21 w 25"/>
                <a:gd name="T33" fmla="*/ 2 h 23"/>
                <a:gd name="T34" fmla="*/ 23 w 25"/>
                <a:gd name="T35" fmla="*/ 6 h 23"/>
                <a:gd name="T36" fmla="*/ 25 w 25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4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5" y="12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1" name="Freeform 544">
              <a:extLst>
                <a:ext uri="{FF2B5EF4-FFF2-40B4-BE49-F238E27FC236}">
                  <a16:creationId xmlns:a16="http://schemas.microsoft.com/office/drawing/2014/main" id="{F2987B00-30E4-A1C3-5CE7-03866669E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6" y="2618"/>
              <a:ext cx="25" cy="2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7 h 23"/>
                <a:gd name="T6" fmla="*/ 21 w 25"/>
                <a:gd name="T7" fmla="*/ 21 h 23"/>
                <a:gd name="T8" fmla="*/ 17 w 25"/>
                <a:gd name="T9" fmla="*/ 23 h 23"/>
                <a:gd name="T10" fmla="*/ 14 w 25"/>
                <a:gd name="T11" fmla="*/ 23 h 23"/>
                <a:gd name="T12" fmla="*/ 8 w 25"/>
                <a:gd name="T13" fmla="*/ 23 h 23"/>
                <a:gd name="T14" fmla="*/ 4 w 25"/>
                <a:gd name="T15" fmla="*/ 21 h 23"/>
                <a:gd name="T16" fmla="*/ 2 w 25"/>
                <a:gd name="T17" fmla="*/ 17 h 23"/>
                <a:gd name="T18" fmla="*/ 0 w 25"/>
                <a:gd name="T19" fmla="*/ 12 h 23"/>
                <a:gd name="T20" fmla="*/ 0 w 25"/>
                <a:gd name="T21" fmla="*/ 12 h 23"/>
                <a:gd name="T22" fmla="*/ 2 w 25"/>
                <a:gd name="T23" fmla="*/ 6 h 23"/>
                <a:gd name="T24" fmla="*/ 4 w 25"/>
                <a:gd name="T25" fmla="*/ 2 h 23"/>
                <a:gd name="T26" fmla="*/ 8 w 25"/>
                <a:gd name="T27" fmla="*/ 0 h 23"/>
                <a:gd name="T28" fmla="*/ 14 w 25"/>
                <a:gd name="T29" fmla="*/ 0 h 23"/>
                <a:gd name="T30" fmla="*/ 17 w 25"/>
                <a:gd name="T31" fmla="*/ 0 h 23"/>
                <a:gd name="T32" fmla="*/ 21 w 25"/>
                <a:gd name="T33" fmla="*/ 2 h 23"/>
                <a:gd name="T34" fmla="*/ 23 w 25"/>
                <a:gd name="T35" fmla="*/ 6 h 23"/>
                <a:gd name="T36" fmla="*/ 25 w 25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4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5" y="12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2" name="Freeform 545">
              <a:extLst>
                <a:ext uri="{FF2B5EF4-FFF2-40B4-BE49-F238E27FC236}">
                  <a16:creationId xmlns:a16="http://schemas.microsoft.com/office/drawing/2014/main" id="{DF9B48EF-0806-3279-7288-3EC65E8D9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8" y="2618"/>
              <a:ext cx="24" cy="2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7 h 23"/>
                <a:gd name="T6" fmla="*/ 21 w 24"/>
                <a:gd name="T7" fmla="*/ 21 h 23"/>
                <a:gd name="T8" fmla="*/ 17 w 24"/>
                <a:gd name="T9" fmla="*/ 23 h 23"/>
                <a:gd name="T10" fmla="*/ 11 w 24"/>
                <a:gd name="T11" fmla="*/ 23 h 23"/>
                <a:gd name="T12" fmla="*/ 8 w 24"/>
                <a:gd name="T13" fmla="*/ 23 h 23"/>
                <a:gd name="T14" fmla="*/ 4 w 24"/>
                <a:gd name="T15" fmla="*/ 21 h 23"/>
                <a:gd name="T16" fmla="*/ 2 w 24"/>
                <a:gd name="T17" fmla="*/ 17 h 23"/>
                <a:gd name="T18" fmla="*/ 0 w 24"/>
                <a:gd name="T19" fmla="*/ 12 h 23"/>
                <a:gd name="T20" fmla="*/ 0 w 24"/>
                <a:gd name="T21" fmla="*/ 12 h 23"/>
                <a:gd name="T22" fmla="*/ 2 w 24"/>
                <a:gd name="T23" fmla="*/ 6 h 23"/>
                <a:gd name="T24" fmla="*/ 4 w 24"/>
                <a:gd name="T25" fmla="*/ 2 h 23"/>
                <a:gd name="T26" fmla="*/ 8 w 24"/>
                <a:gd name="T27" fmla="*/ 0 h 23"/>
                <a:gd name="T28" fmla="*/ 11 w 24"/>
                <a:gd name="T29" fmla="*/ 0 h 23"/>
                <a:gd name="T30" fmla="*/ 17 w 24"/>
                <a:gd name="T31" fmla="*/ 0 h 23"/>
                <a:gd name="T32" fmla="*/ 21 w 24"/>
                <a:gd name="T33" fmla="*/ 2 h 23"/>
                <a:gd name="T34" fmla="*/ 23 w 24"/>
                <a:gd name="T35" fmla="*/ 6 h 23"/>
                <a:gd name="T36" fmla="*/ 24 w 24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4" y="12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3" name="Freeform 546">
              <a:extLst>
                <a:ext uri="{FF2B5EF4-FFF2-40B4-BE49-F238E27FC236}">
                  <a16:creationId xmlns:a16="http://schemas.microsoft.com/office/drawing/2014/main" id="{D988E8CF-3B88-EA0B-3471-A79FDBE66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8" y="2618"/>
              <a:ext cx="24" cy="2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7 h 23"/>
                <a:gd name="T6" fmla="*/ 21 w 24"/>
                <a:gd name="T7" fmla="*/ 21 h 23"/>
                <a:gd name="T8" fmla="*/ 17 w 24"/>
                <a:gd name="T9" fmla="*/ 23 h 23"/>
                <a:gd name="T10" fmla="*/ 11 w 24"/>
                <a:gd name="T11" fmla="*/ 23 h 23"/>
                <a:gd name="T12" fmla="*/ 8 w 24"/>
                <a:gd name="T13" fmla="*/ 23 h 23"/>
                <a:gd name="T14" fmla="*/ 4 w 24"/>
                <a:gd name="T15" fmla="*/ 21 h 23"/>
                <a:gd name="T16" fmla="*/ 2 w 24"/>
                <a:gd name="T17" fmla="*/ 17 h 23"/>
                <a:gd name="T18" fmla="*/ 0 w 24"/>
                <a:gd name="T19" fmla="*/ 12 h 23"/>
                <a:gd name="T20" fmla="*/ 0 w 24"/>
                <a:gd name="T21" fmla="*/ 12 h 23"/>
                <a:gd name="T22" fmla="*/ 2 w 24"/>
                <a:gd name="T23" fmla="*/ 6 h 23"/>
                <a:gd name="T24" fmla="*/ 4 w 24"/>
                <a:gd name="T25" fmla="*/ 2 h 23"/>
                <a:gd name="T26" fmla="*/ 8 w 24"/>
                <a:gd name="T27" fmla="*/ 0 h 23"/>
                <a:gd name="T28" fmla="*/ 11 w 24"/>
                <a:gd name="T29" fmla="*/ 0 h 23"/>
                <a:gd name="T30" fmla="*/ 17 w 24"/>
                <a:gd name="T31" fmla="*/ 0 h 23"/>
                <a:gd name="T32" fmla="*/ 21 w 24"/>
                <a:gd name="T33" fmla="*/ 2 h 23"/>
                <a:gd name="T34" fmla="*/ 23 w 24"/>
                <a:gd name="T35" fmla="*/ 6 h 23"/>
                <a:gd name="T36" fmla="*/ 24 w 24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4" y="12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4" name="Freeform 547">
              <a:extLst>
                <a:ext uri="{FF2B5EF4-FFF2-40B4-BE49-F238E27FC236}">
                  <a16:creationId xmlns:a16="http://schemas.microsoft.com/office/drawing/2014/main" id="{613AD5BA-D9DF-EC73-5109-2EDC13D98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0" y="2618"/>
              <a:ext cx="22" cy="23"/>
            </a:xfrm>
            <a:custGeom>
              <a:avLst/>
              <a:gdLst>
                <a:gd name="T0" fmla="*/ 22 w 22"/>
                <a:gd name="T1" fmla="*/ 12 h 23"/>
                <a:gd name="T2" fmla="*/ 22 w 22"/>
                <a:gd name="T3" fmla="*/ 12 h 23"/>
                <a:gd name="T4" fmla="*/ 22 w 22"/>
                <a:gd name="T5" fmla="*/ 17 h 23"/>
                <a:gd name="T6" fmla="*/ 18 w 22"/>
                <a:gd name="T7" fmla="*/ 21 h 23"/>
                <a:gd name="T8" fmla="*/ 15 w 22"/>
                <a:gd name="T9" fmla="*/ 23 h 23"/>
                <a:gd name="T10" fmla="*/ 11 w 22"/>
                <a:gd name="T11" fmla="*/ 23 h 23"/>
                <a:gd name="T12" fmla="*/ 7 w 22"/>
                <a:gd name="T13" fmla="*/ 23 h 23"/>
                <a:gd name="T14" fmla="*/ 3 w 22"/>
                <a:gd name="T15" fmla="*/ 21 h 23"/>
                <a:gd name="T16" fmla="*/ 0 w 22"/>
                <a:gd name="T17" fmla="*/ 17 h 23"/>
                <a:gd name="T18" fmla="*/ 0 w 22"/>
                <a:gd name="T19" fmla="*/ 12 h 23"/>
                <a:gd name="T20" fmla="*/ 0 w 22"/>
                <a:gd name="T21" fmla="*/ 12 h 23"/>
                <a:gd name="T22" fmla="*/ 0 w 22"/>
                <a:gd name="T23" fmla="*/ 6 h 23"/>
                <a:gd name="T24" fmla="*/ 3 w 22"/>
                <a:gd name="T25" fmla="*/ 2 h 23"/>
                <a:gd name="T26" fmla="*/ 7 w 22"/>
                <a:gd name="T27" fmla="*/ 0 h 23"/>
                <a:gd name="T28" fmla="*/ 11 w 22"/>
                <a:gd name="T29" fmla="*/ 0 h 23"/>
                <a:gd name="T30" fmla="*/ 15 w 22"/>
                <a:gd name="T31" fmla="*/ 0 h 23"/>
                <a:gd name="T32" fmla="*/ 18 w 22"/>
                <a:gd name="T33" fmla="*/ 2 h 23"/>
                <a:gd name="T34" fmla="*/ 22 w 22"/>
                <a:gd name="T35" fmla="*/ 6 h 23"/>
                <a:gd name="T36" fmla="*/ 22 w 22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3">
                  <a:moveTo>
                    <a:pt x="22" y="12"/>
                  </a:moveTo>
                  <a:lnTo>
                    <a:pt x="22" y="12"/>
                  </a:lnTo>
                  <a:lnTo>
                    <a:pt x="22" y="17"/>
                  </a:lnTo>
                  <a:lnTo>
                    <a:pt x="18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8" y="2"/>
                  </a:lnTo>
                  <a:lnTo>
                    <a:pt x="22" y="6"/>
                  </a:lnTo>
                  <a:lnTo>
                    <a:pt x="22" y="12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5" name="Freeform 548">
              <a:extLst>
                <a:ext uri="{FF2B5EF4-FFF2-40B4-BE49-F238E27FC236}">
                  <a16:creationId xmlns:a16="http://schemas.microsoft.com/office/drawing/2014/main" id="{A1A79DD2-6AAD-EFB2-1608-53CCC9571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0" y="2618"/>
              <a:ext cx="22" cy="23"/>
            </a:xfrm>
            <a:custGeom>
              <a:avLst/>
              <a:gdLst>
                <a:gd name="T0" fmla="*/ 22 w 22"/>
                <a:gd name="T1" fmla="*/ 12 h 23"/>
                <a:gd name="T2" fmla="*/ 22 w 22"/>
                <a:gd name="T3" fmla="*/ 12 h 23"/>
                <a:gd name="T4" fmla="*/ 22 w 22"/>
                <a:gd name="T5" fmla="*/ 17 h 23"/>
                <a:gd name="T6" fmla="*/ 18 w 22"/>
                <a:gd name="T7" fmla="*/ 21 h 23"/>
                <a:gd name="T8" fmla="*/ 15 w 22"/>
                <a:gd name="T9" fmla="*/ 23 h 23"/>
                <a:gd name="T10" fmla="*/ 11 w 22"/>
                <a:gd name="T11" fmla="*/ 23 h 23"/>
                <a:gd name="T12" fmla="*/ 7 w 22"/>
                <a:gd name="T13" fmla="*/ 23 h 23"/>
                <a:gd name="T14" fmla="*/ 3 w 22"/>
                <a:gd name="T15" fmla="*/ 21 h 23"/>
                <a:gd name="T16" fmla="*/ 0 w 22"/>
                <a:gd name="T17" fmla="*/ 17 h 23"/>
                <a:gd name="T18" fmla="*/ 0 w 22"/>
                <a:gd name="T19" fmla="*/ 12 h 23"/>
                <a:gd name="T20" fmla="*/ 0 w 22"/>
                <a:gd name="T21" fmla="*/ 12 h 23"/>
                <a:gd name="T22" fmla="*/ 0 w 22"/>
                <a:gd name="T23" fmla="*/ 6 h 23"/>
                <a:gd name="T24" fmla="*/ 3 w 22"/>
                <a:gd name="T25" fmla="*/ 2 h 23"/>
                <a:gd name="T26" fmla="*/ 7 w 22"/>
                <a:gd name="T27" fmla="*/ 0 h 23"/>
                <a:gd name="T28" fmla="*/ 11 w 22"/>
                <a:gd name="T29" fmla="*/ 0 h 23"/>
                <a:gd name="T30" fmla="*/ 15 w 22"/>
                <a:gd name="T31" fmla="*/ 0 h 23"/>
                <a:gd name="T32" fmla="*/ 18 w 22"/>
                <a:gd name="T33" fmla="*/ 2 h 23"/>
                <a:gd name="T34" fmla="*/ 22 w 22"/>
                <a:gd name="T35" fmla="*/ 6 h 23"/>
                <a:gd name="T36" fmla="*/ 22 w 22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3">
                  <a:moveTo>
                    <a:pt x="22" y="12"/>
                  </a:moveTo>
                  <a:lnTo>
                    <a:pt x="22" y="12"/>
                  </a:lnTo>
                  <a:lnTo>
                    <a:pt x="22" y="17"/>
                  </a:lnTo>
                  <a:lnTo>
                    <a:pt x="18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8" y="2"/>
                  </a:lnTo>
                  <a:lnTo>
                    <a:pt x="22" y="6"/>
                  </a:lnTo>
                  <a:lnTo>
                    <a:pt x="22" y="12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6" name="Freeform 549">
              <a:extLst>
                <a:ext uri="{FF2B5EF4-FFF2-40B4-BE49-F238E27FC236}">
                  <a16:creationId xmlns:a16="http://schemas.microsoft.com/office/drawing/2014/main" id="{35E4A1DE-B241-D20F-00E3-597134B21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1" y="261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1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6 w 23"/>
                <a:gd name="T13" fmla="*/ 23 h 23"/>
                <a:gd name="T14" fmla="*/ 2 w 23"/>
                <a:gd name="T15" fmla="*/ 21 h 23"/>
                <a:gd name="T16" fmla="*/ 0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2 w 23"/>
                <a:gd name="T25" fmla="*/ 2 h 23"/>
                <a:gd name="T26" fmla="*/ 6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1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1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6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1" y="6"/>
                  </a:lnTo>
                  <a:lnTo>
                    <a:pt x="23" y="12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7" name="Freeform 550">
              <a:extLst>
                <a:ext uri="{FF2B5EF4-FFF2-40B4-BE49-F238E27FC236}">
                  <a16:creationId xmlns:a16="http://schemas.microsoft.com/office/drawing/2014/main" id="{4C8859E4-2D0D-8E22-FB12-8740E8AAB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1" y="261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1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1 w 23"/>
                <a:gd name="T11" fmla="*/ 23 h 23"/>
                <a:gd name="T12" fmla="*/ 6 w 23"/>
                <a:gd name="T13" fmla="*/ 23 h 23"/>
                <a:gd name="T14" fmla="*/ 2 w 23"/>
                <a:gd name="T15" fmla="*/ 21 h 23"/>
                <a:gd name="T16" fmla="*/ 0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2 w 23"/>
                <a:gd name="T25" fmla="*/ 2 h 23"/>
                <a:gd name="T26" fmla="*/ 6 w 23"/>
                <a:gd name="T27" fmla="*/ 0 h 23"/>
                <a:gd name="T28" fmla="*/ 11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1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1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6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1" y="6"/>
                  </a:lnTo>
                  <a:lnTo>
                    <a:pt x="23" y="12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8" name="Freeform 551">
              <a:extLst>
                <a:ext uri="{FF2B5EF4-FFF2-40B4-BE49-F238E27FC236}">
                  <a16:creationId xmlns:a16="http://schemas.microsoft.com/office/drawing/2014/main" id="{5BF29B3B-82EA-81C5-4716-08A88EE42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1" y="2618"/>
              <a:ext cx="24" cy="2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2 w 24"/>
                <a:gd name="T5" fmla="*/ 17 h 23"/>
                <a:gd name="T6" fmla="*/ 21 w 24"/>
                <a:gd name="T7" fmla="*/ 21 h 23"/>
                <a:gd name="T8" fmla="*/ 17 w 24"/>
                <a:gd name="T9" fmla="*/ 23 h 23"/>
                <a:gd name="T10" fmla="*/ 11 w 24"/>
                <a:gd name="T11" fmla="*/ 23 h 23"/>
                <a:gd name="T12" fmla="*/ 7 w 24"/>
                <a:gd name="T13" fmla="*/ 23 h 23"/>
                <a:gd name="T14" fmla="*/ 4 w 24"/>
                <a:gd name="T15" fmla="*/ 21 h 23"/>
                <a:gd name="T16" fmla="*/ 2 w 24"/>
                <a:gd name="T17" fmla="*/ 17 h 23"/>
                <a:gd name="T18" fmla="*/ 0 w 24"/>
                <a:gd name="T19" fmla="*/ 12 h 23"/>
                <a:gd name="T20" fmla="*/ 0 w 24"/>
                <a:gd name="T21" fmla="*/ 12 h 23"/>
                <a:gd name="T22" fmla="*/ 2 w 24"/>
                <a:gd name="T23" fmla="*/ 6 h 23"/>
                <a:gd name="T24" fmla="*/ 4 w 24"/>
                <a:gd name="T25" fmla="*/ 2 h 23"/>
                <a:gd name="T26" fmla="*/ 7 w 24"/>
                <a:gd name="T27" fmla="*/ 0 h 23"/>
                <a:gd name="T28" fmla="*/ 11 w 24"/>
                <a:gd name="T29" fmla="*/ 0 h 23"/>
                <a:gd name="T30" fmla="*/ 17 w 24"/>
                <a:gd name="T31" fmla="*/ 0 h 23"/>
                <a:gd name="T32" fmla="*/ 21 w 24"/>
                <a:gd name="T33" fmla="*/ 2 h 23"/>
                <a:gd name="T34" fmla="*/ 22 w 24"/>
                <a:gd name="T35" fmla="*/ 6 h 23"/>
                <a:gd name="T36" fmla="*/ 24 w 24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2" y="6"/>
                  </a:lnTo>
                  <a:lnTo>
                    <a:pt x="24" y="12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9" name="Freeform 552">
              <a:extLst>
                <a:ext uri="{FF2B5EF4-FFF2-40B4-BE49-F238E27FC236}">
                  <a16:creationId xmlns:a16="http://schemas.microsoft.com/office/drawing/2014/main" id="{3A73B99C-2867-B5FD-5896-545FF0D5E8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1" y="2618"/>
              <a:ext cx="24" cy="2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2 w 24"/>
                <a:gd name="T5" fmla="*/ 17 h 23"/>
                <a:gd name="T6" fmla="*/ 21 w 24"/>
                <a:gd name="T7" fmla="*/ 21 h 23"/>
                <a:gd name="T8" fmla="*/ 17 w 24"/>
                <a:gd name="T9" fmla="*/ 23 h 23"/>
                <a:gd name="T10" fmla="*/ 11 w 24"/>
                <a:gd name="T11" fmla="*/ 23 h 23"/>
                <a:gd name="T12" fmla="*/ 7 w 24"/>
                <a:gd name="T13" fmla="*/ 23 h 23"/>
                <a:gd name="T14" fmla="*/ 4 w 24"/>
                <a:gd name="T15" fmla="*/ 21 h 23"/>
                <a:gd name="T16" fmla="*/ 2 w 24"/>
                <a:gd name="T17" fmla="*/ 17 h 23"/>
                <a:gd name="T18" fmla="*/ 0 w 24"/>
                <a:gd name="T19" fmla="*/ 12 h 23"/>
                <a:gd name="T20" fmla="*/ 0 w 24"/>
                <a:gd name="T21" fmla="*/ 12 h 23"/>
                <a:gd name="T22" fmla="*/ 2 w 24"/>
                <a:gd name="T23" fmla="*/ 6 h 23"/>
                <a:gd name="T24" fmla="*/ 4 w 24"/>
                <a:gd name="T25" fmla="*/ 2 h 23"/>
                <a:gd name="T26" fmla="*/ 7 w 24"/>
                <a:gd name="T27" fmla="*/ 0 h 23"/>
                <a:gd name="T28" fmla="*/ 11 w 24"/>
                <a:gd name="T29" fmla="*/ 0 h 23"/>
                <a:gd name="T30" fmla="*/ 17 w 24"/>
                <a:gd name="T31" fmla="*/ 0 h 23"/>
                <a:gd name="T32" fmla="*/ 21 w 24"/>
                <a:gd name="T33" fmla="*/ 2 h 23"/>
                <a:gd name="T34" fmla="*/ 22 w 24"/>
                <a:gd name="T35" fmla="*/ 6 h 23"/>
                <a:gd name="T36" fmla="*/ 24 w 24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6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2" y="6"/>
                  </a:lnTo>
                  <a:lnTo>
                    <a:pt x="24" y="12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0" name="Freeform 553">
              <a:extLst>
                <a:ext uri="{FF2B5EF4-FFF2-40B4-BE49-F238E27FC236}">
                  <a16:creationId xmlns:a16="http://schemas.microsoft.com/office/drawing/2014/main" id="{5B513866-83F1-4438-407B-B5FB8C74A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2618"/>
              <a:ext cx="24" cy="2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2 w 24"/>
                <a:gd name="T5" fmla="*/ 17 h 23"/>
                <a:gd name="T6" fmla="*/ 20 w 24"/>
                <a:gd name="T7" fmla="*/ 21 h 23"/>
                <a:gd name="T8" fmla="*/ 17 w 24"/>
                <a:gd name="T9" fmla="*/ 23 h 23"/>
                <a:gd name="T10" fmla="*/ 11 w 24"/>
                <a:gd name="T11" fmla="*/ 23 h 23"/>
                <a:gd name="T12" fmla="*/ 7 w 24"/>
                <a:gd name="T13" fmla="*/ 23 h 23"/>
                <a:gd name="T14" fmla="*/ 3 w 24"/>
                <a:gd name="T15" fmla="*/ 21 h 23"/>
                <a:gd name="T16" fmla="*/ 1 w 24"/>
                <a:gd name="T17" fmla="*/ 17 h 23"/>
                <a:gd name="T18" fmla="*/ 0 w 24"/>
                <a:gd name="T19" fmla="*/ 12 h 23"/>
                <a:gd name="T20" fmla="*/ 0 w 24"/>
                <a:gd name="T21" fmla="*/ 12 h 23"/>
                <a:gd name="T22" fmla="*/ 1 w 24"/>
                <a:gd name="T23" fmla="*/ 6 h 23"/>
                <a:gd name="T24" fmla="*/ 3 w 24"/>
                <a:gd name="T25" fmla="*/ 2 h 23"/>
                <a:gd name="T26" fmla="*/ 7 w 24"/>
                <a:gd name="T27" fmla="*/ 0 h 23"/>
                <a:gd name="T28" fmla="*/ 11 w 24"/>
                <a:gd name="T29" fmla="*/ 0 h 23"/>
                <a:gd name="T30" fmla="*/ 17 w 24"/>
                <a:gd name="T31" fmla="*/ 0 h 23"/>
                <a:gd name="T32" fmla="*/ 20 w 24"/>
                <a:gd name="T33" fmla="*/ 2 h 23"/>
                <a:gd name="T34" fmla="*/ 22 w 24"/>
                <a:gd name="T35" fmla="*/ 6 h 23"/>
                <a:gd name="T36" fmla="*/ 24 w 24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2" y="6"/>
                  </a:lnTo>
                  <a:lnTo>
                    <a:pt x="24" y="12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1" name="Freeform 554">
              <a:extLst>
                <a:ext uri="{FF2B5EF4-FFF2-40B4-BE49-F238E27FC236}">
                  <a16:creationId xmlns:a16="http://schemas.microsoft.com/office/drawing/2014/main" id="{E1B3FF3F-FAF3-2974-5F45-107AA8609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2" y="2618"/>
              <a:ext cx="24" cy="2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2 w 24"/>
                <a:gd name="T5" fmla="*/ 17 h 23"/>
                <a:gd name="T6" fmla="*/ 20 w 24"/>
                <a:gd name="T7" fmla="*/ 21 h 23"/>
                <a:gd name="T8" fmla="*/ 17 w 24"/>
                <a:gd name="T9" fmla="*/ 23 h 23"/>
                <a:gd name="T10" fmla="*/ 11 w 24"/>
                <a:gd name="T11" fmla="*/ 23 h 23"/>
                <a:gd name="T12" fmla="*/ 7 w 24"/>
                <a:gd name="T13" fmla="*/ 23 h 23"/>
                <a:gd name="T14" fmla="*/ 3 w 24"/>
                <a:gd name="T15" fmla="*/ 21 h 23"/>
                <a:gd name="T16" fmla="*/ 1 w 24"/>
                <a:gd name="T17" fmla="*/ 17 h 23"/>
                <a:gd name="T18" fmla="*/ 0 w 24"/>
                <a:gd name="T19" fmla="*/ 12 h 23"/>
                <a:gd name="T20" fmla="*/ 0 w 24"/>
                <a:gd name="T21" fmla="*/ 12 h 23"/>
                <a:gd name="T22" fmla="*/ 1 w 24"/>
                <a:gd name="T23" fmla="*/ 6 h 23"/>
                <a:gd name="T24" fmla="*/ 3 w 24"/>
                <a:gd name="T25" fmla="*/ 2 h 23"/>
                <a:gd name="T26" fmla="*/ 7 w 24"/>
                <a:gd name="T27" fmla="*/ 0 h 23"/>
                <a:gd name="T28" fmla="*/ 11 w 24"/>
                <a:gd name="T29" fmla="*/ 0 h 23"/>
                <a:gd name="T30" fmla="*/ 17 w 24"/>
                <a:gd name="T31" fmla="*/ 0 h 23"/>
                <a:gd name="T32" fmla="*/ 20 w 24"/>
                <a:gd name="T33" fmla="*/ 2 h 23"/>
                <a:gd name="T34" fmla="*/ 22 w 24"/>
                <a:gd name="T35" fmla="*/ 6 h 23"/>
                <a:gd name="T36" fmla="*/ 24 w 24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0" y="2"/>
                  </a:lnTo>
                  <a:lnTo>
                    <a:pt x="22" y="6"/>
                  </a:lnTo>
                  <a:lnTo>
                    <a:pt x="24" y="12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2" name="Freeform 555">
              <a:extLst>
                <a:ext uri="{FF2B5EF4-FFF2-40B4-BE49-F238E27FC236}">
                  <a16:creationId xmlns:a16="http://schemas.microsoft.com/office/drawing/2014/main" id="{98B866B7-32A5-E39F-88B2-B8221F527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2" y="261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2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2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2"/>
                  </a:lnTo>
                  <a:close/>
                </a:path>
              </a:pathLst>
            </a:custGeom>
            <a:solidFill>
              <a:srgbClr val="00CE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3" name="Freeform 556">
              <a:extLst>
                <a:ext uri="{FF2B5EF4-FFF2-40B4-BE49-F238E27FC236}">
                  <a16:creationId xmlns:a16="http://schemas.microsoft.com/office/drawing/2014/main" id="{A15E2D70-F313-E4C1-E408-458572554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2" y="2618"/>
              <a:ext cx="23" cy="2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7 h 23"/>
                <a:gd name="T6" fmla="*/ 19 w 23"/>
                <a:gd name="T7" fmla="*/ 21 h 23"/>
                <a:gd name="T8" fmla="*/ 15 w 23"/>
                <a:gd name="T9" fmla="*/ 23 h 23"/>
                <a:gd name="T10" fmla="*/ 12 w 23"/>
                <a:gd name="T11" fmla="*/ 23 h 23"/>
                <a:gd name="T12" fmla="*/ 8 w 23"/>
                <a:gd name="T13" fmla="*/ 23 h 23"/>
                <a:gd name="T14" fmla="*/ 4 w 23"/>
                <a:gd name="T15" fmla="*/ 21 h 23"/>
                <a:gd name="T16" fmla="*/ 0 w 23"/>
                <a:gd name="T17" fmla="*/ 17 h 23"/>
                <a:gd name="T18" fmla="*/ 0 w 23"/>
                <a:gd name="T19" fmla="*/ 12 h 23"/>
                <a:gd name="T20" fmla="*/ 0 w 23"/>
                <a:gd name="T21" fmla="*/ 12 h 23"/>
                <a:gd name="T22" fmla="*/ 0 w 23"/>
                <a:gd name="T23" fmla="*/ 6 h 23"/>
                <a:gd name="T24" fmla="*/ 4 w 23"/>
                <a:gd name="T25" fmla="*/ 2 h 23"/>
                <a:gd name="T26" fmla="*/ 8 w 23"/>
                <a:gd name="T27" fmla="*/ 0 h 23"/>
                <a:gd name="T28" fmla="*/ 12 w 23"/>
                <a:gd name="T29" fmla="*/ 0 h 23"/>
                <a:gd name="T30" fmla="*/ 15 w 23"/>
                <a:gd name="T31" fmla="*/ 0 h 23"/>
                <a:gd name="T32" fmla="*/ 19 w 23"/>
                <a:gd name="T33" fmla="*/ 2 h 23"/>
                <a:gd name="T34" fmla="*/ 23 w 23"/>
                <a:gd name="T35" fmla="*/ 6 h 23"/>
                <a:gd name="T36" fmla="*/ 23 w 23"/>
                <a:gd name="T3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23" y="6"/>
                  </a:lnTo>
                  <a:lnTo>
                    <a:pt x="23" y="12"/>
                  </a:lnTo>
                </a:path>
              </a:pathLst>
            </a:custGeom>
            <a:noFill/>
            <a:ln w="9525">
              <a:solidFill>
                <a:srgbClr val="00CED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5" name="Rectangle 558">
              <a:extLst>
                <a:ext uri="{FF2B5EF4-FFF2-40B4-BE49-F238E27FC236}">
                  <a16:creationId xmlns:a16="http://schemas.microsoft.com/office/drawing/2014/main" id="{79BCD230-4B28-0931-D206-69DC101B5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8" y="458"/>
              <a:ext cx="944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/>
              <a:r>
                <a:rPr lang="en-US" altLang="en-US" sz="1200" b="1" dirty="0">
                  <a:solidFill>
                    <a:srgbClr val="000000"/>
                  </a:solidFill>
                </a:rPr>
                <a:t>Typical Rebound Dynamics</a:t>
              </a:r>
              <a:br>
                <a:rPr lang="en-US" altLang="en-US" sz="1200" b="1" dirty="0">
                  <a:solidFill>
                    <a:srgbClr val="000000"/>
                  </a:solidFill>
                </a:rPr>
              </a:br>
              <a:r>
                <a:rPr lang="en-US" altLang="en-US" sz="1200" dirty="0">
                  <a:solidFill>
                    <a:srgbClr val="000000"/>
                  </a:solidFill>
                </a:rPr>
                <a:t>n = 12 (60%)</a:t>
              </a:r>
              <a:endParaRPr lang="en-US" altLang="en-US" sz="2400" dirty="0"/>
            </a:p>
          </p:txBody>
        </p:sp>
        <p:sp>
          <p:nvSpPr>
            <p:cNvPr id="177" name="Rectangle 560">
              <a:extLst>
                <a:ext uri="{FF2B5EF4-FFF2-40B4-BE49-F238E27FC236}">
                  <a16:creationId xmlns:a16="http://schemas.microsoft.com/office/drawing/2014/main" id="{87C02C6D-D7DA-05BE-A14A-A2AAA53975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7" y="1607"/>
              <a:ext cx="1678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/>
              <a:r>
                <a:rPr lang="en-US" altLang="en-US" sz="1200" b="1" dirty="0">
                  <a:solidFill>
                    <a:srgbClr val="000000"/>
                  </a:solidFill>
                </a:rPr>
                <a:t>Oscillating Viral Rebound Dynamics and Control</a:t>
              </a:r>
              <a:br>
                <a:rPr lang="en-US" altLang="en-US" sz="1200" b="1" dirty="0">
                  <a:solidFill>
                    <a:srgbClr val="000000"/>
                  </a:solidFill>
                </a:rPr>
              </a:br>
              <a:r>
                <a:rPr lang="en-US" altLang="en-US" sz="1200" dirty="0">
                  <a:solidFill>
                    <a:srgbClr val="000000"/>
                  </a:solidFill>
                </a:rPr>
                <a:t>n = 8 (40%)</a:t>
              </a:r>
              <a:endParaRPr lang="en-US" altLang="en-US" sz="2400" dirty="0"/>
            </a:p>
          </p:txBody>
        </p:sp>
        <p:sp>
          <p:nvSpPr>
            <p:cNvPr id="179" name="Rectangle 562">
              <a:extLst>
                <a:ext uri="{FF2B5EF4-FFF2-40B4-BE49-F238E27FC236}">
                  <a16:creationId xmlns:a16="http://schemas.microsoft.com/office/drawing/2014/main" id="{103AEF66-26BD-5F8B-0D51-0A322A8BE9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" y="791"/>
              <a:ext cx="322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1,000,000</a:t>
              </a:r>
              <a:endParaRPr lang="en-US" altLang="en-US" sz="2400"/>
            </a:p>
          </p:txBody>
        </p:sp>
        <p:sp>
          <p:nvSpPr>
            <p:cNvPr id="180" name="Rectangle 563">
              <a:extLst>
                <a:ext uri="{FF2B5EF4-FFF2-40B4-BE49-F238E27FC236}">
                  <a16:creationId xmlns:a16="http://schemas.microsoft.com/office/drawing/2014/main" id="{B86D036F-DD29-BB98-ABE2-1064FA103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" y="1075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10,000</a:t>
              </a:r>
              <a:endParaRPr lang="en-US" altLang="en-US" sz="2400"/>
            </a:p>
          </p:txBody>
        </p:sp>
        <p:sp>
          <p:nvSpPr>
            <p:cNvPr id="181" name="Rectangle 564">
              <a:extLst>
                <a:ext uri="{FF2B5EF4-FFF2-40B4-BE49-F238E27FC236}">
                  <a16:creationId xmlns:a16="http://schemas.microsoft.com/office/drawing/2014/main" id="{E9B90C42-F2B1-B82F-181E-2D380C6736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" y="1370"/>
              <a:ext cx="12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100</a:t>
              </a:r>
              <a:endParaRPr lang="en-US" altLang="en-US" sz="2400"/>
            </a:p>
          </p:txBody>
        </p:sp>
        <p:sp>
          <p:nvSpPr>
            <p:cNvPr id="182" name="Rectangle 565">
              <a:extLst>
                <a:ext uri="{FF2B5EF4-FFF2-40B4-BE49-F238E27FC236}">
                  <a16:creationId xmlns:a16="http://schemas.microsoft.com/office/drawing/2014/main" id="{983F2EC8-428C-34CC-0D97-CF6FF8512E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" y="1936"/>
              <a:ext cx="322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1,000,000</a:t>
              </a:r>
              <a:endParaRPr lang="en-US" altLang="en-US" sz="2400"/>
            </a:p>
          </p:txBody>
        </p:sp>
        <p:sp>
          <p:nvSpPr>
            <p:cNvPr id="183" name="Rectangle 566">
              <a:extLst>
                <a:ext uri="{FF2B5EF4-FFF2-40B4-BE49-F238E27FC236}">
                  <a16:creationId xmlns:a16="http://schemas.microsoft.com/office/drawing/2014/main" id="{BA11753D-11EC-D133-1413-E34C9D9371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" y="2222"/>
              <a:ext cx="22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10,000</a:t>
              </a:r>
              <a:endParaRPr lang="en-US" altLang="en-US" sz="2400"/>
            </a:p>
          </p:txBody>
        </p:sp>
        <p:sp>
          <p:nvSpPr>
            <p:cNvPr id="184" name="Rectangle 567">
              <a:extLst>
                <a:ext uri="{FF2B5EF4-FFF2-40B4-BE49-F238E27FC236}">
                  <a16:creationId xmlns:a16="http://schemas.microsoft.com/office/drawing/2014/main" id="{61E20203-90D4-1825-D2BA-4D313305DD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" y="2517"/>
              <a:ext cx="12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100</a:t>
              </a:r>
              <a:endParaRPr lang="en-US" altLang="en-US" sz="2400"/>
            </a:p>
          </p:txBody>
        </p:sp>
        <p:sp>
          <p:nvSpPr>
            <p:cNvPr id="185" name="Rectangle 568">
              <a:extLst>
                <a:ext uri="{FF2B5EF4-FFF2-40B4-BE49-F238E27FC236}">
                  <a16:creationId xmlns:a16="http://schemas.microsoft.com/office/drawing/2014/main" id="{A8B47824-DF30-1914-5E62-BE6FEC32A4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7" y="2824"/>
              <a:ext cx="1326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/>
              <a:r>
                <a:rPr lang="en-US" altLang="en-US" sz="1200" b="1">
                  <a:solidFill>
                    <a:srgbClr val="000000"/>
                  </a:solidFill>
                </a:rPr>
                <a:t>Weeks Since First Detectable HIV RNA</a:t>
              </a:r>
              <a:endParaRPr lang="en-US" altLang="en-US" sz="2400" b="1"/>
            </a:p>
          </p:txBody>
        </p:sp>
        <p:sp>
          <p:nvSpPr>
            <p:cNvPr id="188" name="Rectangle 571">
              <a:extLst>
                <a:ext uri="{FF2B5EF4-FFF2-40B4-BE49-F238E27FC236}">
                  <a16:creationId xmlns:a16="http://schemas.microsoft.com/office/drawing/2014/main" id="{1BC45DEF-61D1-F367-DC91-E1A8BB2C31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4" y="2718"/>
              <a:ext cx="4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0</a:t>
              </a:r>
              <a:endParaRPr lang="en-US" altLang="en-US" sz="2400"/>
            </a:p>
          </p:txBody>
        </p:sp>
        <p:sp>
          <p:nvSpPr>
            <p:cNvPr id="189" name="Rectangle 572">
              <a:extLst>
                <a:ext uri="{FF2B5EF4-FFF2-40B4-BE49-F238E27FC236}">
                  <a16:creationId xmlns:a16="http://schemas.microsoft.com/office/drawing/2014/main" id="{CAF3CE91-E3E7-D6CB-9093-C22D7E03CA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9" y="2718"/>
              <a:ext cx="8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30</a:t>
              </a:r>
              <a:endParaRPr lang="en-US" altLang="en-US" sz="2400"/>
            </a:p>
          </p:txBody>
        </p:sp>
        <p:sp>
          <p:nvSpPr>
            <p:cNvPr id="190" name="Rectangle 573">
              <a:extLst>
                <a:ext uri="{FF2B5EF4-FFF2-40B4-BE49-F238E27FC236}">
                  <a16:creationId xmlns:a16="http://schemas.microsoft.com/office/drawing/2014/main" id="{A5E9A086-076A-B80D-15F9-5DD6FC3CCD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03" y="2718"/>
              <a:ext cx="8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40</a:t>
              </a:r>
              <a:endParaRPr lang="en-US" altLang="en-US" sz="2400"/>
            </a:p>
          </p:txBody>
        </p:sp>
        <p:sp>
          <p:nvSpPr>
            <p:cNvPr id="191" name="Rectangle 574">
              <a:extLst>
                <a:ext uri="{FF2B5EF4-FFF2-40B4-BE49-F238E27FC236}">
                  <a16:creationId xmlns:a16="http://schemas.microsoft.com/office/drawing/2014/main" id="{136BB45F-7C8B-B00C-D84B-B9397C7E54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9" y="2718"/>
              <a:ext cx="8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10</a:t>
              </a:r>
              <a:endParaRPr lang="en-US" altLang="en-US" sz="2400"/>
            </a:p>
          </p:txBody>
        </p:sp>
        <p:sp>
          <p:nvSpPr>
            <p:cNvPr id="192" name="Rectangle 575">
              <a:extLst>
                <a:ext uri="{FF2B5EF4-FFF2-40B4-BE49-F238E27FC236}">
                  <a16:creationId xmlns:a16="http://schemas.microsoft.com/office/drawing/2014/main" id="{F4F00563-0F90-F1EF-D998-986874358D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5" y="2718"/>
              <a:ext cx="80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/>
              <a:r>
                <a:rPr lang="en-US" altLang="en-US" sz="1200">
                  <a:solidFill>
                    <a:srgbClr val="000000"/>
                  </a:solidFill>
                </a:rPr>
                <a:t>20</a:t>
              </a:r>
              <a:endParaRPr lang="en-US" altLang="en-US" sz="2400"/>
            </a:p>
          </p:txBody>
        </p:sp>
        <p:sp>
          <p:nvSpPr>
            <p:cNvPr id="193" name="Rectangle 576">
              <a:extLst>
                <a:ext uri="{FF2B5EF4-FFF2-40B4-BE49-F238E27FC236}">
                  <a16:creationId xmlns:a16="http://schemas.microsoft.com/office/drawing/2014/main" id="{D25098F2-0AE8-37D1-59F6-D41882DADF1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-78" y="1611"/>
              <a:ext cx="748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/>
              <a:r>
                <a:rPr lang="en-US" altLang="en-US" sz="1200" b="1">
                  <a:solidFill>
                    <a:srgbClr val="000000"/>
                  </a:solidFill>
                </a:rPr>
                <a:t>HIV-1 RNA Copies/mL</a:t>
              </a:r>
              <a:endParaRPr lang="en-US" altLang="en-US" sz="2400" b="1"/>
            </a:p>
          </p:txBody>
        </p:sp>
      </p:grp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3174A20-F0AE-338A-70AB-41E05FD30FD2}"/>
              </a:ext>
            </a:extLst>
          </p:cNvPr>
          <p:cNvSpPr txBox="1">
            <a:spLocks/>
          </p:cNvSpPr>
          <p:nvPr/>
        </p:nvSpPr>
        <p:spPr>
          <a:xfrm>
            <a:off x="399605" y="6396695"/>
            <a:ext cx="11201200" cy="231923"/>
          </a:xfrm>
          <a:prstGeom prst="rect">
            <a:avLst/>
          </a:prstGeom>
        </p:spPr>
        <p:txBody>
          <a:bodyPr anchor="b" anchorCtr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lnSpc>
                <a:spcPct val="85000"/>
              </a:lnSpc>
            </a:pPr>
            <a:r>
              <a:rPr lang="en-US" sz="1067" b="1">
                <a:solidFill>
                  <a:srgbClr val="000000"/>
                </a:solidFill>
                <a:latin typeface="Arial Narrow" panose="020B0606020202030204" pitchFamily="34" charset="0"/>
              </a:rPr>
              <a:t>ATI</a:t>
            </a:r>
            <a:r>
              <a:rPr lang="en-US" sz="1067">
                <a:solidFill>
                  <a:srgbClr val="000000"/>
                </a:solidFill>
                <a:latin typeface="Arial Narrow" panose="020B0606020202030204" pitchFamily="34" charset="0"/>
              </a:rPr>
              <a:t>, analytical treatment interruption.</a:t>
            </a:r>
          </a:p>
        </p:txBody>
      </p:sp>
    </p:spTree>
    <p:extLst>
      <p:ext uri="{BB962C8B-B14F-4D97-AF65-F5344CB8AC3E}">
        <p14:creationId xmlns:p14="http://schemas.microsoft.com/office/powerpoint/2010/main" val="33939616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E92600-541B-9132-4295-7C5E901389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4DE901-CC4B-7C5C-FF7A-E55EA64421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4DE901-CC4B-7C5C-FF7A-E55EA64421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1606BA7-C2F3-F995-8710-BC0770F5FB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142729"/>
            <a:ext cx="11104326" cy="4760278"/>
          </a:xfr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91440" rIns="91440" bIns="91440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en-US" sz="2200" dirty="0">
                <a:solidFill>
                  <a:schemeClr val="accent2"/>
                </a:solidFill>
              </a:rPr>
              <a:t>This first-in-Africa HIV cure trial demonstrates that complex cure studies can be successfully conducted in resource-limited settings with great unmet need via partnership with community and multisector collaborators</a:t>
            </a:r>
          </a:p>
          <a:p>
            <a:pPr>
              <a:spcBef>
                <a:spcPts val="1400"/>
              </a:spcBef>
              <a:spcAft>
                <a:spcPts val="600"/>
              </a:spcAft>
            </a:pPr>
            <a:r>
              <a:rPr lang="en-US" sz="2200" dirty="0">
                <a:solidFill>
                  <a:schemeClr val="accent2"/>
                </a:solidFill>
              </a:rPr>
              <a:t>The treatment regimen of VES, VRC07-523LS, and CAP256V2LS was well tolerated, with no serious study drug-related TEAEs reported</a:t>
            </a:r>
            <a:endParaRPr lang="en-US" sz="1900" dirty="0">
              <a:solidFill>
                <a:schemeClr val="accent2"/>
              </a:solidFill>
            </a:endParaRPr>
          </a:p>
          <a:p>
            <a:pPr>
              <a:spcBef>
                <a:spcPts val="1400"/>
              </a:spcBef>
              <a:spcAft>
                <a:spcPts val="600"/>
              </a:spcAft>
            </a:pPr>
            <a:r>
              <a:rPr lang="en-US" sz="2200" dirty="0">
                <a:solidFill>
                  <a:schemeClr val="accent2"/>
                </a:solidFill>
              </a:rPr>
              <a:t>20% of participants achieved durable ART-free viral control and 40% experienced atypical rebound dynamics</a:t>
            </a:r>
            <a:endParaRPr lang="en-US" sz="2200" dirty="0">
              <a:solidFill>
                <a:schemeClr val="accent2"/>
              </a:solidFill>
              <a:cs typeface="Arial"/>
            </a:endParaRPr>
          </a:p>
          <a:p>
            <a:pPr marL="647700" lvl="1" indent="-34290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–"/>
            </a:pPr>
            <a:r>
              <a:rPr lang="en-US" sz="2000" dirty="0">
                <a:solidFill>
                  <a:schemeClr val="accent2"/>
                </a:solidFill>
                <a:cs typeface="Segoe UI"/>
              </a:rPr>
              <a:t>While this regimen did not achieve durable control in all participants, ongoing analyses will inform the development of future cure approaches</a:t>
            </a:r>
            <a:endParaRPr lang="en-US" sz="2000" dirty="0">
              <a:solidFill>
                <a:schemeClr val="accent2"/>
              </a:solidFill>
              <a:cs typeface="Arial" panose="020B0604020202020204"/>
            </a:endParaRPr>
          </a:p>
          <a:p>
            <a:pPr marL="647700" lvl="1" indent="-34290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–"/>
            </a:pPr>
            <a:r>
              <a:rPr lang="en-US" sz="2000" dirty="0">
                <a:solidFill>
                  <a:schemeClr val="accent2"/>
                </a:solidFill>
              </a:rPr>
              <a:t>Insights from an integrated </a:t>
            </a:r>
            <a:r>
              <a:rPr lang="en-US" sz="2000" dirty="0" err="1">
                <a:solidFill>
                  <a:schemeClr val="accent2"/>
                </a:solidFill>
              </a:rPr>
              <a:t>sociobehavioral</a:t>
            </a:r>
            <a:r>
              <a:rPr lang="en-US" sz="2000" dirty="0">
                <a:solidFill>
                  <a:schemeClr val="accent2"/>
                </a:solidFill>
              </a:rPr>
              <a:t> study will be critical for shaping the design and implementation of future HIV cure trials in diverse settings</a:t>
            </a:r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95EEFD12-1F6A-EA74-ED41-F6EEADA4E2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892" y="-4826"/>
            <a:ext cx="12188952" cy="758952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en-US" sz="3200"/>
              <a:t>Conclusions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31480812-A398-5637-21C3-51129CB5DC9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32001" y="6356127"/>
            <a:ext cx="11265451" cy="295063"/>
          </a:xfrm>
        </p:spPr>
        <p:txBody>
          <a:bodyPr/>
          <a:lstStyle/>
          <a:p>
            <a:r>
              <a:rPr lang="en-US" b="1" dirty="0">
                <a:solidFill>
                  <a:srgbClr val="1E1E1E"/>
                </a:solidFill>
              </a:rPr>
              <a:t>ART</a:t>
            </a:r>
            <a:r>
              <a:rPr lang="en-US" dirty="0">
                <a:solidFill>
                  <a:srgbClr val="1E1E1E"/>
                </a:solidFill>
              </a:rPr>
              <a:t>, antiretroviral therapy; </a:t>
            </a:r>
            <a:r>
              <a:rPr lang="en-US" b="1" dirty="0" err="1">
                <a:solidFill>
                  <a:srgbClr val="1E1E1E"/>
                </a:solidFill>
              </a:rPr>
              <a:t>TEAE</a:t>
            </a:r>
            <a:r>
              <a:rPr lang="en-US" b="1" dirty="0">
                <a:solidFill>
                  <a:srgbClr val="1E1E1E"/>
                </a:solidFill>
              </a:rPr>
              <a:t>,</a:t>
            </a:r>
            <a:r>
              <a:rPr lang="en-US" dirty="0">
                <a:solidFill>
                  <a:srgbClr val="1E1E1E"/>
                </a:solidFill>
              </a:rPr>
              <a:t> treatment-related adverse event; </a:t>
            </a:r>
            <a:r>
              <a:rPr lang="en-US" b="1" dirty="0">
                <a:solidFill>
                  <a:srgbClr val="1E1E1E"/>
                </a:solidFill>
              </a:rPr>
              <a:t>VES</a:t>
            </a:r>
            <a:r>
              <a:rPr lang="en-US" dirty="0">
                <a:solidFill>
                  <a:srgbClr val="1E1E1E"/>
                </a:solidFill>
              </a:rPr>
              <a:t>, vesatolimod. 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9F520717-BA92-9B7A-D194-74E1D63956B0}"/>
              </a:ext>
            </a:extLst>
          </p:cNvPr>
          <p:cNvSpPr txBox="1">
            <a:spLocks/>
          </p:cNvSpPr>
          <p:nvPr/>
        </p:nvSpPr>
        <p:spPr>
          <a:xfrm>
            <a:off x="0" y="6291610"/>
            <a:ext cx="432000" cy="43257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algn="ctr">
              <a:defRPr sz="1195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BEAA09E-D67E-864E-8466-C38E88600C4F}" type="slidenum">
              <a:rPr lang="en-US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17502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86B664-9CCD-C839-D746-DE4F9114CC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D26023C-F6FE-4495-6192-08AE1F62D8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D26023C-F6FE-4495-6192-08AE1F62D8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B8D3EE0-7E74-F512-692E-34D19BF03C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235" y="1689800"/>
            <a:ext cx="11138651" cy="4457000"/>
          </a:xfrm>
        </p:spPr>
        <p:txBody>
          <a:bodyPr/>
          <a:lstStyle/>
          <a:p>
            <a:r>
              <a:rPr lang="en-US" sz="2200" dirty="0"/>
              <a:t>We extend our thanks to the trial participants, their partners and family members, the study team at FRESH, HIV Pathogenesis </a:t>
            </a:r>
            <a:r>
              <a:rPr lang="en-US" sz="2200" dirty="0" err="1"/>
              <a:t>Programme</a:t>
            </a:r>
            <a:r>
              <a:rPr lang="en-US" sz="2200" dirty="0"/>
              <a:t> (HPP) core lab staff, counselors from University of KwaZulu-Natal (UKZN), HPP Community Advisory Board, and University Pathology Lab</a:t>
            </a:r>
          </a:p>
          <a:p>
            <a:r>
              <a:rPr lang="en-US" sz="2200" dirty="0"/>
              <a:t>The</a:t>
            </a:r>
            <a:r>
              <a:rPr lang="en-US" sz="2200" baseline="30000" dirty="0"/>
              <a:t> </a:t>
            </a:r>
            <a:r>
              <a:rPr lang="en-US" sz="2200" dirty="0"/>
              <a:t>NIH</a:t>
            </a:r>
            <a:r>
              <a:rPr lang="en-US" sz="2200" baseline="30000" dirty="0"/>
              <a:t> </a:t>
            </a:r>
            <a:r>
              <a:rPr lang="en-US" sz="2200" dirty="0"/>
              <a:t>Vaccine Research Center contributed extensive knowledge on bNAb development, supplied the bNAbs and performed pharmacokinetic testing</a:t>
            </a:r>
          </a:p>
          <a:p>
            <a:r>
              <a:rPr lang="en-US" sz="2200" dirty="0"/>
              <a:t>This study was funded by Gilead Sciences, Inc.</a:t>
            </a:r>
          </a:p>
          <a:p>
            <a:r>
              <a:rPr lang="en-US" sz="2200" dirty="0"/>
              <a:t>Editing and production assistance were provided by Parexel, and funded by Gilead Sciences, Inc.</a:t>
            </a:r>
          </a:p>
          <a:p>
            <a:r>
              <a:rPr lang="en-US" sz="2200" dirty="0"/>
              <a:t>Correspondence: Megha Mehrotra, megha.mehrotra@gilead.co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A287FE7-A785-1DF5-DA75-9536F830BA4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b="1" dirty="0" err="1"/>
              <a:t>bNAb</a:t>
            </a:r>
            <a:r>
              <a:rPr lang="en-US" dirty="0"/>
              <a:t>, broadly neutralizing antibody; </a:t>
            </a:r>
            <a:r>
              <a:rPr lang="en-US" b="1" dirty="0"/>
              <a:t>FRESH</a:t>
            </a:r>
            <a:r>
              <a:rPr lang="en-US" dirty="0"/>
              <a:t>, Females Rising through Education, Support, and Health; </a:t>
            </a:r>
            <a:r>
              <a:rPr lang="en-US" b="1" dirty="0"/>
              <a:t>HPP CAB</a:t>
            </a:r>
            <a:r>
              <a:rPr lang="en-US" dirty="0"/>
              <a:t>, HIV Pathogenesis </a:t>
            </a:r>
            <a:r>
              <a:rPr lang="en-US" dirty="0" err="1"/>
              <a:t>Programme</a:t>
            </a:r>
            <a:r>
              <a:rPr lang="en-US" dirty="0"/>
              <a:t> Community Advisory Board; </a:t>
            </a:r>
            <a:r>
              <a:rPr lang="en-US" b="1" dirty="0"/>
              <a:t>UKZN</a:t>
            </a:r>
            <a:r>
              <a:rPr lang="en-US" dirty="0"/>
              <a:t>, University of KwaZulu-Natal; </a:t>
            </a:r>
            <a:r>
              <a:rPr lang="en-US" b="1" dirty="0"/>
              <a:t>UPL lab</a:t>
            </a:r>
            <a:r>
              <a:rPr lang="en-US" dirty="0"/>
              <a:t>, universal pathology laborator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4CC4F4-A294-C338-A1AD-C3B29676DCDD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 defTabSz="914354"/>
            <a:fld id="{4BEAA09E-D67E-864E-8466-C38E88600C4F}" type="slidenum">
              <a:rPr lang="en-US">
                <a:solidFill>
                  <a:srgbClr val="FFFFFF"/>
                </a:solidFill>
                <a:latin typeface="Arial" panose="020B0604020202020204"/>
              </a:rPr>
              <a:pPr defTabSz="914354"/>
              <a:t>18</a:t>
            </a:fld>
            <a:endParaRPr lang="en-US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F7BF6DDC-19FA-EAD2-5C95-53F3DBE6177B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F4F4F4"/>
          </a:solidFill>
        </p:spPr>
        <p:txBody>
          <a:bodyPr vert="horz" lIns="121920" tIns="0" rIns="0" bIns="0" rtlCol="0" anchor="ctr">
            <a:noAutofit/>
          </a:bodyPr>
          <a:lstStyle/>
          <a:p>
            <a:r>
              <a:rPr lang="en-US" sz="3200" dirty="0"/>
              <a:t>Acknowledgements</a:t>
            </a:r>
            <a:endParaRPr lang="en-US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664CF7D0-3427-1F83-3FC1-5A922CD9DA8F}"/>
              </a:ext>
            </a:extLst>
          </p:cNvPr>
          <p:cNvSpPr txBox="1">
            <a:spLocks/>
          </p:cNvSpPr>
          <p:nvPr/>
        </p:nvSpPr>
        <p:spPr>
          <a:xfrm>
            <a:off x="0" y="6304310"/>
            <a:ext cx="432000" cy="43257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algn="ctr">
              <a:defRPr sz="1195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BEAA09E-D67E-864E-8466-C38E88600C4F}" type="slidenum">
              <a:rPr lang="en-US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1142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B1BE59-1041-786A-445B-0A9DA8C340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41597CE-6CCF-C3EE-2297-F6AA37BCF4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41597CE-6CCF-C3EE-2297-F6AA37BCF4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B464EB7-B4B8-D7E7-4D07-D9810E153F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168" y="1692761"/>
            <a:ext cx="11138651" cy="4457000"/>
          </a:xfrm>
        </p:spPr>
        <p:txBody>
          <a:bodyPr/>
          <a:lstStyle/>
          <a:p>
            <a:r>
              <a:rPr lang="en-US" sz="2200" dirty="0"/>
              <a:t>Thumbi Ndung’u has received research grant funding and honoraria from Gilead Sciences, Inc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AB8A9F-EC16-DD43-E5FE-A6FB0A168EA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 defTabSz="914354"/>
            <a:fld id="{4BEAA09E-D67E-864E-8466-C38E88600C4F}" type="slidenum">
              <a:rPr lang="en-US">
                <a:solidFill>
                  <a:srgbClr val="FFFFFF"/>
                </a:solidFill>
                <a:latin typeface="Arial" panose="020B0604020202020204"/>
              </a:rPr>
              <a:pPr defTabSz="914354"/>
              <a:t>2</a:t>
            </a:fld>
            <a:endParaRPr lang="en-US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4FEAFAFA-89E2-E57F-5B6D-853F3DA0B3EF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F4F4F4"/>
          </a:solidFill>
        </p:spPr>
        <p:txBody>
          <a:bodyPr vert="horz" lIns="121920" tIns="0" rIns="0" bIns="0" rtlCol="0" anchor="ctr">
            <a:noAutofit/>
          </a:bodyPr>
          <a:lstStyle/>
          <a:p>
            <a:r>
              <a:rPr lang="en-US" sz="3200"/>
              <a:t>Disclosures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0AFF5D01-8282-CB47-F47B-084D3FFE87E9}"/>
              </a:ext>
            </a:extLst>
          </p:cNvPr>
          <p:cNvSpPr txBox="1">
            <a:spLocks/>
          </p:cNvSpPr>
          <p:nvPr/>
        </p:nvSpPr>
        <p:spPr>
          <a:xfrm>
            <a:off x="-12900" y="6298813"/>
            <a:ext cx="432000" cy="43257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algn="ctr">
              <a:defRPr sz="1195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BEAA09E-D67E-864E-8466-C38E88600C4F}" type="slidenum">
              <a:rPr lang="en-US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8247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62DC43-5AD4-6025-2F8F-3F40EA0D5F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46F97C29-6E74-6E26-4BD7-5CDEDE28E2E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chemeClr val="tx1"/>
                </a:solidFill>
              </a:rPr>
              <a:t>ART, </a:t>
            </a:r>
            <a:r>
              <a:rPr lang="en-US" dirty="0">
                <a:solidFill>
                  <a:schemeClr val="tx1"/>
                </a:solidFill>
              </a:rPr>
              <a:t>antiretroviral therapy</a:t>
            </a:r>
            <a:r>
              <a:rPr lang="en-US" b="1" dirty="0">
                <a:solidFill>
                  <a:schemeClr val="tx1"/>
                </a:solidFill>
              </a:rPr>
              <a:t>; ATI</a:t>
            </a:r>
            <a:r>
              <a:rPr lang="en-US" dirty="0">
                <a:solidFill>
                  <a:schemeClr val="tx1"/>
                </a:solidFill>
              </a:rPr>
              <a:t>, analytical treatment interruption; </a:t>
            </a:r>
            <a:r>
              <a:rPr lang="en-US" b="1" dirty="0">
                <a:solidFill>
                  <a:schemeClr val="tx1"/>
                </a:solidFill>
              </a:rPr>
              <a:t>bNAb, </a:t>
            </a:r>
            <a:r>
              <a:rPr lang="en-US" dirty="0">
                <a:solidFill>
                  <a:schemeClr val="tx1"/>
                </a:solidFill>
              </a:rPr>
              <a:t>broadly neutralizing antibody</a:t>
            </a:r>
            <a:r>
              <a:rPr lang="en-US" b="1" dirty="0">
                <a:solidFill>
                  <a:schemeClr val="tx1"/>
                </a:solidFill>
              </a:rPr>
              <a:t>; CAR T</a:t>
            </a:r>
            <a:r>
              <a:rPr lang="en-US" dirty="0">
                <a:solidFill>
                  <a:schemeClr val="tx1"/>
                </a:solidFill>
              </a:rPr>
              <a:t>, chimeric antigen receptor T</a:t>
            </a:r>
            <a:r>
              <a:rPr lang="en-US" b="1" dirty="0">
                <a:solidFill>
                  <a:schemeClr val="tx1"/>
                </a:solidFill>
              </a:rPr>
              <a:t>;  LRA</a:t>
            </a:r>
            <a:r>
              <a:rPr lang="en-US" dirty="0">
                <a:solidFill>
                  <a:schemeClr val="tx1"/>
                </a:solidFill>
              </a:rPr>
              <a:t>, latency-reversing agent;</a:t>
            </a:r>
            <a:r>
              <a:rPr lang="en-US" b="1" dirty="0">
                <a:solidFill>
                  <a:schemeClr val="tx1"/>
                </a:solidFill>
              </a:rPr>
              <a:t> TLR, </a:t>
            </a:r>
            <a:r>
              <a:rPr lang="en-US" dirty="0">
                <a:solidFill>
                  <a:schemeClr val="tx1"/>
                </a:solidFill>
              </a:rPr>
              <a:t>Toll-like receptor.</a:t>
            </a:r>
          </a:p>
          <a:p>
            <a:pPr>
              <a:lnSpc>
                <a:spcPct val="85000"/>
              </a:lnSpc>
            </a:pPr>
            <a:r>
              <a:rPr lang="en-US" dirty="0">
                <a:solidFill>
                  <a:srgbClr val="000000"/>
                </a:solidFill>
              </a:rPr>
              <a:t>Deeks SG, et al. </a:t>
            </a:r>
            <a:r>
              <a:rPr lang="en-US" i="1" dirty="0">
                <a:solidFill>
                  <a:srgbClr val="000000"/>
                </a:solidFill>
              </a:rPr>
              <a:t>Nat Med</a:t>
            </a:r>
            <a:r>
              <a:rPr lang="en-US" dirty="0">
                <a:solidFill>
                  <a:srgbClr val="000000"/>
                </a:solidFill>
              </a:rPr>
              <a:t>. 2021;27:2085-98. Figure reproduced from Deeks et al 2021 with permission.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6C243442-A6D6-DF57-D57C-869853F8644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noFill/>
        </p:spPr>
        <p:txBody>
          <a:bodyPr vert="horz" lIns="0" tIns="0" rIns="0" bIns="0" rtlCol="0" anchor="ctr"/>
          <a:lstStyle/>
          <a:p>
            <a:fld id="{4BEAA09E-D67E-864E-8466-C38E88600C4F}" type="slidenum">
              <a:rPr lang="en-US"/>
              <a:pPr/>
              <a:t>3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60200E1-7B34-50F0-5807-640702337B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spc="-20" dirty="0"/>
              <a:t>Considerations for HIV Cure or Remission Trial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6DBADB-C949-4B5B-08EF-1CA9867EA989}"/>
              </a:ext>
            </a:extLst>
          </p:cNvPr>
          <p:cNvSpPr>
            <a:spLocks/>
          </p:cNvSpPr>
          <p:nvPr/>
        </p:nvSpPr>
        <p:spPr bwMode="auto">
          <a:xfrm>
            <a:off x="0" y="5549202"/>
            <a:ext cx="12192000" cy="510016"/>
          </a:xfrm>
          <a:prstGeom prst="rect">
            <a:avLst/>
          </a:prstGeom>
          <a:solidFill>
            <a:srgbClr val="203661"/>
          </a:solidFill>
          <a:ln w="25400" cap="flat" cmpd="sng" algn="ctr">
            <a:solidFill>
              <a:srgbClr val="203661"/>
            </a:solidFill>
            <a:prstDash val="solid"/>
          </a:ln>
          <a:effectLst/>
        </p:spPr>
        <p:txBody>
          <a:bodyPr wrap="square" lIns="91440" tIns="45719" rIns="91440" bIns="45719" anchor="ctr">
            <a:noAutofit/>
          </a:bodyPr>
          <a:lstStyle/>
          <a:p>
            <a:pPr marL="0" marR="0" lvl="0" indent="0" algn="ctr" defTabSz="121914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u="sng" kern="0" dirty="0">
                <a:solidFill>
                  <a:srgbClr val="FFFFFF"/>
                </a:solidFill>
                <a:latin typeface="+mj-lt"/>
                <a:cs typeface="Arial" pitchFamily="34" charset="0"/>
              </a:rPr>
              <a:t>G</a:t>
            </a:r>
            <a:r>
              <a:rPr kumimoji="0" lang="en-US" sz="2000" b="1" i="0" u="sng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itchFamily="34" charset="0"/>
              </a:rPr>
              <a:t>oal</a:t>
            </a: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itchFamily="34" charset="0"/>
              </a:rPr>
              <a:t>: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itchFamily="34" charset="0"/>
              </a:rPr>
              <a:t> Significantly delay viral rebound or lower the viral set poi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9775832-DFF0-3185-8268-89797A4FE756}"/>
              </a:ext>
            </a:extLst>
          </p:cNvPr>
          <p:cNvSpPr txBox="1"/>
          <p:nvPr/>
        </p:nvSpPr>
        <p:spPr>
          <a:xfrm>
            <a:off x="447584" y="991775"/>
            <a:ext cx="4079553" cy="1785104"/>
          </a:xfrm>
          <a:prstGeom prst="rect">
            <a:avLst/>
          </a:prstGeom>
          <a:solidFill>
            <a:srgbClr val="DDDDEA"/>
          </a:solidFill>
          <a:ln>
            <a:noFill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91438" fontAlgn="base">
              <a:spcAft>
                <a:spcPts val="600"/>
              </a:spcAft>
              <a:buSzPct val="100000"/>
              <a:defRPr sz="1600" b="1">
                <a:solidFill>
                  <a:srgbClr val="203662"/>
                </a:solidFill>
                <a:latin typeface="+mj-lt"/>
                <a:ea typeface="Roboto"/>
                <a:cs typeface="Arial" charset="0"/>
              </a:defRPr>
            </a:lvl1pPr>
          </a:lstStyle>
          <a:p>
            <a:r>
              <a:rPr lang="en-US" sz="1400" dirty="0"/>
              <a:t>Impact of early ART:</a:t>
            </a:r>
          </a:p>
          <a:p>
            <a:pPr marL="377188" indent="-285750">
              <a:buFont typeface="Arial" panose="020B0604020202020204" pitchFamily="34" charset="0"/>
              <a:buChar char="•"/>
            </a:pPr>
            <a:r>
              <a:rPr lang="en-US" sz="1400" b="0" dirty="0"/>
              <a:t>Reduced inflammation and immune activation</a:t>
            </a:r>
          </a:p>
          <a:p>
            <a:pPr marL="377188" indent="-285750">
              <a:buFont typeface="Arial" panose="020B0604020202020204" pitchFamily="34" charset="0"/>
              <a:buChar char="•"/>
            </a:pPr>
            <a:r>
              <a:rPr lang="en-US" sz="1400" b="0" dirty="0"/>
              <a:t>Limited viral diversification</a:t>
            </a:r>
          </a:p>
          <a:p>
            <a:pPr marL="377188" indent="-285750">
              <a:buFont typeface="Arial" panose="020B0604020202020204" pitchFamily="34" charset="0"/>
              <a:buChar char="•"/>
            </a:pPr>
            <a:r>
              <a:rPr lang="en-US" sz="1400" b="0" dirty="0"/>
              <a:t>Preserved functional immune responses</a:t>
            </a:r>
          </a:p>
          <a:p>
            <a:pPr marL="377188" indent="-285750">
              <a:buFont typeface="Arial" panose="020B0604020202020204" pitchFamily="34" charset="0"/>
              <a:buChar char="•"/>
            </a:pPr>
            <a:r>
              <a:rPr lang="en-US" sz="1400" b="0" dirty="0"/>
              <a:t>Lower reservoir burden and complexit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FB1402A-814F-18D0-FCE3-E2CB7780AAA2}"/>
              </a:ext>
            </a:extLst>
          </p:cNvPr>
          <p:cNvSpPr txBox="1"/>
          <p:nvPr/>
        </p:nvSpPr>
        <p:spPr>
          <a:xfrm>
            <a:off x="7801591" y="991775"/>
            <a:ext cx="3505745" cy="1492716"/>
          </a:xfrm>
          <a:prstGeom prst="rect">
            <a:avLst/>
          </a:prstGeom>
          <a:solidFill>
            <a:srgbClr val="DDDDEA"/>
          </a:solidFill>
          <a:ln>
            <a:noFill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91438" fontAlgn="base">
              <a:spcAft>
                <a:spcPts val="600"/>
              </a:spcAft>
              <a:buSzPct val="100000"/>
              <a:defRPr sz="1600" b="1">
                <a:solidFill>
                  <a:srgbClr val="203662"/>
                </a:solidFill>
                <a:latin typeface="+mj-lt"/>
                <a:ea typeface="Roboto"/>
                <a:cs typeface="Arial" charset="0"/>
              </a:defRPr>
            </a:lvl1pPr>
          </a:lstStyle>
          <a:p>
            <a:r>
              <a:rPr lang="en-US" sz="1400" dirty="0"/>
              <a:t>Monitoring during ATI:</a:t>
            </a:r>
          </a:p>
          <a:p>
            <a:pPr marL="377188" indent="-285750">
              <a:buFont typeface="Arial" panose="020B0604020202020204" pitchFamily="34" charset="0"/>
              <a:buChar char="•"/>
            </a:pPr>
            <a:r>
              <a:rPr lang="en-US" sz="1400" b="0" dirty="0"/>
              <a:t>Viral load (HIV RNA) every 2 weeks</a:t>
            </a:r>
          </a:p>
          <a:p>
            <a:pPr marL="377188" indent="-285750">
              <a:buFont typeface="Arial" panose="020B0604020202020204" pitchFamily="34" charset="0"/>
              <a:buChar char="•"/>
            </a:pPr>
            <a:r>
              <a:rPr lang="en-US" sz="1400" b="0" dirty="0"/>
              <a:t>Immune responses, reservoir size and composition</a:t>
            </a:r>
          </a:p>
          <a:p>
            <a:pPr marL="377188" indent="-285750">
              <a:buFont typeface="Arial" panose="020B0604020202020204" pitchFamily="34" charset="0"/>
              <a:buChar char="•"/>
            </a:pPr>
            <a:r>
              <a:rPr lang="en-US" sz="1400" b="0" dirty="0"/>
              <a:t>Clinical finding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AB8E74D-D9BF-2DCA-667D-F34DF96785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081070" y="906173"/>
            <a:ext cx="8321040" cy="470738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8EF71B8-AC3F-2D5E-B01E-9C6A5656F619}"/>
              </a:ext>
            </a:extLst>
          </p:cNvPr>
          <p:cNvSpPr/>
          <p:nvPr/>
        </p:nvSpPr>
        <p:spPr>
          <a:xfrm>
            <a:off x="5202976" y="1308036"/>
            <a:ext cx="533400" cy="647700"/>
          </a:xfrm>
          <a:prstGeom prst="rect">
            <a:avLst/>
          </a:prstGeom>
          <a:noFill/>
          <a:ln w="2222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4D4AF3-EEEB-44CB-6D5F-B1AE19BD8ECE}"/>
              </a:ext>
            </a:extLst>
          </p:cNvPr>
          <p:cNvSpPr/>
          <p:nvPr/>
        </p:nvSpPr>
        <p:spPr>
          <a:xfrm>
            <a:off x="5212499" y="2455799"/>
            <a:ext cx="1924051" cy="609600"/>
          </a:xfrm>
          <a:prstGeom prst="rect">
            <a:avLst/>
          </a:prstGeom>
          <a:noFill/>
          <a:ln w="2222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55540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B9C93A-C334-BAD0-B7AD-86A9A184DA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 descr="Business Growth outline">
            <a:extLst>
              <a:ext uri="{FF2B5EF4-FFF2-40B4-BE49-F238E27FC236}">
                <a16:creationId xmlns:a16="http://schemas.microsoft.com/office/drawing/2014/main" id="{C0E31B57-FBF3-366B-C722-4AA7F5DF64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86324" y="1524604"/>
            <a:ext cx="457200" cy="457200"/>
          </a:xfrm>
          <a:prstGeom prst="rect">
            <a:avLst/>
          </a:prstGeom>
        </p:spPr>
      </p:pic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B50FBFA3-DF73-6AC5-9F26-62C7BC37A41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 b="1" dirty="0">
                <a:solidFill>
                  <a:srgbClr val="000000"/>
                </a:solidFill>
              </a:rPr>
              <a:t>Collaborators: </a:t>
            </a:r>
            <a:r>
              <a:rPr lang="en-US" dirty="0">
                <a:solidFill>
                  <a:srgbClr val="000000"/>
                </a:solidFill>
              </a:rPr>
              <a:t>UKZN, Ragon Institute, NIH, CAPRISA. </a:t>
            </a:r>
            <a:r>
              <a:rPr lang="en-US" b="1" dirty="0">
                <a:solidFill>
                  <a:srgbClr val="000000"/>
                </a:solidFill>
              </a:rPr>
              <a:t>Principal investigators: </a:t>
            </a:r>
            <a:r>
              <a:rPr lang="en-US" dirty="0" err="1">
                <a:solidFill>
                  <a:srgbClr val="000000"/>
                </a:solidFill>
              </a:rPr>
              <a:t>Thumbi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en-US" dirty="0" err="1">
                <a:solidFill>
                  <a:srgbClr val="000000"/>
                </a:solidFill>
              </a:rPr>
              <a:t>Ndung’u</a:t>
            </a:r>
            <a:r>
              <a:rPr lang="en-US" dirty="0">
                <a:solidFill>
                  <a:srgbClr val="000000"/>
                </a:solidFill>
              </a:rPr>
              <a:t>; Krista Dong.</a:t>
            </a:r>
          </a:p>
          <a:p>
            <a:pPr>
              <a:lnSpc>
                <a:spcPct val="85000"/>
              </a:lnSpc>
            </a:pPr>
            <a:r>
              <a:rPr lang="en-US" b="1" dirty="0">
                <a:solidFill>
                  <a:srgbClr val="000000"/>
                </a:solidFill>
              </a:rPr>
              <a:t>ART, </a:t>
            </a:r>
            <a:r>
              <a:rPr lang="en-US" dirty="0">
                <a:solidFill>
                  <a:srgbClr val="000000"/>
                </a:solidFill>
              </a:rPr>
              <a:t>antiretroviral therapy</a:t>
            </a:r>
            <a:r>
              <a:rPr lang="en-US" b="1" dirty="0">
                <a:solidFill>
                  <a:srgbClr val="000000"/>
                </a:solidFill>
              </a:rPr>
              <a:t>; FRESH</a:t>
            </a:r>
            <a:r>
              <a:rPr lang="en-US" dirty="0">
                <a:solidFill>
                  <a:srgbClr val="000000"/>
                </a:solidFill>
              </a:rPr>
              <a:t>, Females Rising through Education, Support, and Health.</a:t>
            </a:r>
          </a:p>
          <a:p>
            <a:pPr>
              <a:lnSpc>
                <a:spcPct val="85000"/>
              </a:lnSpc>
            </a:pPr>
            <a:r>
              <a:rPr lang="en-US" dirty="0">
                <a:solidFill>
                  <a:srgbClr val="000000"/>
                </a:solidFill>
              </a:rPr>
              <a:t>1. Dong KL, et al. </a:t>
            </a:r>
            <a:r>
              <a:rPr lang="en-US" i="1" dirty="0">
                <a:solidFill>
                  <a:srgbClr val="000000"/>
                </a:solidFill>
              </a:rPr>
              <a:t>Lancet HIV</a:t>
            </a:r>
            <a:r>
              <a:rPr lang="en-US" dirty="0">
                <a:solidFill>
                  <a:srgbClr val="000000"/>
                </a:solidFill>
              </a:rPr>
              <a:t>. 2018;5:e35-e44. 2. </a:t>
            </a:r>
            <a:r>
              <a:rPr lang="en-US" dirty="0" err="1">
                <a:solidFill>
                  <a:srgbClr val="000000"/>
                </a:solidFill>
              </a:rPr>
              <a:t>Ndung’u</a:t>
            </a:r>
            <a:r>
              <a:rPr lang="en-US" dirty="0">
                <a:solidFill>
                  <a:srgbClr val="000000"/>
                </a:solidFill>
              </a:rPr>
              <a:t> T, et al. </a:t>
            </a:r>
            <a:r>
              <a:rPr lang="it-IT" i="1" dirty="0">
                <a:solidFill>
                  <a:srgbClr val="000000"/>
                </a:solidFill>
              </a:rPr>
              <a:t>Sci Immunol</a:t>
            </a:r>
            <a:r>
              <a:rPr lang="it-IT" dirty="0">
                <a:solidFill>
                  <a:srgbClr val="000000"/>
                </a:solidFill>
              </a:rPr>
              <a:t>. 2018;3:eaau2798. 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7C18FE1B-858B-7BD2-C9A2-F211C5038FAF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noFill/>
        </p:spPr>
        <p:txBody>
          <a:bodyPr vert="horz" lIns="0" tIns="0" rIns="0" bIns="0" rtlCol="0" anchor="ctr"/>
          <a:lstStyle/>
          <a:p>
            <a:fld id="{4BEAA09E-D67E-864E-8466-C38E88600C4F}" type="slidenum">
              <a:rPr lang="en-US"/>
              <a:pPr/>
              <a:t>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DCFBC0-F359-F45C-E899-28E424CF1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892" y="-4827"/>
            <a:ext cx="12188952" cy="962223"/>
          </a:xfrm>
        </p:spPr>
        <p:txBody>
          <a:bodyPr/>
          <a:lstStyle/>
          <a:p>
            <a:r>
              <a:rPr lang="en-US" sz="2700" dirty="0">
                <a:solidFill>
                  <a:srgbClr val="203661"/>
                </a:solidFill>
              </a:rPr>
              <a:t>GS-US-382-5445: The First HIV Cure Trial in Africa Enrolled Hyperacutely Treated South African Women From the FRESH Cohor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F1167F7-7E24-BD22-C4CE-DA4972B3422C}"/>
              </a:ext>
            </a:extLst>
          </p:cNvPr>
          <p:cNvSpPr txBox="1"/>
          <p:nvPr/>
        </p:nvSpPr>
        <p:spPr>
          <a:xfrm>
            <a:off x="1311632" y="1155599"/>
            <a:ext cx="828956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600" b="1" kern="0" dirty="0">
                <a:solidFill>
                  <a:prstClr val="black"/>
                </a:solidFill>
                <a:latin typeface="+mj-lt"/>
                <a:cs typeface="Poppins" panose="00000500000000000000" pitchFamily="2" charset="0"/>
              </a:rPr>
              <a:t>FRESH cohort designed to detect hyperacute HIV infection</a:t>
            </a:r>
            <a:endParaRPr lang="en-ZA" sz="3200" kern="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498E00-9976-6101-03D7-20E28653F030}"/>
              </a:ext>
            </a:extLst>
          </p:cNvPr>
          <p:cNvSpPr txBox="1"/>
          <p:nvPr/>
        </p:nvSpPr>
        <p:spPr>
          <a:xfrm>
            <a:off x="3649749" y="5278581"/>
            <a:ext cx="1393876" cy="300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351" kern="0">
                <a:solidFill>
                  <a:prstClr val="black"/>
                </a:solidFill>
                <a:latin typeface="+mj-lt"/>
                <a:cs typeface="Poppins" panose="00000500000000000000" pitchFamily="2" charset="0"/>
              </a:rPr>
              <a:t>HIV infection </a:t>
            </a:r>
            <a:endParaRPr lang="en-ZA" sz="2400" kern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FC50483-0E62-3756-8028-A0B310D91660}"/>
              </a:ext>
            </a:extLst>
          </p:cNvPr>
          <p:cNvSpPr txBox="1"/>
          <p:nvPr/>
        </p:nvSpPr>
        <p:spPr>
          <a:xfrm>
            <a:off x="6161534" y="3742324"/>
            <a:ext cx="45087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n-US" sz="1400" dirty="0">
                <a:solidFill>
                  <a:prstClr val="black"/>
                </a:solidFill>
                <a:latin typeface="+mj-lt"/>
                <a:ea typeface="MS PGothic" panose="020B0600070205080204" pitchFamily="34" charset="-128"/>
                <a:cs typeface="Poppins" panose="00000500000000000000" pitchFamily="2" charset="0"/>
              </a:rPr>
              <a:t>Viral load with ART initiation during chronic infection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694BB48-81FF-0A09-E68F-F2ECA9E6F9E9}"/>
              </a:ext>
            </a:extLst>
          </p:cNvPr>
          <p:cNvSpPr txBox="1"/>
          <p:nvPr/>
        </p:nvSpPr>
        <p:spPr>
          <a:xfrm>
            <a:off x="6219431" y="4522659"/>
            <a:ext cx="3436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n-US" sz="1400" dirty="0">
                <a:solidFill>
                  <a:prstClr val="black"/>
                </a:solidFill>
                <a:latin typeface="+mj-lt"/>
                <a:ea typeface="MS PGothic" panose="020B0600070205080204" pitchFamily="34" charset="-128"/>
                <a:cs typeface="Poppins" panose="00000500000000000000" pitchFamily="2" charset="0"/>
              </a:rPr>
              <a:t>Viral load with early ART initiation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3BC4B180-8EB4-167B-39C0-3E05A7D2E1EF}"/>
              </a:ext>
            </a:extLst>
          </p:cNvPr>
          <p:cNvSpPr txBox="1"/>
          <p:nvPr/>
        </p:nvSpPr>
        <p:spPr>
          <a:xfrm>
            <a:off x="1228884" y="1828535"/>
            <a:ext cx="34493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n-US" sz="1400" kern="0" dirty="0">
                <a:solidFill>
                  <a:prstClr val="black"/>
                </a:solidFill>
                <a:latin typeface="+mj-lt"/>
                <a:ea typeface="MS PGothic" panose="020B0600070205080204" pitchFamily="34" charset="-128"/>
                <a:cs typeface="Poppins" panose="00000500000000000000" pitchFamily="2" charset="0"/>
              </a:rPr>
              <a:t>Longitudinal follow up of high-risk women</a:t>
            </a:r>
          </a:p>
          <a:p>
            <a:pPr defTabSz="914400">
              <a:defRPr/>
            </a:pPr>
            <a:r>
              <a:rPr lang="en-US" sz="1400" kern="0" dirty="0">
                <a:solidFill>
                  <a:prstClr val="black"/>
                </a:solidFill>
                <a:latin typeface="+mj-lt"/>
                <a:ea typeface="MS PGothic" panose="020B0600070205080204" pitchFamily="34" charset="-128"/>
                <a:cs typeface="Poppins" panose="00000500000000000000" pitchFamily="2" charset="0"/>
              </a:rPr>
              <a:t>(twice-weekly HIV testing)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8E0E3E9-AD8D-AAC1-4238-B3A7C10466CB}"/>
              </a:ext>
            </a:extLst>
          </p:cNvPr>
          <p:cNvSpPr txBox="1"/>
          <p:nvPr/>
        </p:nvSpPr>
        <p:spPr>
          <a:xfrm>
            <a:off x="2791085" y="5693641"/>
            <a:ext cx="63308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b="1" kern="0" dirty="0">
                <a:solidFill>
                  <a:prstClr val="black"/>
                </a:solidFill>
                <a:latin typeface="+mj-lt"/>
                <a:cs typeface="Poppins" panose="00000500000000000000" pitchFamily="2" charset="0"/>
              </a:rPr>
              <a:t>Participants in the trial began treatment at first detection of HIV</a:t>
            </a:r>
            <a:endParaRPr lang="en-ZA" sz="1600" b="1" kern="0" dirty="0">
              <a:solidFill>
                <a:prstClr val="black"/>
              </a:solidFill>
              <a:latin typeface="+mj-lt"/>
              <a:cs typeface="Poppins" panose="00000500000000000000" pitchFamily="2" charset="0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68D997D-9026-5027-10EB-3D9ACE3E4B9F}"/>
              </a:ext>
            </a:extLst>
          </p:cNvPr>
          <p:cNvGrpSpPr/>
          <p:nvPr/>
        </p:nvGrpSpPr>
        <p:grpSpPr>
          <a:xfrm>
            <a:off x="2181075" y="2424312"/>
            <a:ext cx="8142019" cy="2869964"/>
            <a:chOff x="3143602" y="2902953"/>
            <a:chExt cx="5798679" cy="1781690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3BBA1841-CC3E-7615-4E27-3E2E90B2E0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78252" y="3909456"/>
              <a:ext cx="334842" cy="311953"/>
            </a:xfrm>
            <a:prstGeom prst="line">
              <a:avLst/>
            </a:prstGeom>
            <a:noFill/>
            <a:ln w="73025" cap="flat" cmpd="sng" algn="ctr">
              <a:solidFill>
                <a:srgbClr val="002060"/>
              </a:solidFill>
              <a:prstDash val="solid"/>
              <a:miter lim="800000"/>
            </a:ln>
            <a:effectLst/>
          </p:spPr>
        </p:cxn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75F54A96-463D-7ED6-06E7-D71EDF21DD67}"/>
                </a:ext>
              </a:extLst>
            </p:cNvPr>
            <p:cNvGrpSpPr/>
            <p:nvPr/>
          </p:nvGrpSpPr>
          <p:grpSpPr>
            <a:xfrm>
              <a:off x="3143602" y="2902953"/>
              <a:ext cx="5798679" cy="1781690"/>
              <a:chOff x="3143602" y="2902953"/>
              <a:chExt cx="5798679" cy="1781690"/>
            </a:xfrm>
          </p:grpSpPr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16C436E5-EA61-4271-563E-73766E6A1FA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640878" y="3045395"/>
                <a:ext cx="334842" cy="1186120"/>
              </a:xfrm>
              <a:prstGeom prst="line">
                <a:avLst/>
              </a:prstGeom>
              <a:noFill/>
              <a:ln w="73025" cap="flat" cmpd="sng" algn="ctr">
                <a:solidFill>
                  <a:srgbClr val="F57F29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FCD718A6-F38C-4578-208E-896F7F2CA04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975720" y="3045395"/>
                <a:ext cx="413133" cy="916079"/>
              </a:xfrm>
              <a:prstGeom prst="line">
                <a:avLst/>
              </a:prstGeom>
              <a:noFill/>
              <a:ln w="73025" cap="flat" cmpd="sng" algn="ctr">
                <a:solidFill>
                  <a:srgbClr val="F57F29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23FD7BBC-5DDB-2AA6-4714-12107AB3E1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61152" y="3951861"/>
                <a:ext cx="3581129" cy="0"/>
              </a:xfrm>
              <a:prstGeom prst="line">
                <a:avLst/>
              </a:prstGeom>
              <a:noFill/>
              <a:ln w="73025" cap="flat" cmpd="sng" algn="ctr">
                <a:solidFill>
                  <a:srgbClr val="F57F29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85810E33-C408-BA40-74D3-E8AC1581B7C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972782" y="3909759"/>
                <a:ext cx="304360" cy="309156"/>
              </a:xfrm>
              <a:prstGeom prst="line">
                <a:avLst/>
              </a:prstGeom>
              <a:noFill/>
              <a:ln w="73025" cap="flat" cmpd="sng" algn="ctr">
                <a:solidFill>
                  <a:srgbClr val="00206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4" name="Straight Arrow Connector 33">
                <a:extLst>
                  <a:ext uri="{FF2B5EF4-FFF2-40B4-BE49-F238E27FC236}">
                    <a16:creationId xmlns:a16="http://schemas.microsoft.com/office/drawing/2014/main" id="{6F4B285C-DFCE-ABC7-E4AF-DA2C5744B3B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666733" y="4271490"/>
                <a:ext cx="0" cy="413153"/>
              </a:xfrm>
              <a:prstGeom prst="straightConnector1">
                <a:avLst/>
              </a:prstGeom>
              <a:noFill/>
              <a:ln w="57150" cap="flat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C5C45E9E-F523-D0D6-40B9-53254EF259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43602" y="4194986"/>
                <a:ext cx="1488354" cy="0"/>
              </a:xfrm>
              <a:prstGeom prst="line">
                <a:avLst/>
              </a:prstGeom>
              <a:noFill/>
              <a:ln w="73025" cap="flat" cmpd="sng" algn="ctr">
                <a:solidFill>
                  <a:srgbClr val="00B05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1" name="Straight Arrow Connector 20">
                <a:extLst>
                  <a:ext uri="{FF2B5EF4-FFF2-40B4-BE49-F238E27FC236}">
                    <a16:creationId xmlns:a16="http://schemas.microsoft.com/office/drawing/2014/main" id="{373E30E7-424E-0DCD-5928-D8D15CC2493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43602" y="2902953"/>
                <a:ext cx="0" cy="1200962"/>
              </a:xfrm>
              <a:prstGeom prst="straightConnector1">
                <a:avLst/>
              </a:prstGeom>
              <a:noFill/>
              <a:ln w="57150" cap="flat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headEnd type="triangle" w="med" len="med"/>
                <a:tailEnd type="none" w="med" len="med"/>
              </a:ln>
              <a:effectLst/>
            </p:spPr>
          </p:cxn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6F4D0EE4-8508-B183-AFB6-9F4F235786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49211" y="4205619"/>
                <a:ext cx="3693070" cy="0"/>
              </a:xfrm>
              <a:prstGeom prst="line">
                <a:avLst/>
              </a:prstGeom>
              <a:noFill/>
              <a:ln w="73025" cap="flat" cmpd="sng" algn="ctr">
                <a:solidFill>
                  <a:srgbClr val="002060"/>
                </a:solidFill>
                <a:prstDash val="solid"/>
                <a:miter lim="800000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461337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27F75352-2DAA-C0BC-3F61-4E78FE48D95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14354">
              <a:lnSpc>
                <a:spcPct val="85000"/>
              </a:lnSpc>
              <a:defRPr/>
            </a:pPr>
            <a:r>
              <a:rPr lang="en-US" b="1" dirty="0"/>
              <a:t>ART</a:t>
            </a:r>
            <a:r>
              <a:rPr lang="en-US" dirty="0"/>
              <a:t>, antiretroviral therapy; </a:t>
            </a:r>
            <a:r>
              <a:rPr lang="en-US" b="1" dirty="0"/>
              <a:t>bNAb</a:t>
            </a:r>
            <a:r>
              <a:rPr lang="en-US" dirty="0"/>
              <a:t>, broadly neutralizing antibody; </a:t>
            </a:r>
            <a:r>
              <a:rPr lang="en-US" b="1" dirty="0"/>
              <a:t>FRESH</a:t>
            </a:r>
            <a:r>
              <a:rPr lang="en-US" dirty="0"/>
              <a:t>, Females Rising through Education, Support, and Health; </a:t>
            </a:r>
            <a:r>
              <a:rPr lang="en-US" b="1" dirty="0"/>
              <a:t>PI</a:t>
            </a:r>
            <a:r>
              <a:rPr lang="en-US" dirty="0"/>
              <a:t>, principal investigator; </a:t>
            </a:r>
            <a:r>
              <a:rPr lang="en-US" b="1" dirty="0"/>
              <a:t>TLR7</a:t>
            </a:r>
            <a:r>
              <a:rPr lang="en-US" dirty="0"/>
              <a:t>, Toll-like receptor 7.</a:t>
            </a:r>
            <a:br>
              <a:rPr lang="en-US" dirty="0"/>
            </a:br>
            <a:r>
              <a:rPr lang="en-US" dirty="0"/>
              <a:t>NCT05281510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77D196-E90F-4762-855C-60A82AEBEF1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noFill/>
        </p:spPr>
        <p:txBody>
          <a:bodyPr vert="horz" lIns="0" tIns="0" rIns="0" bIns="0" rtlCol="0" anchor="ctr"/>
          <a:lstStyle/>
          <a:p>
            <a:fld id="{4BEAA09E-D67E-864E-8466-C38E88600C4F}" type="slidenum">
              <a:rPr lang="en-US"/>
              <a:pPr/>
              <a:t>5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91BA3F5-1FB5-4F1C-A1F7-5C68AA6D2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r>
              <a:rPr lang="en-US" sz="3200"/>
              <a:t>Single-Arm, Open-Label, Phase 2a Study</a:t>
            </a: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07C458C0-0045-4592-8D0D-9B935F75D2B6}"/>
              </a:ext>
            </a:extLst>
          </p:cNvPr>
          <p:cNvSpPr/>
          <p:nvPr/>
        </p:nvSpPr>
        <p:spPr bwMode="auto">
          <a:xfrm>
            <a:off x="6661003" y="2048038"/>
            <a:ext cx="28405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4532">
              <a:spcBef>
                <a:spcPct val="50000"/>
              </a:spcBef>
              <a:defRPr/>
            </a:pPr>
            <a:r>
              <a:rPr lang="en-US" altLang="en-US" sz="1400" b="1" kern="0">
                <a:solidFill>
                  <a:srgbClr val="FFFFFF"/>
                </a:solidFill>
                <a:ea typeface="MS PGothic" pitchFamily="34" charset="-128"/>
                <a:cs typeface="Arial" charset="0"/>
              </a:rPr>
              <a:t>6</a:t>
            </a:r>
          </a:p>
        </p:txBody>
      </p:sp>
      <p:grpSp>
        <p:nvGrpSpPr>
          <p:cNvPr id="181" name="Shape1_20221019_175024">
            <a:extLst>
              <a:ext uri="{FF2B5EF4-FFF2-40B4-BE49-F238E27FC236}">
                <a16:creationId xmlns:a16="http://schemas.microsoft.com/office/drawing/2014/main" id="{7360E11A-AF65-4B51-9C48-E37E1A302A6C}"/>
              </a:ext>
            </a:extLst>
          </p:cNvPr>
          <p:cNvGrpSpPr/>
          <p:nvPr/>
        </p:nvGrpSpPr>
        <p:grpSpPr>
          <a:xfrm rot="10800000" flipV="1">
            <a:off x="6437319" y="2043452"/>
            <a:ext cx="2613815" cy="68580"/>
            <a:chOff x="3229199" y="1524677"/>
            <a:chExt cx="4480560" cy="91440"/>
          </a:xfrm>
        </p:grpSpPr>
        <p:sp>
          <p:nvSpPr>
            <p:cNvPr id="182" name="Freeform 28">
              <a:extLst>
                <a:ext uri="{FF2B5EF4-FFF2-40B4-BE49-F238E27FC236}">
                  <a16:creationId xmlns:a16="http://schemas.microsoft.com/office/drawing/2014/main" id="{54FDE285-772E-47A7-AAA9-9B24F320C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919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3" name="Freeform 28">
              <a:extLst>
                <a:ext uri="{FF2B5EF4-FFF2-40B4-BE49-F238E27FC236}">
                  <a16:creationId xmlns:a16="http://schemas.microsoft.com/office/drawing/2014/main" id="{0929B831-7A05-4CD4-968F-50AE839E6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927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4" name="Freeform 28">
              <a:extLst>
                <a:ext uri="{FF2B5EF4-FFF2-40B4-BE49-F238E27FC236}">
                  <a16:creationId xmlns:a16="http://schemas.microsoft.com/office/drawing/2014/main" id="{D6D01537-7E20-47F5-B661-0DBEC7006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35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5" name="Freeform 28">
              <a:extLst>
                <a:ext uri="{FF2B5EF4-FFF2-40B4-BE49-F238E27FC236}">
                  <a16:creationId xmlns:a16="http://schemas.microsoft.com/office/drawing/2014/main" id="{1119F580-B357-4E67-B93C-DEC1F303F7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943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6" name="Freeform 28">
              <a:extLst>
                <a:ext uri="{FF2B5EF4-FFF2-40B4-BE49-F238E27FC236}">
                  <a16:creationId xmlns:a16="http://schemas.microsoft.com/office/drawing/2014/main" id="{B45FDD9C-9CDD-4C8B-A9C6-FAF5FB6AB7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51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7" name="Freeform 28">
              <a:extLst>
                <a:ext uri="{FF2B5EF4-FFF2-40B4-BE49-F238E27FC236}">
                  <a16:creationId xmlns:a16="http://schemas.microsoft.com/office/drawing/2014/main" id="{6D6898A8-7251-43EA-844F-B654709DF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59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8" name="Freeform 28">
              <a:extLst>
                <a:ext uri="{FF2B5EF4-FFF2-40B4-BE49-F238E27FC236}">
                  <a16:creationId xmlns:a16="http://schemas.microsoft.com/office/drawing/2014/main" id="{E82C8F6B-16E5-423D-8940-BA9542F248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967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</p:grpSp>
      <p:sp>
        <p:nvSpPr>
          <p:cNvPr id="192" name="Text Box 19">
            <a:extLst>
              <a:ext uri="{FF2B5EF4-FFF2-40B4-BE49-F238E27FC236}">
                <a16:creationId xmlns:a16="http://schemas.microsoft.com/office/drawing/2014/main" id="{0CA6898D-FF88-4F22-9DC5-A7ACB41D08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76156" y="1776127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6</a:t>
            </a:r>
          </a:p>
        </p:txBody>
      </p:sp>
      <p:sp>
        <p:nvSpPr>
          <p:cNvPr id="193" name="Text Box 23">
            <a:extLst>
              <a:ext uri="{FF2B5EF4-FFF2-40B4-BE49-F238E27FC236}">
                <a16:creationId xmlns:a16="http://schemas.microsoft.com/office/drawing/2014/main" id="{D7A8D20D-9763-4725-BC42-918119CE53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51267" y="1776127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8</a:t>
            </a:r>
          </a:p>
        </p:txBody>
      </p:sp>
      <p:sp>
        <p:nvSpPr>
          <p:cNvPr id="194" name="Text Box 19">
            <a:extLst>
              <a:ext uri="{FF2B5EF4-FFF2-40B4-BE49-F238E27FC236}">
                <a16:creationId xmlns:a16="http://schemas.microsoft.com/office/drawing/2014/main" id="{C83CBE4A-8424-48C0-A17C-BCAC7C85CF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20413" y="1776127"/>
            <a:ext cx="257289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12</a:t>
            </a:r>
          </a:p>
        </p:txBody>
      </p:sp>
      <p:sp>
        <p:nvSpPr>
          <p:cNvPr id="195" name="Text Box 23">
            <a:extLst>
              <a:ext uri="{FF2B5EF4-FFF2-40B4-BE49-F238E27FC236}">
                <a16:creationId xmlns:a16="http://schemas.microsoft.com/office/drawing/2014/main" id="{9A0B5711-27E7-4EB6-9D40-0BB69B9457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34051" y="1776127"/>
            <a:ext cx="282823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10</a:t>
            </a:r>
          </a:p>
        </p:txBody>
      </p:sp>
      <p:sp>
        <p:nvSpPr>
          <p:cNvPr id="196" name="Text Box 19">
            <a:extLst>
              <a:ext uri="{FF2B5EF4-FFF2-40B4-BE49-F238E27FC236}">
                <a16:creationId xmlns:a16="http://schemas.microsoft.com/office/drawing/2014/main" id="{836F195B-0511-402D-9280-77C6D277F3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08274" y="1756164"/>
            <a:ext cx="251224" cy="2245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 dirty="0">
                <a:latin typeface="+mn-lt"/>
                <a:ea typeface="MS PGothic" pitchFamily="34" charset="-128"/>
                <a:cs typeface="Arial" charset="0"/>
              </a:rPr>
              <a:t>14</a:t>
            </a:r>
          </a:p>
        </p:txBody>
      </p:sp>
      <p:sp>
        <p:nvSpPr>
          <p:cNvPr id="197" name="Text Box 23">
            <a:extLst>
              <a:ext uri="{FF2B5EF4-FFF2-40B4-BE49-F238E27FC236}">
                <a16:creationId xmlns:a16="http://schemas.microsoft.com/office/drawing/2014/main" id="{4EEF4553-769B-4494-9EC8-0BAD062DE9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70125" y="1749503"/>
            <a:ext cx="273011" cy="2379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 dirty="0">
                <a:latin typeface="+mn-lt"/>
                <a:ea typeface="MS PGothic" pitchFamily="34" charset="-128"/>
                <a:cs typeface="Arial" charset="0"/>
              </a:rPr>
              <a:t>16</a:t>
            </a:r>
          </a:p>
        </p:txBody>
      </p:sp>
      <p:sp>
        <p:nvSpPr>
          <p:cNvPr id="198" name="Text Box 19">
            <a:extLst>
              <a:ext uri="{FF2B5EF4-FFF2-40B4-BE49-F238E27FC236}">
                <a16:creationId xmlns:a16="http://schemas.microsoft.com/office/drawing/2014/main" id="{A90AEA5D-1679-4A51-B21E-4FEA614273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39044" y="1776127"/>
            <a:ext cx="276191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 dirty="0">
                <a:latin typeface="+mn-lt"/>
                <a:ea typeface="MS PGothic" pitchFamily="34" charset="-128"/>
                <a:cs typeface="Arial" charset="0"/>
              </a:rPr>
              <a:t>18</a:t>
            </a:r>
          </a:p>
        </p:txBody>
      </p:sp>
      <p:sp>
        <p:nvSpPr>
          <p:cNvPr id="199" name="Text Box 19">
            <a:extLst>
              <a:ext uri="{FF2B5EF4-FFF2-40B4-BE49-F238E27FC236}">
                <a16:creationId xmlns:a16="http://schemas.microsoft.com/office/drawing/2014/main" id="{5EE8BDD9-37AC-4F79-A8EE-EAA632B4DD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6616" y="1776127"/>
            <a:ext cx="236403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20</a:t>
            </a:r>
          </a:p>
        </p:txBody>
      </p:sp>
      <p:sp>
        <p:nvSpPr>
          <p:cNvPr id="3" name="Shape2_20221019_175024">
            <a:extLst>
              <a:ext uri="{FF2B5EF4-FFF2-40B4-BE49-F238E27FC236}">
                <a16:creationId xmlns:a16="http://schemas.microsoft.com/office/drawing/2014/main" id="{0DF69979-0F9F-AD6D-796B-AF264190553F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9316373" y="2040371"/>
            <a:ext cx="774767" cy="68580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grpSp>
        <p:nvGrpSpPr>
          <p:cNvPr id="5" name="Shape3_20221019_175024">
            <a:extLst>
              <a:ext uri="{FF2B5EF4-FFF2-40B4-BE49-F238E27FC236}">
                <a16:creationId xmlns:a16="http://schemas.microsoft.com/office/drawing/2014/main" id="{D2FC5079-94ED-B58F-6C4E-4E4C76AE11B2}"/>
              </a:ext>
            </a:extLst>
          </p:cNvPr>
          <p:cNvGrpSpPr/>
          <p:nvPr/>
        </p:nvGrpSpPr>
        <p:grpSpPr>
          <a:xfrm>
            <a:off x="9844164" y="2067645"/>
            <a:ext cx="96963" cy="64831"/>
            <a:chOff x="5307806" y="4907123"/>
            <a:chExt cx="134304" cy="8644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F98D54E4-A6F0-D057-A635-5F9E2CAFEBDF}"/>
                </a:ext>
              </a:extLst>
            </p:cNvPr>
            <p:cNvCxnSpPr/>
            <p:nvPr/>
          </p:nvCxnSpPr>
          <p:spPr>
            <a:xfrm flipV="1">
              <a:off x="5307806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539949B-47E5-75D9-6D45-50C08D1C3D44}"/>
                </a:ext>
              </a:extLst>
            </p:cNvPr>
            <p:cNvCxnSpPr/>
            <p:nvPr/>
          </p:nvCxnSpPr>
          <p:spPr>
            <a:xfrm flipV="1">
              <a:off x="5355670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 Box 19">
            <a:extLst>
              <a:ext uri="{FF2B5EF4-FFF2-40B4-BE49-F238E27FC236}">
                <a16:creationId xmlns:a16="http://schemas.microsoft.com/office/drawing/2014/main" id="{E914859C-DFA5-4B00-39BC-ECCEA76B5F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6473" y="1773509"/>
            <a:ext cx="317456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8</a:t>
            </a:r>
          </a:p>
        </p:txBody>
      </p:sp>
      <p:sp>
        <p:nvSpPr>
          <p:cNvPr id="11" name="Shape5_20221019_175024">
            <a:extLst>
              <a:ext uri="{FF2B5EF4-FFF2-40B4-BE49-F238E27FC236}">
                <a16:creationId xmlns:a16="http://schemas.microsoft.com/office/drawing/2014/main" id="{778BCEF6-55CE-B44F-E153-630DA81881B3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10367895" y="2040371"/>
            <a:ext cx="858544" cy="70479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sp>
        <p:nvSpPr>
          <p:cNvPr id="14" name="Text Box 19">
            <a:extLst>
              <a:ext uri="{FF2B5EF4-FFF2-40B4-BE49-F238E27FC236}">
                <a16:creationId xmlns:a16="http://schemas.microsoft.com/office/drawing/2014/main" id="{9B380EF2-B8D7-B31C-7212-830DEA4817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61347" y="1773509"/>
            <a:ext cx="273011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60</a:t>
            </a:r>
          </a:p>
        </p:txBody>
      </p:sp>
      <p:grpSp>
        <p:nvGrpSpPr>
          <p:cNvPr id="15" name="Shape7_20221019_175024">
            <a:extLst>
              <a:ext uri="{FF2B5EF4-FFF2-40B4-BE49-F238E27FC236}">
                <a16:creationId xmlns:a16="http://schemas.microsoft.com/office/drawing/2014/main" id="{DAA76E91-C2E6-A5FB-6510-C6FBCC88209D}"/>
              </a:ext>
            </a:extLst>
          </p:cNvPr>
          <p:cNvGrpSpPr/>
          <p:nvPr/>
        </p:nvGrpSpPr>
        <p:grpSpPr>
          <a:xfrm>
            <a:off x="10769865" y="2083245"/>
            <a:ext cx="96963" cy="64831"/>
            <a:chOff x="5307806" y="4907123"/>
            <a:chExt cx="134304" cy="86440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1D85886-57D3-4B46-CAE6-A4F801BC3134}"/>
                </a:ext>
              </a:extLst>
            </p:cNvPr>
            <p:cNvCxnSpPr/>
            <p:nvPr/>
          </p:nvCxnSpPr>
          <p:spPr>
            <a:xfrm flipV="1">
              <a:off x="5307806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B9BB3847-F3A6-7482-AC40-DC5DCE2EAB6F}"/>
                </a:ext>
              </a:extLst>
            </p:cNvPr>
            <p:cNvCxnSpPr/>
            <p:nvPr/>
          </p:nvCxnSpPr>
          <p:spPr>
            <a:xfrm flipV="1">
              <a:off x="5355670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 Box 19">
            <a:extLst>
              <a:ext uri="{FF2B5EF4-FFF2-40B4-BE49-F238E27FC236}">
                <a16:creationId xmlns:a16="http://schemas.microsoft.com/office/drawing/2014/main" id="{15BF180A-6EC1-10A4-FEB5-BC5A347E05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9025" y="1773509"/>
            <a:ext cx="335681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21</a:t>
            </a:r>
          </a:p>
        </p:txBody>
      </p:sp>
      <p:sp>
        <p:nvSpPr>
          <p:cNvPr id="19" name="Text Box 19">
            <a:extLst>
              <a:ext uri="{FF2B5EF4-FFF2-40B4-BE49-F238E27FC236}">
                <a16:creationId xmlns:a16="http://schemas.microsoft.com/office/drawing/2014/main" id="{B022FCED-F497-E539-A768-3F8F5A5D53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18124" y="1773509"/>
            <a:ext cx="278179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9</a:t>
            </a:r>
          </a:p>
        </p:txBody>
      </p:sp>
      <p:grpSp>
        <p:nvGrpSpPr>
          <p:cNvPr id="20" name="Shape9_20221019_175024">
            <a:extLst>
              <a:ext uri="{FF2B5EF4-FFF2-40B4-BE49-F238E27FC236}">
                <a16:creationId xmlns:a16="http://schemas.microsoft.com/office/drawing/2014/main" id="{F8D605B2-3281-3E3C-2DAD-55CD8C5FD7F2}"/>
              </a:ext>
            </a:extLst>
          </p:cNvPr>
          <p:cNvGrpSpPr/>
          <p:nvPr/>
        </p:nvGrpSpPr>
        <p:grpSpPr>
          <a:xfrm>
            <a:off x="9465177" y="2067645"/>
            <a:ext cx="96963" cy="64831"/>
            <a:chOff x="5307806" y="4907123"/>
            <a:chExt cx="134304" cy="86440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2DAA316-041E-E37E-671A-E77ADEF9EB4F}"/>
                </a:ext>
              </a:extLst>
            </p:cNvPr>
            <p:cNvCxnSpPr/>
            <p:nvPr/>
          </p:nvCxnSpPr>
          <p:spPr>
            <a:xfrm flipV="1">
              <a:off x="5307806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3E35F03-6DFA-D4C2-23C4-07782C55277B}"/>
                </a:ext>
              </a:extLst>
            </p:cNvPr>
            <p:cNvCxnSpPr/>
            <p:nvPr/>
          </p:nvCxnSpPr>
          <p:spPr>
            <a:xfrm flipV="1">
              <a:off x="5355670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 Box 19">
            <a:extLst>
              <a:ext uri="{FF2B5EF4-FFF2-40B4-BE49-F238E27FC236}">
                <a16:creationId xmlns:a16="http://schemas.microsoft.com/office/drawing/2014/main" id="{0FC0D1EC-CACD-1720-775D-FCE9418485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05401" y="1788193"/>
            <a:ext cx="378947" cy="1552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0</a:t>
            </a:r>
            <a:endParaRPr lang="en-US" altLang="en-US" sz="1400" kern="0" baseline="30000">
              <a:latin typeface="+mn-lt"/>
              <a:ea typeface="MS PGothic" pitchFamily="34" charset="-128"/>
              <a:cs typeface="Arial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F7DEBFC-017A-CD78-5109-BC415CC9318C}"/>
              </a:ext>
            </a:extLst>
          </p:cNvPr>
          <p:cNvCxnSpPr>
            <a:cxnSpLocks/>
          </p:cNvCxnSpPr>
          <p:nvPr/>
        </p:nvCxnSpPr>
        <p:spPr>
          <a:xfrm flipV="1">
            <a:off x="9694874" y="2045420"/>
            <a:ext cx="0" cy="63531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E8220F68-514E-9610-09A9-4E8C894B0C77}"/>
              </a:ext>
            </a:extLst>
          </p:cNvPr>
          <p:cNvSpPr>
            <a:spLocks/>
          </p:cNvSpPr>
          <p:nvPr/>
        </p:nvSpPr>
        <p:spPr bwMode="auto">
          <a:xfrm>
            <a:off x="2699083" y="2249061"/>
            <a:ext cx="1499616" cy="801695"/>
          </a:xfrm>
          <a:prstGeom prst="rect">
            <a:avLst/>
          </a:prstGeom>
          <a:solidFill>
            <a:srgbClr val="688C38">
              <a:alpha val="74902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0" tIns="60952" rIns="0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400" b="1" kern="0">
                <a:ea typeface="MS Mincho" pitchFamily="49" charset="-128"/>
                <a:cs typeface="Calibri" panose="020F0502020204030204" pitchFamily="34" charset="0"/>
              </a:rPr>
              <a:t>Screening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5AF29AD-A7A0-B9F3-889C-73109BE984F2}"/>
              </a:ext>
            </a:extLst>
          </p:cNvPr>
          <p:cNvGrpSpPr/>
          <p:nvPr/>
        </p:nvGrpSpPr>
        <p:grpSpPr>
          <a:xfrm>
            <a:off x="5744529" y="1242395"/>
            <a:ext cx="1137139" cy="1021405"/>
            <a:chOff x="5744529" y="1242395"/>
            <a:chExt cx="1137139" cy="1021405"/>
          </a:xfrm>
        </p:grpSpPr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5F5403F6-5110-6862-C779-D409D51F77B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89509" y="1544165"/>
              <a:ext cx="2655" cy="719635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9D7F6F3-CE55-2CCF-75AE-D4CD10BC56FD}"/>
                </a:ext>
              </a:extLst>
            </p:cNvPr>
            <p:cNvSpPr txBox="1"/>
            <p:nvPr/>
          </p:nvSpPr>
          <p:spPr>
            <a:xfrm>
              <a:off x="5744529" y="1242395"/>
              <a:ext cx="1137139" cy="27082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r>
                <a:rPr lang="en-US" sz="1600" b="1" dirty="0">
                  <a:solidFill>
                    <a:schemeClr val="accent1"/>
                  </a:solidFill>
                </a:rPr>
                <a:t>ART stop</a:t>
              </a: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FD3FDA18-2205-BCD6-5F5E-728834A24F10}"/>
              </a:ext>
            </a:extLst>
          </p:cNvPr>
          <p:cNvSpPr>
            <a:spLocks/>
          </p:cNvSpPr>
          <p:nvPr/>
        </p:nvSpPr>
        <p:spPr bwMode="auto">
          <a:xfrm>
            <a:off x="7127" y="4390369"/>
            <a:ext cx="12186061" cy="800219"/>
          </a:xfrm>
          <a:prstGeom prst="rect">
            <a:avLst/>
          </a:prstGeom>
          <a:solidFill>
            <a:srgbClr val="203661"/>
          </a:solidFill>
          <a:ln w="25400" cap="flat" cmpd="sng" algn="ctr">
            <a:solidFill>
              <a:srgbClr val="203661"/>
            </a:solidFill>
            <a:prstDash val="solid"/>
          </a:ln>
          <a:effectLst/>
        </p:spPr>
        <p:txBody>
          <a:bodyPr wrap="square" lIns="182880" tIns="91440" rIns="182880" bIns="91440" anchor="ctr">
            <a:spAutoFit/>
          </a:bodyPr>
          <a:lstStyle/>
          <a:p>
            <a:pPr marL="0" marR="0" lvl="0" indent="0" algn="ctr" defTabSz="121914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itchFamily="34" charset="0"/>
              </a:rPr>
              <a:t>Objective: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itchFamily="34" charset="0"/>
              </a:rPr>
              <a:t> Evaluate the safety, tolerability, and efficacy of VRC07-523LS + CAP256V2LS (bNAbs) </a:t>
            </a:r>
            <a:b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itchFamily="34" charset="0"/>
              </a:rPr>
            </a:b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itchFamily="34" charset="0"/>
              </a:rPr>
              <a:t>and vesatolimod</a:t>
            </a:r>
            <a:r>
              <a:rPr lang="en-US" sz="2000" b="1" kern="0" dirty="0">
                <a:solidFill>
                  <a:srgbClr val="FFFFFF"/>
                </a:solidFill>
                <a:latin typeface="+mj-lt"/>
                <a:cs typeface="Arial" pitchFamily="34" charset="0"/>
              </a:rPr>
              <a:t> 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itchFamily="34" charset="0"/>
              </a:rPr>
              <a:t>(VES; TLR7 agonist) during ATI</a:t>
            </a: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48E57096-02F5-D2E3-4305-DD0131A17C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923" y="921426"/>
            <a:ext cx="2405794" cy="2346796"/>
          </a:xfrm>
          <a:prstGeom prst="rect">
            <a:avLst/>
          </a:prstGeom>
          <a:solidFill>
            <a:srgbClr val="DDDDEA"/>
          </a:solidFill>
          <a:ln>
            <a:noFill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spAutoFit/>
          </a:bodyPr>
          <a:lstStyle/>
          <a:p>
            <a:pPr marL="91438" fontAlgn="base">
              <a:spcAft>
                <a:spcPts val="600"/>
              </a:spcAft>
              <a:buSzPct val="100000"/>
            </a:pPr>
            <a:r>
              <a:rPr lang="en-US" sz="1600" b="1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Inclusion criteria</a:t>
            </a:r>
          </a:p>
          <a:p>
            <a:pPr marL="228600" indent="-228600" fontAlgn="base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Females from FRESH cohort</a:t>
            </a:r>
            <a:endParaRPr lang="en-US" altLang="en-US" sz="1400" dirty="0">
              <a:solidFill>
                <a:srgbClr val="203662"/>
              </a:solidFill>
              <a:latin typeface="+mj-lt"/>
              <a:ea typeface="Roboto"/>
              <a:cs typeface="Arial" charset="0"/>
            </a:endParaRPr>
          </a:p>
          <a:p>
            <a:pPr marL="228600" indent="-228600" fontAlgn="base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Virally suppressed on ART &gt; 12 months</a:t>
            </a:r>
          </a:p>
          <a:p>
            <a:pPr marL="228600" indent="-228600" fontAlgn="base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Sensitive to at least 1 of the 2 bNAbs</a:t>
            </a:r>
          </a:p>
          <a:p>
            <a:pPr marL="228600" indent="-228600" fontAlgn="base"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CD4+ T-cell count </a:t>
            </a:r>
            <a:b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</a:b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≥ 500 cells/</a:t>
            </a:r>
            <a:r>
              <a:rPr lang="el-GR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μ</a:t>
            </a: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L</a:t>
            </a:r>
            <a:endParaRPr lang="en-US" altLang="en-US" sz="1400" dirty="0">
              <a:solidFill>
                <a:srgbClr val="203662"/>
              </a:solidFill>
              <a:latin typeface="+mj-lt"/>
              <a:ea typeface="Roboto"/>
              <a:cs typeface="Arial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22605F-7296-D5F5-06E7-DDAF52C9970E}"/>
              </a:ext>
            </a:extLst>
          </p:cNvPr>
          <p:cNvSpPr txBox="1"/>
          <p:nvPr/>
        </p:nvSpPr>
        <p:spPr>
          <a:xfrm>
            <a:off x="495867" y="5440032"/>
            <a:ext cx="113399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/>
              <a:t>Results from a concurrent </a:t>
            </a:r>
            <a:r>
              <a:rPr lang="en-US" i="1" dirty="0" err="1"/>
              <a:t>sociobehavioral</a:t>
            </a:r>
            <a:r>
              <a:rPr lang="en-US" i="1" dirty="0"/>
              <a:t> study exploring site staff and participant experiences in the trial </a:t>
            </a:r>
            <a:br>
              <a:rPr lang="en-US" i="1" dirty="0"/>
            </a:br>
            <a:r>
              <a:rPr lang="en-US" i="1" dirty="0"/>
              <a:t>are expected in 2025. (PIs: Krista Dong and Karine Dubé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427FD4D-6036-E1A2-ACF8-82C6EDE951BA}"/>
              </a:ext>
            </a:extLst>
          </p:cNvPr>
          <p:cNvSpPr txBox="1"/>
          <p:nvPr/>
        </p:nvSpPr>
        <p:spPr>
          <a:xfrm>
            <a:off x="2689561" y="1851285"/>
            <a:ext cx="1498600" cy="26161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GB" sz="1400"/>
              <a:t>≤ 35 days</a:t>
            </a:r>
          </a:p>
        </p:txBody>
      </p:sp>
      <p:sp>
        <p:nvSpPr>
          <p:cNvPr id="25" name="Shape10_20221019_175024">
            <a:extLst>
              <a:ext uri="{FF2B5EF4-FFF2-40B4-BE49-F238E27FC236}">
                <a16:creationId xmlns:a16="http://schemas.microsoft.com/office/drawing/2014/main" id="{592A36D2-0727-2B40-BD7A-5CFD2313823C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2697450" y="2094125"/>
            <a:ext cx="1492929" cy="57855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sp>
        <p:nvSpPr>
          <p:cNvPr id="29" name="Text Box 19">
            <a:extLst>
              <a:ext uri="{FF2B5EF4-FFF2-40B4-BE49-F238E27FC236}">
                <a16:creationId xmlns:a16="http://schemas.microsoft.com/office/drawing/2014/main" id="{7D07EB39-F573-D1F1-40EA-73770A66B7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3075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2</a:t>
            </a:r>
          </a:p>
        </p:txBody>
      </p:sp>
      <p:sp>
        <p:nvSpPr>
          <p:cNvPr id="225" name="Shape4_20221019_175024">
            <a:extLst>
              <a:ext uri="{FF2B5EF4-FFF2-40B4-BE49-F238E27FC236}">
                <a16:creationId xmlns:a16="http://schemas.microsoft.com/office/drawing/2014/main" id="{48F95CF0-4FA7-B8E2-1102-74F52B05765E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5723184" y="2038234"/>
            <a:ext cx="373403" cy="76200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sp>
        <p:nvSpPr>
          <p:cNvPr id="226" name="Shape0_20221019_175024">
            <a:extLst>
              <a:ext uri="{FF2B5EF4-FFF2-40B4-BE49-F238E27FC236}">
                <a16:creationId xmlns:a16="http://schemas.microsoft.com/office/drawing/2014/main" id="{9D0A4DFD-E642-3716-151D-49A6C1438D86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5349783" y="2038234"/>
            <a:ext cx="373403" cy="76200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sp>
        <p:nvSpPr>
          <p:cNvPr id="228" name="Text Box 19">
            <a:extLst>
              <a:ext uri="{FF2B5EF4-FFF2-40B4-BE49-F238E27FC236}">
                <a16:creationId xmlns:a16="http://schemas.microsoft.com/office/drawing/2014/main" id="{72F26792-5486-6522-5790-F583179D04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83102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0</a:t>
            </a:r>
          </a:p>
        </p:txBody>
      </p:sp>
      <p:sp>
        <p:nvSpPr>
          <p:cNvPr id="229" name="Text Box 23">
            <a:extLst>
              <a:ext uri="{FF2B5EF4-FFF2-40B4-BE49-F238E27FC236}">
                <a16:creationId xmlns:a16="http://schemas.microsoft.com/office/drawing/2014/main" id="{80D19B38-9A1F-36A2-4B95-D178F1B09D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795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</a:t>
            </a:r>
          </a:p>
        </p:txBody>
      </p:sp>
      <p:sp>
        <p:nvSpPr>
          <p:cNvPr id="230" name="Text Box 23">
            <a:extLst>
              <a:ext uri="{FF2B5EF4-FFF2-40B4-BE49-F238E27FC236}">
                <a16:creationId xmlns:a16="http://schemas.microsoft.com/office/drawing/2014/main" id="{7CAA00F7-C76C-88B8-A198-20B54050AC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7812" y="1442137"/>
            <a:ext cx="69638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b="1" kern="0">
                <a:latin typeface="+mn-lt"/>
                <a:ea typeface="MS PGothic" pitchFamily="34" charset="-128"/>
                <a:cs typeface="Arial" charset="0"/>
              </a:rPr>
              <a:t>Week</a:t>
            </a:r>
          </a:p>
        </p:txBody>
      </p:sp>
      <p:cxnSp>
        <p:nvCxnSpPr>
          <p:cNvPr id="231" name="Straight Connector 8">
            <a:extLst>
              <a:ext uri="{FF2B5EF4-FFF2-40B4-BE49-F238E27FC236}">
                <a16:creationId xmlns:a16="http://schemas.microsoft.com/office/drawing/2014/main" id="{A39CDD2E-B23A-E426-CA73-825DCC19E936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4190100" y="2646991"/>
            <a:ext cx="7077456" cy="2226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9134410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3D2EDA-9C12-6F0E-DFEF-FD1211F3C0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6F930E00-9983-ED11-47F4-4998034F1A2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14354">
              <a:lnSpc>
                <a:spcPct val="85000"/>
              </a:lnSpc>
              <a:defRPr/>
            </a:pPr>
            <a:r>
              <a:rPr lang="en-US" baseline="30000" dirty="0" err="1"/>
              <a:t>a</a:t>
            </a:r>
            <a:r>
              <a:rPr lang="en-US" dirty="0" err="1"/>
              <a:t>If</a:t>
            </a:r>
            <a:r>
              <a:rPr lang="en-US" dirty="0"/>
              <a:t> VES is well tolerated at 6 mg, participants can be dosed at 8 mg from the third dose onward with close monitoring.</a:t>
            </a:r>
          </a:p>
          <a:p>
            <a:pPr defTabSz="914354">
              <a:lnSpc>
                <a:spcPct val="85000"/>
              </a:lnSpc>
              <a:defRPr/>
            </a:pPr>
            <a:r>
              <a:rPr lang="en-US" b="1" dirty="0"/>
              <a:t>ART</a:t>
            </a:r>
            <a:r>
              <a:rPr lang="en-US" dirty="0"/>
              <a:t>, antiretroviral therapy; </a:t>
            </a:r>
            <a:r>
              <a:rPr lang="en-US" b="1" dirty="0"/>
              <a:t>ATI</a:t>
            </a:r>
            <a:r>
              <a:rPr lang="en-US" dirty="0"/>
              <a:t>, analytical treatment interruption; </a:t>
            </a:r>
            <a:r>
              <a:rPr lang="en-US" b="1" dirty="0"/>
              <a:t>bNAb</a:t>
            </a:r>
            <a:r>
              <a:rPr lang="en-US" dirty="0"/>
              <a:t>, broadly neutralizing antibody; </a:t>
            </a:r>
            <a:r>
              <a:rPr lang="en-US" b="1" dirty="0"/>
              <a:t>FRESH</a:t>
            </a:r>
            <a:r>
              <a:rPr lang="en-US" dirty="0"/>
              <a:t>, Females Rising through Education, Support, and Health; </a:t>
            </a:r>
            <a:r>
              <a:rPr lang="en-US" b="1" dirty="0"/>
              <a:t>VES</a:t>
            </a:r>
            <a:r>
              <a:rPr lang="en-US" dirty="0"/>
              <a:t>, vesatolimod.</a:t>
            </a:r>
            <a:br>
              <a:rPr lang="en-US" dirty="0"/>
            </a:br>
            <a:r>
              <a:rPr lang="en-US" dirty="0"/>
              <a:t>NCT05281510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7B0A33-5DCC-7C16-0722-C62F3EC45F0F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noFill/>
        </p:spPr>
        <p:txBody>
          <a:bodyPr vert="horz" lIns="0" tIns="0" rIns="0" bIns="0" rtlCol="0" anchor="ctr"/>
          <a:lstStyle/>
          <a:p>
            <a:fld id="{4BEAA09E-D67E-864E-8466-C38E88600C4F}" type="slidenum">
              <a:rPr lang="en-US"/>
              <a:pPr/>
              <a:t>6</a:t>
            </a:fld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F00030E-F86E-9734-29D5-3AF17A434B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r>
              <a:rPr lang="en-US" sz="3200"/>
              <a:t>Single-Arm, Open-Label, Phase 2a Study</a:t>
            </a:r>
            <a:endParaRPr lang="en-US" sz="3200">
              <a:solidFill>
                <a:schemeClr val="tx1"/>
              </a:solidFill>
            </a:endParaRPr>
          </a:p>
        </p:txBody>
      </p:sp>
      <p:cxnSp>
        <p:nvCxnSpPr>
          <p:cNvPr id="240" name="Straight Connector 8">
            <a:extLst>
              <a:ext uri="{FF2B5EF4-FFF2-40B4-BE49-F238E27FC236}">
                <a16:creationId xmlns:a16="http://schemas.microsoft.com/office/drawing/2014/main" id="{40E42A16-A06C-1BA9-420A-0E7867E70905}"/>
              </a:ext>
            </a:extLst>
          </p:cNvPr>
          <p:cNvCxnSpPr>
            <a:cxnSpLocks noChangeShapeType="1"/>
            <a:endCxn id="177" idx="1"/>
          </p:cNvCxnSpPr>
          <p:nvPr/>
        </p:nvCxnSpPr>
        <p:spPr bwMode="auto">
          <a:xfrm flipV="1">
            <a:off x="4190100" y="2646991"/>
            <a:ext cx="1005742" cy="2226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9" name="Straight Connector 8">
            <a:extLst>
              <a:ext uri="{FF2B5EF4-FFF2-40B4-BE49-F238E27FC236}">
                <a16:creationId xmlns:a16="http://schemas.microsoft.com/office/drawing/2014/main" id="{CA487CE8-072C-56E8-DB94-06E8DC5219BB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9051467" y="2654489"/>
            <a:ext cx="255099" cy="2152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6" name="Straight Connector 8">
            <a:extLst>
              <a:ext uri="{FF2B5EF4-FFF2-40B4-BE49-F238E27FC236}">
                <a16:creationId xmlns:a16="http://schemas.microsoft.com/office/drawing/2014/main" id="{3803A94D-4AA1-5D18-F51F-3E8A180E647F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6224990" y="2655441"/>
            <a:ext cx="153607" cy="248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5" name="Rectangle 254">
            <a:extLst>
              <a:ext uri="{FF2B5EF4-FFF2-40B4-BE49-F238E27FC236}">
                <a16:creationId xmlns:a16="http://schemas.microsoft.com/office/drawing/2014/main" id="{F0A5A7CE-6B02-891A-E442-D1D2075F21DC}"/>
              </a:ext>
            </a:extLst>
          </p:cNvPr>
          <p:cNvSpPr/>
          <p:nvPr/>
        </p:nvSpPr>
        <p:spPr bwMode="auto">
          <a:xfrm>
            <a:off x="6661338" y="2045420"/>
            <a:ext cx="28405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4532">
              <a:spcBef>
                <a:spcPct val="50000"/>
              </a:spcBef>
              <a:defRPr/>
            </a:pPr>
            <a:r>
              <a:rPr lang="en-US" altLang="en-US" sz="1400" b="1" kern="0">
                <a:solidFill>
                  <a:srgbClr val="FFFFFF"/>
                </a:solidFill>
                <a:ea typeface="MS PGothic" pitchFamily="34" charset="-128"/>
                <a:cs typeface="Arial" charset="0"/>
              </a:rPr>
              <a:t>6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46769C4-9786-ABD9-0E1D-E0CD84008664}"/>
              </a:ext>
            </a:extLst>
          </p:cNvPr>
          <p:cNvSpPr/>
          <p:nvPr/>
        </p:nvSpPr>
        <p:spPr bwMode="auto">
          <a:xfrm>
            <a:off x="4310431" y="2249061"/>
            <a:ext cx="885411" cy="399959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lIns="91440" tIns="60885" rIns="91440" bIns="60885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400" b="1" kern="0">
                <a:solidFill>
                  <a:srgbClr val="FFFFFF"/>
                </a:solidFill>
                <a:ea typeface="MS Mincho" pitchFamily="49" charset="-128"/>
                <a:cs typeface="Calibri" panose="020F0502020204030204" pitchFamily="34" charset="0"/>
              </a:rPr>
              <a:t>VES</a:t>
            </a:r>
          </a:p>
        </p:txBody>
      </p:sp>
      <p:cxnSp>
        <p:nvCxnSpPr>
          <p:cNvPr id="174" name="Straight Connector 8">
            <a:extLst>
              <a:ext uri="{FF2B5EF4-FFF2-40B4-BE49-F238E27FC236}">
                <a16:creationId xmlns:a16="http://schemas.microsoft.com/office/drawing/2014/main" id="{3C7C236E-FDBD-C346-D7A2-E729DBE8A765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0091140" y="2653883"/>
            <a:ext cx="266667" cy="336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5" name="Rectangle 174">
            <a:extLst>
              <a:ext uri="{FF2B5EF4-FFF2-40B4-BE49-F238E27FC236}">
                <a16:creationId xmlns:a16="http://schemas.microsoft.com/office/drawing/2014/main" id="{C0341DE2-8A0A-ED82-FD68-357FE763A5A9}"/>
              </a:ext>
            </a:extLst>
          </p:cNvPr>
          <p:cNvSpPr/>
          <p:nvPr/>
        </p:nvSpPr>
        <p:spPr bwMode="auto">
          <a:xfrm>
            <a:off x="6363353" y="2250455"/>
            <a:ext cx="2698433" cy="803475"/>
          </a:xfrm>
          <a:prstGeom prst="rect">
            <a:avLst/>
          </a:prstGeom>
          <a:solidFill>
            <a:srgbClr val="55A2A8"/>
          </a:solidFill>
          <a:ln w="9525" cap="flat" cmpd="sng" algn="ctr">
            <a:noFill/>
            <a:prstDash val="solid"/>
          </a:ln>
          <a:effectLst/>
        </p:spPr>
        <p:txBody>
          <a:bodyPr lIns="0" tIns="60952" rIns="0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endParaRPr lang="en-US" sz="1400" b="1" kern="0" dirty="0">
              <a:solidFill>
                <a:srgbClr val="FFFFFF"/>
              </a:solidFill>
              <a:ea typeface="MS Mincho" pitchFamily="49" charset="-128"/>
              <a:cs typeface="Calibri" panose="020F0502020204030204" pitchFamily="34" charset="0"/>
            </a:endParaRPr>
          </a:p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600" b="1" kern="0" dirty="0">
                <a:ea typeface="MS Mincho" pitchFamily="49" charset="-128"/>
                <a:cs typeface="Calibri" panose="020F0502020204030204" pitchFamily="34" charset="0"/>
              </a:rPr>
              <a:t> ATI + VES/bNAb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1CE7E17B-3FD4-C8DD-A7FE-C2A44C72A83A}"/>
              </a:ext>
            </a:extLst>
          </p:cNvPr>
          <p:cNvSpPr/>
          <p:nvPr/>
        </p:nvSpPr>
        <p:spPr bwMode="auto">
          <a:xfrm>
            <a:off x="5195842" y="2247282"/>
            <a:ext cx="1029148" cy="799417"/>
          </a:xfrm>
          <a:prstGeom prst="rect">
            <a:avLst/>
          </a:prstGeom>
          <a:solidFill>
            <a:srgbClr val="D1E6E8">
              <a:alpha val="70196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121904" tIns="60952" rIns="121904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SzPct val="120000"/>
              <a:defRPr/>
            </a:pPr>
            <a:endParaRPr lang="en-US" sz="1400" b="1" kern="0">
              <a:solidFill>
                <a:srgbClr val="54565B"/>
              </a:solidFill>
              <a:ea typeface="MS Mincho" pitchFamily="49" charset="-128"/>
              <a:cs typeface="Calibri" panose="020F0502020204030204" pitchFamily="34" charset="0"/>
            </a:endParaRPr>
          </a:p>
        </p:txBody>
      </p:sp>
      <p:sp>
        <p:nvSpPr>
          <p:cNvPr id="178" name="Isosceles Triangle 1">
            <a:extLst>
              <a:ext uri="{FF2B5EF4-FFF2-40B4-BE49-F238E27FC236}">
                <a16:creationId xmlns:a16="http://schemas.microsoft.com/office/drawing/2014/main" id="{735916C1-1C75-BAE5-C9EA-6AB52398A10E}"/>
              </a:ext>
            </a:extLst>
          </p:cNvPr>
          <p:cNvSpPr>
            <a:spLocks/>
          </p:cNvSpPr>
          <p:nvPr/>
        </p:nvSpPr>
        <p:spPr>
          <a:xfrm>
            <a:off x="5264284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371A28B7-252A-7B7E-C655-3E8D0F9F9131}"/>
              </a:ext>
            </a:extLst>
          </p:cNvPr>
          <p:cNvSpPr/>
          <p:nvPr/>
        </p:nvSpPr>
        <p:spPr bwMode="auto">
          <a:xfrm>
            <a:off x="9306566" y="2247033"/>
            <a:ext cx="784575" cy="799667"/>
          </a:xfrm>
          <a:prstGeom prst="rect">
            <a:avLst/>
          </a:prstGeom>
          <a:solidFill>
            <a:srgbClr val="55A2A8"/>
          </a:solidFill>
          <a:ln w="9525" cap="flat" cmpd="sng" algn="ctr">
            <a:noFill/>
            <a:prstDash val="solid"/>
          </a:ln>
          <a:effectLst/>
        </p:spPr>
        <p:txBody>
          <a:bodyPr lIns="0" tIns="60952" rIns="0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600" b="1" kern="0" dirty="0">
                <a:ea typeface="MS Mincho" pitchFamily="49" charset="-128"/>
                <a:cs typeface="Calibri" panose="020F0502020204030204" pitchFamily="34" charset="0"/>
              </a:rPr>
              <a:t>ATI</a:t>
            </a:r>
            <a:endParaRPr lang="en-US" sz="1400" b="1" kern="0" dirty="0">
              <a:ea typeface="MS Mincho" pitchFamily="49" charset="-128"/>
              <a:cs typeface="Calibri" panose="020F0502020204030204" pitchFamily="34" charset="0"/>
            </a:endParaRPr>
          </a:p>
        </p:txBody>
      </p:sp>
      <p:grpSp>
        <p:nvGrpSpPr>
          <p:cNvPr id="181" name="Shape1_20221019_175024">
            <a:extLst>
              <a:ext uri="{FF2B5EF4-FFF2-40B4-BE49-F238E27FC236}">
                <a16:creationId xmlns:a16="http://schemas.microsoft.com/office/drawing/2014/main" id="{F1BC747D-4957-38C0-4435-38BE490CCCC7}"/>
              </a:ext>
            </a:extLst>
          </p:cNvPr>
          <p:cNvGrpSpPr/>
          <p:nvPr/>
        </p:nvGrpSpPr>
        <p:grpSpPr>
          <a:xfrm rot="10800000" flipV="1">
            <a:off x="6437654" y="2040835"/>
            <a:ext cx="2613815" cy="68580"/>
            <a:chOff x="3229199" y="1524677"/>
            <a:chExt cx="4480560" cy="91440"/>
          </a:xfrm>
        </p:grpSpPr>
        <p:sp>
          <p:nvSpPr>
            <p:cNvPr id="182" name="Freeform 28">
              <a:extLst>
                <a:ext uri="{FF2B5EF4-FFF2-40B4-BE49-F238E27FC236}">
                  <a16:creationId xmlns:a16="http://schemas.microsoft.com/office/drawing/2014/main" id="{2B51C704-111B-35D5-C77D-F4F8B33CC7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919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3" name="Freeform 28">
              <a:extLst>
                <a:ext uri="{FF2B5EF4-FFF2-40B4-BE49-F238E27FC236}">
                  <a16:creationId xmlns:a16="http://schemas.microsoft.com/office/drawing/2014/main" id="{9AA90212-4231-E925-171D-86F871C54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927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4" name="Freeform 28">
              <a:extLst>
                <a:ext uri="{FF2B5EF4-FFF2-40B4-BE49-F238E27FC236}">
                  <a16:creationId xmlns:a16="http://schemas.microsoft.com/office/drawing/2014/main" id="{5945E5DF-16B2-4858-3EEA-6F353FB76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35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5" name="Freeform 28">
              <a:extLst>
                <a:ext uri="{FF2B5EF4-FFF2-40B4-BE49-F238E27FC236}">
                  <a16:creationId xmlns:a16="http://schemas.microsoft.com/office/drawing/2014/main" id="{22DA0AC7-31B9-C916-FFF1-C5F49EF38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943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6" name="Freeform 28">
              <a:extLst>
                <a:ext uri="{FF2B5EF4-FFF2-40B4-BE49-F238E27FC236}">
                  <a16:creationId xmlns:a16="http://schemas.microsoft.com/office/drawing/2014/main" id="{C93CE0F8-B574-85BD-7E5B-51DA8B9CF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51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7" name="Freeform 28">
              <a:extLst>
                <a:ext uri="{FF2B5EF4-FFF2-40B4-BE49-F238E27FC236}">
                  <a16:creationId xmlns:a16="http://schemas.microsoft.com/office/drawing/2014/main" id="{7FF6C725-1B16-B9CA-E043-792CF22E93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59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8" name="Freeform 28">
              <a:extLst>
                <a:ext uri="{FF2B5EF4-FFF2-40B4-BE49-F238E27FC236}">
                  <a16:creationId xmlns:a16="http://schemas.microsoft.com/office/drawing/2014/main" id="{782D88F6-81F9-74CB-4AA3-215642AEB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967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</p:grpSp>
      <p:sp>
        <p:nvSpPr>
          <p:cNvPr id="190" name="Text Box 19">
            <a:extLst>
              <a:ext uri="{FF2B5EF4-FFF2-40B4-BE49-F238E27FC236}">
                <a16:creationId xmlns:a16="http://schemas.microsoft.com/office/drawing/2014/main" id="{3C6DECCF-1734-2E87-7E1E-F033F20B1D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3075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2</a:t>
            </a:r>
          </a:p>
        </p:txBody>
      </p:sp>
      <p:sp>
        <p:nvSpPr>
          <p:cNvPr id="192" name="Text Box 19">
            <a:extLst>
              <a:ext uri="{FF2B5EF4-FFF2-40B4-BE49-F238E27FC236}">
                <a16:creationId xmlns:a16="http://schemas.microsoft.com/office/drawing/2014/main" id="{ACADE63E-D6D7-6F7C-4D6B-E12CA0E75F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76491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6</a:t>
            </a:r>
          </a:p>
        </p:txBody>
      </p:sp>
      <p:sp>
        <p:nvSpPr>
          <p:cNvPr id="193" name="Text Box 23">
            <a:extLst>
              <a:ext uri="{FF2B5EF4-FFF2-40B4-BE49-F238E27FC236}">
                <a16:creationId xmlns:a16="http://schemas.microsoft.com/office/drawing/2014/main" id="{9CF7D5D2-CB03-10EC-AE8A-97F548C012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51602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8</a:t>
            </a:r>
          </a:p>
        </p:txBody>
      </p:sp>
      <p:sp>
        <p:nvSpPr>
          <p:cNvPr id="194" name="Text Box 19">
            <a:extLst>
              <a:ext uri="{FF2B5EF4-FFF2-40B4-BE49-F238E27FC236}">
                <a16:creationId xmlns:a16="http://schemas.microsoft.com/office/drawing/2014/main" id="{C56DBEFF-4084-815E-6F76-C8426157B7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20749" y="1773509"/>
            <a:ext cx="257289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12</a:t>
            </a:r>
          </a:p>
        </p:txBody>
      </p:sp>
      <p:sp>
        <p:nvSpPr>
          <p:cNvPr id="195" name="Text Box 23">
            <a:extLst>
              <a:ext uri="{FF2B5EF4-FFF2-40B4-BE49-F238E27FC236}">
                <a16:creationId xmlns:a16="http://schemas.microsoft.com/office/drawing/2014/main" id="{252C9964-4860-B701-5221-FDF7070738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34386" y="1773509"/>
            <a:ext cx="282823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10</a:t>
            </a:r>
          </a:p>
        </p:txBody>
      </p:sp>
      <p:sp>
        <p:nvSpPr>
          <p:cNvPr id="196" name="Text Box 19">
            <a:extLst>
              <a:ext uri="{FF2B5EF4-FFF2-40B4-BE49-F238E27FC236}">
                <a16:creationId xmlns:a16="http://schemas.microsoft.com/office/drawing/2014/main" id="{0823FC7D-5E46-07F6-9E0F-4F6F443D7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08611" y="1753546"/>
            <a:ext cx="251224" cy="2245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 dirty="0">
                <a:latin typeface="+mn-lt"/>
                <a:ea typeface="MS PGothic" pitchFamily="34" charset="-128"/>
                <a:cs typeface="Arial" charset="0"/>
              </a:rPr>
              <a:t>14</a:t>
            </a:r>
          </a:p>
        </p:txBody>
      </p:sp>
      <p:sp>
        <p:nvSpPr>
          <p:cNvPr id="197" name="Text Box 23">
            <a:extLst>
              <a:ext uri="{FF2B5EF4-FFF2-40B4-BE49-F238E27FC236}">
                <a16:creationId xmlns:a16="http://schemas.microsoft.com/office/drawing/2014/main" id="{EFCB014E-94C3-7608-ABF8-CAFCBDDF4F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72843" y="1746884"/>
            <a:ext cx="273011" cy="2379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 dirty="0">
                <a:latin typeface="+mn-lt"/>
                <a:ea typeface="MS PGothic" pitchFamily="34" charset="-128"/>
                <a:cs typeface="Arial" charset="0"/>
              </a:rPr>
              <a:t>16</a:t>
            </a:r>
          </a:p>
        </p:txBody>
      </p:sp>
      <p:sp>
        <p:nvSpPr>
          <p:cNvPr id="199" name="Text Box 19">
            <a:extLst>
              <a:ext uri="{FF2B5EF4-FFF2-40B4-BE49-F238E27FC236}">
                <a16:creationId xmlns:a16="http://schemas.microsoft.com/office/drawing/2014/main" id="{25491EF2-7CB8-A565-901E-8208364DC8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6951" y="1773509"/>
            <a:ext cx="236403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20</a:t>
            </a:r>
          </a:p>
        </p:txBody>
      </p:sp>
      <p:sp>
        <p:nvSpPr>
          <p:cNvPr id="200" name="Shape2_20221019_175024">
            <a:extLst>
              <a:ext uri="{FF2B5EF4-FFF2-40B4-BE49-F238E27FC236}">
                <a16:creationId xmlns:a16="http://schemas.microsoft.com/office/drawing/2014/main" id="{5AEA8926-39EB-2137-0298-A23E479DE3AB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9316373" y="2040371"/>
            <a:ext cx="774767" cy="68580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grpSp>
        <p:nvGrpSpPr>
          <p:cNvPr id="201" name="Shape3_20221019_175024">
            <a:extLst>
              <a:ext uri="{FF2B5EF4-FFF2-40B4-BE49-F238E27FC236}">
                <a16:creationId xmlns:a16="http://schemas.microsoft.com/office/drawing/2014/main" id="{18904DA9-89A4-21B4-8BE5-32CB4CF4F7F5}"/>
              </a:ext>
            </a:extLst>
          </p:cNvPr>
          <p:cNvGrpSpPr/>
          <p:nvPr/>
        </p:nvGrpSpPr>
        <p:grpSpPr>
          <a:xfrm>
            <a:off x="9844164" y="2067645"/>
            <a:ext cx="96963" cy="64831"/>
            <a:chOff x="5307806" y="4907123"/>
            <a:chExt cx="134304" cy="86440"/>
          </a:xfrm>
        </p:grpSpPr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4FC08985-0D8C-CE64-D1E1-DC9D8D80C611}"/>
                </a:ext>
              </a:extLst>
            </p:cNvPr>
            <p:cNvCxnSpPr/>
            <p:nvPr/>
          </p:nvCxnSpPr>
          <p:spPr>
            <a:xfrm flipV="1">
              <a:off x="5307806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483F091D-29C4-7260-6F6D-F84C85B99AD9}"/>
                </a:ext>
              </a:extLst>
            </p:cNvPr>
            <p:cNvCxnSpPr/>
            <p:nvPr/>
          </p:nvCxnSpPr>
          <p:spPr>
            <a:xfrm flipV="1">
              <a:off x="5355670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4" name="Shape4_20221019_175024">
            <a:extLst>
              <a:ext uri="{FF2B5EF4-FFF2-40B4-BE49-F238E27FC236}">
                <a16:creationId xmlns:a16="http://schemas.microsoft.com/office/drawing/2014/main" id="{08EF1C28-2DBA-CA66-9668-F43D5A1E3EDF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5723184" y="2038234"/>
            <a:ext cx="373403" cy="76200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sp>
        <p:nvSpPr>
          <p:cNvPr id="205" name="Shape0_20221019_175024">
            <a:extLst>
              <a:ext uri="{FF2B5EF4-FFF2-40B4-BE49-F238E27FC236}">
                <a16:creationId xmlns:a16="http://schemas.microsoft.com/office/drawing/2014/main" id="{CC32C34A-F91F-04EF-E942-5EDD8EE7DB94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5349783" y="2038234"/>
            <a:ext cx="373403" cy="76200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sp>
        <p:nvSpPr>
          <p:cNvPr id="206" name="Text Box 19">
            <a:extLst>
              <a:ext uri="{FF2B5EF4-FFF2-40B4-BE49-F238E27FC236}">
                <a16:creationId xmlns:a16="http://schemas.microsoft.com/office/drawing/2014/main" id="{93635AB2-A18F-0DBB-EA36-E84BE43481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6473" y="1773509"/>
            <a:ext cx="317456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8</a:t>
            </a:r>
          </a:p>
        </p:txBody>
      </p:sp>
      <p:sp>
        <p:nvSpPr>
          <p:cNvPr id="207" name="Shape5_20221019_175024">
            <a:extLst>
              <a:ext uri="{FF2B5EF4-FFF2-40B4-BE49-F238E27FC236}">
                <a16:creationId xmlns:a16="http://schemas.microsoft.com/office/drawing/2014/main" id="{1528DB0D-94BF-E091-A5D3-BB122FB729FC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10367895" y="2040371"/>
            <a:ext cx="858544" cy="70479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sp>
        <p:nvSpPr>
          <p:cNvPr id="208" name="Text Box 19">
            <a:extLst>
              <a:ext uri="{FF2B5EF4-FFF2-40B4-BE49-F238E27FC236}">
                <a16:creationId xmlns:a16="http://schemas.microsoft.com/office/drawing/2014/main" id="{6A1A6EAD-5C2E-EFF2-30E2-79345C6AD2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61347" y="1773509"/>
            <a:ext cx="273011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60</a:t>
            </a:r>
          </a:p>
        </p:txBody>
      </p:sp>
      <p:grpSp>
        <p:nvGrpSpPr>
          <p:cNvPr id="211" name="Shape7_20221019_175024">
            <a:extLst>
              <a:ext uri="{FF2B5EF4-FFF2-40B4-BE49-F238E27FC236}">
                <a16:creationId xmlns:a16="http://schemas.microsoft.com/office/drawing/2014/main" id="{8B7F3C4A-C88E-DAC7-D589-2A0A989C17BC}"/>
              </a:ext>
            </a:extLst>
          </p:cNvPr>
          <p:cNvGrpSpPr/>
          <p:nvPr/>
        </p:nvGrpSpPr>
        <p:grpSpPr>
          <a:xfrm>
            <a:off x="10769865" y="2083245"/>
            <a:ext cx="96963" cy="64831"/>
            <a:chOff x="5307806" y="4907123"/>
            <a:chExt cx="134304" cy="86440"/>
          </a:xfrm>
        </p:grpSpPr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7E0EDC62-6D0B-BD92-DF21-07F8B22145FE}"/>
                </a:ext>
              </a:extLst>
            </p:cNvPr>
            <p:cNvCxnSpPr/>
            <p:nvPr/>
          </p:nvCxnSpPr>
          <p:spPr>
            <a:xfrm flipV="1">
              <a:off x="5307806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AEE35127-0D0A-0A79-B3E3-6BA1E01B5B13}"/>
                </a:ext>
              </a:extLst>
            </p:cNvPr>
            <p:cNvCxnSpPr/>
            <p:nvPr/>
          </p:nvCxnSpPr>
          <p:spPr>
            <a:xfrm flipV="1">
              <a:off x="5355670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4" name="Text Box 19">
            <a:extLst>
              <a:ext uri="{FF2B5EF4-FFF2-40B4-BE49-F238E27FC236}">
                <a16:creationId xmlns:a16="http://schemas.microsoft.com/office/drawing/2014/main" id="{7E1B6838-9AE5-B905-EF26-F911A267E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83102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0</a:t>
            </a:r>
          </a:p>
        </p:txBody>
      </p:sp>
      <p:sp>
        <p:nvSpPr>
          <p:cNvPr id="215" name="Text Box 23">
            <a:extLst>
              <a:ext uri="{FF2B5EF4-FFF2-40B4-BE49-F238E27FC236}">
                <a16:creationId xmlns:a16="http://schemas.microsoft.com/office/drawing/2014/main" id="{C40704C3-3021-7703-237D-B1DE48BEBB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795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</a:t>
            </a:r>
          </a:p>
        </p:txBody>
      </p:sp>
      <p:sp>
        <p:nvSpPr>
          <p:cNvPr id="217" name="Isosceles Triangle 1">
            <a:extLst>
              <a:ext uri="{FF2B5EF4-FFF2-40B4-BE49-F238E27FC236}">
                <a16:creationId xmlns:a16="http://schemas.microsoft.com/office/drawing/2014/main" id="{DCC4125C-CE76-109D-0DAF-0629A778C254}"/>
              </a:ext>
            </a:extLst>
          </p:cNvPr>
          <p:cNvSpPr>
            <a:spLocks/>
          </p:cNvSpPr>
          <p:nvPr/>
        </p:nvSpPr>
        <p:spPr>
          <a:xfrm>
            <a:off x="5656507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18" name="Isosceles Triangle 1">
            <a:extLst>
              <a:ext uri="{FF2B5EF4-FFF2-40B4-BE49-F238E27FC236}">
                <a16:creationId xmlns:a16="http://schemas.microsoft.com/office/drawing/2014/main" id="{680CC325-B526-B3A9-59F9-9BA8B5A84596}"/>
              </a:ext>
            </a:extLst>
          </p:cNvPr>
          <p:cNvSpPr>
            <a:spLocks noChangeAspect="1"/>
          </p:cNvSpPr>
          <p:nvPr/>
        </p:nvSpPr>
        <p:spPr>
          <a:xfrm>
            <a:off x="6009683" y="2373833"/>
            <a:ext cx="158440" cy="164592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19" name="Isosceles Triangle 1">
            <a:extLst>
              <a:ext uri="{FF2B5EF4-FFF2-40B4-BE49-F238E27FC236}">
                <a16:creationId xmlns:a16="http://schemas.microsoft.com/office/drawing/2014/main" id="{17FB4603-9265-B998-715D-01FF98904CEB}"/>
              </a:ext>
            </a:extLst>
          </p:cNvPr>
          <p:cNvSpPr>
            <a:spLocks/>
          </p:cNvSpPr>
          <p:nvPr/>
        </p:nvSpPr>
        <p:spPr>
          <a:xfrm>
            <a:off x="6363354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0" name="Isosceles Triangle 1">
            <a:extLst>
              <a:ext uri="{FF2B5EF4-FFF2-40B4-BE49-F238E27FC236}">
                <a16:creationId xmlns:a16="http://schemas.microsoft.com/office/drawing/2014/main" id="{8D08B38E-4D5F-4AE2-B4DD-15A6E4382F16}"/>
              </a:ext>
            </a:extLst>
          </p:cNvPr>
          <p:cNvSpPr>
            <a:spLocks/>
          </p:cNvSpPr>
          <p:nvPr/>
        </p:nvSpPr>
        <p:spPr>
          <a:xfrm>
            <a:off x="6743287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1" name="Isosceles Triangle 1">
            <a:extLst>
              <a:ext uri="{FF2B5EF4-FFF2-40B4-BE49-F238E27FC236}">
                <a16:creationId xmlns:a16="http://schemas.microsoft.com/office/drawing/2014/main" id="{D5F6DC95-2ECC-B062-EECD-381C7277095B}"/>
              </a:ext>
            </a:extLst>
          </p:cNvPr>
          <p:cNvSpPr>
            <a:spLocks/>
          </p:cNvSpPr>
          <p:nvPr/>
        </p:nvSpPr>
        <p:spPr>
          <a:xfrm>
            <a:off x="7135508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2" name="Isosceles Triangle 1">
            <a:extLst>
              <a:ext uri="{FF2B5EF4-FFF2-40B4-BE49-F238E27FC236}">
                <a16:creationId xmlns:a16="http://schemas.microsoft.com/office/drawing/2014/main" id="{885D69AA-2666-B46A-1E02-7062687BAE23}"/>
              </a:ext>
            </a:extLst>
          </p:cNvPr>
          <p:cNvSpPr>
            <a:spLocks/>
          </p:cNvSpPr>
          <p:nvPr/>
        </p:nvSpPr>
        <p:spPr>
          <a:xfrm>
            <a:off x="7500636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3" name="Isosceles Triangle 1">
            <a:extLst>
              <a:ext uri="{FF2B5EF4-FFF2-40B4-BE49-F238E27FC236}">
                <a16:creationId xmlns:a16="http://schemas.microsoft.com/office/drawing/2014/main" id="{6A7AFDF9-AE6F-07AF-2C1A-DD8E427DBBFF}"/>
              </a:ext>
            </a:extLst>
          </p:cNvPr>
          <p:cNvSpPr>
            <a:spLocks/>
          </p:cNvSpPr>
          <p:nvPr/>
        </p:nvSpPr>
        <p:spPr>
          <a:xfrm>
            <a:off x="7853808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4" name="Isosceles Triangle 1">
            <a:extLst>
              <a:ext uri="{FF2B5EF4-FFF2-40B4-BE49-F238E27FC236}">
                <a16:creationId xmlns:a16="http://schemas.microsoft.com/office/drawing/2014/main" id="{6FCDA45E-405E-2E3C-E851-E2B436BDCF92}"/>
              </a:ext>
            </a:extLst>
          </p:cNvPr>
          <p:cNvSpPr>
            <a:spLocks/>
          </p:cNvSpPr>
          <p:nvPr/>
        </p:nvSpPr>
        <p:spPr>
          <a:xfrm>
            <a:off x="8233399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5" name="Isosceles Triangle 1">
            <a:extLst>
              <a:ext uri="{FF2B5EF4-FFF2-40B4-BE49-F238E27FC236}">
                <a16:creationId xmlns:a16="http://schemas.microsoft.com/office/drawing/2014/main" id="{3453BE2E-EBB6-DD2A-07F4-C1BB942B7612}"/>
              </a:ext>
            </a:extLst>
          </p:cNvPr>
          <p:cNvSpPr>
            <a:spLocks/>
          </p:cNvSpPr>
          <p:nvPr/>
        </p:nvSpPr>
        <p:spPr>
          <a:xfrm>
            <a:off x="8586572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6" name="Text Box 19">
            <a:extLst>
              <a:ext uri="{FF2B5EF4-FFF2-40B4-BE49-F238E27FC236}">
                <a16:creationId xmlns:a16="http://schemas.microsoft.com/office/drawing/2014/main" id="{C8597B41-CF64-41B2-5A0C-236857020C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9025" y="1773509"/>
            <a:ext cx="335681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21</a:t>
            </a:r>
          </a:p>
        </p:txBody>
      </p:sp>
      <p:sp>
        <p:nvSpPr>
          <p:cNvPr id="227" name="Text Box 23">
            <a:extLst>
              <a:ext uri="{FF2B5EF4-FFF2-40B4-BE49-F238E27FC236}">
                <a16:creationId xmlns:a16="http://schemas.microsoft.com/office/drawing/2014/main" id="{4B365C0E-84ED-B0FE-61AA-B4290F7385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7812" y="1442137"/>
            <a:ext cx="69638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b="1" kern="0">
                <a:latin typeface="+mn-lt"/>
                <a:ea typeface="MS PGothic" pitchFamily="34" charset="-128"/>
                <a:cs typeface="Arial" charset="0"/>
              </a:rPr>
              <a:t>Week</a:t>
            </a:r>
          </a:p>
        </p:txBody>
      </p:sp>
      <p:sp>
        <p:nvSpPr>
          <p:cNvPr id="228" name="Text Box 19">
            <a:extLst>
              <a:ext uri="{FF2B5EF4-FFF2-40B4-BE49-F238E27FC236}">
                <a16:creationId xmlns:a16="http://schemas.microsoft.com/office/drawing/2014/main" id="{F5EDF7A2-58B2-9B42-EC11-ADF2C1C91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18124" y="1773509"/>
            <a:ext cx="278179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9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EB62488F-3A4B-5824-D1CB-58F565CA6D59}"/>
              </a:ext>
            </a:extLst>
          </p:cNvPr>
          <p:cNvSpPr/>
          <p:nvPr/>
        </p:nvSpPr>
        <p:spPr bwMode="auto">
          <a:xfrm>
            <a:off x="10357809" y="2240300"/>
            <a:ext cx="868631" cy="806401"/>
          </a:xfrm>
          <a:prstGeom prst="rect">
            <a:avLst/>
          </a:prstGeom>
          <a:solidFill>
            <a:srgbClr val="396C70"/>
          </a:solidFill>
          <a:ln w="9525" cap="flat" cmpd="sng" algn="ctr">
            <a:noFill/>
            <a:prstDash val="solid"/>
          </a:ln>
          <a:effectLst/>
        </p:spPr>
        <p:txBody>
          <a:bodyPr lIns="0" tIns="60952" rIns="0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600" b="1" kern="0">
                <a:solidFill>
                  <a:srgbClr val="FFFFFF"/>
                </a:solidFill>
                <a:ea typeface="MS Mincho" pitchFamily="49" charset="-128"/>
                <a:cs typeface="Calibri" panose="020F0502020204030204" pitchFamily="34" charset="0"/>
              </a:rPr>
              <a:t>Optional ATI</a:t>
            </a:r>
          </a:p>
        </p:txBody>
      </p:sp>
      <p:grpSp>
        <p:nvGrpSpPr>
          <p:cNvPr id="232" name="Shape9_20221019_175024">
            <a:extLst>
              <a:ext uri="{FF2B5EF4-FFF2-40B4-BE49-F238E27FC236}">
                <a16:creationId xmlns:a16="http://schemas.microsoft.com/office/drawing/2014/main" id="{E3CED70B-F87F-5E77-4910-03FDC4EC64EC}"/>
              </a:ext>
            </a:extLst>
          </p:cNvPr>
          <p:cNvGrpSpPr/>
          <p:nvPr/>
        </p:nvGrpSpPr>
        <p:grpSpPr>
          <a:xfrm>
            <a:off x="9465177" y="2067645"/>
            <a:ext cx="96963" cy="64831"/>
            <a:chOff x="5307806" y="4907123"/>
            <a:chExt cx="134304" cy="86440"/>
          </a:xfrm>
        </p:grpSpPr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9C866C88-A84F-5004-FF91-FC678F0800EC}"/>
                </a:ext>
              </a:extLst>
            </p:cNvPr>
            <p:cNvCxnSpPr/>
            <p:nvPr/>
          </p:nvCxnSpPr>
          <p:spPr>
            <a:xfrm flipV="1">
              <a:off x="5307806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3C28C552-3B59-74C3-1346-9ED2A9D4CC0D}"/>
                </a:ext>
              </a:extLst>
            </p:cNvPr>
            <p:cNvCxnSpPr/>
            <p:nvPr/>
          </p:nvCxnSpPr>
          <p:spPr>
            <a:xfrm flipV="1">
              <a:off x="5355670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5" name="Text Box 19">
            <a:extLst>
              <a:ext uri="{FF2B5EF4-FFF2-40B4-BE49-F238E27FC236}">
                <a16:creationId xmlns:a16="http://schemas.microsoft.com/office/drawing/2014/main" id="{4603FAEE-5F54-F1FA-C98F-614BDA0ADC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05401" y="1788193"/>
            <a:ext cx="378947" cy="1552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0</a:t>
            </a:r>
            <a:endParaRPr lang="en-US" altLang="en-US" sz="1400" kern="0" baseline="30000">
              <a:latin typeface="+mn-lt"/>
              <a:ea typeface="MS PGothic" pitchFamily="34" charset="-128"/>
              <a:cs typeface="Arial" charset="0"/>
            </a:endParaRP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FF2622BB-1716-F29D-2A9B-4C09C5F952D2}"/>
              </a:ext>
            </a:extLst>
          </p:cNvPr>
          <p:cNvSpPr txBox="1"/>
          <p:nvPr/>
        </p:nvSpPr>
        <p:spPr>
          <a:xfrm>
            <a:off x="7284662" y="3062072"/>
            <a:ext cx="762599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GB" sz="1400" b="1" dirty="0"/>
              <a:t>Period 2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9D756453-062C-8BD3-629A-41139266FC49}"/>
              </a:ext>
            </a:extLst>
          </p:cNvPr>
          <p:cNvSpPr txBox="1"/>
          <p:nvPr/>
        </p:nvSpPr>
        <p:spPr>
          <a:xfrm>
            <a:off x="9322193" y="3062072"/>
            <a:ext cx="762599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GB" sz="1400" b="1" dirty="0"/>
              <a:t>Period 3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8A1E46A3-F994-0014-050E-5A22044769C9}"/>
              </a:ext>
            </a:extLst>
          </p:cNvPr>
          <p:cNvSpPr txBox="1"/>
          <p:nvPr/>
        </p:nvSpPr>
        <p:spPr>
          <a:xfrm>
            <a:off x="10410824" y="3062072"/>
            <a:ext cx="762599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GB" sz="1400" b="1" dirty="0"/>
              <a:t>Period 4</a:t>
            </a: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69E8CBAF-79C6-6613-6DF1-EC5A8FF7A072}"/>
              </a:ext>
            </a:extLst>
          </p:cNvPr>
          <p:cNvSpPr>
            <a:spLocks/>
          </p:cNvSpPr>
          <p:nvPr/>
        </p:nvSpPr>
        <p:spPr bwMode="auto">
          <a:xfrm>
            <a:off x="2699083" y="2249061"/>
            <a:ext cx="1499616" cy="801695"/>
          </a:xfrm>
          <a:prstGeom prst="rect">
            <a:avLst/>
          </a:prstGeom>
          <a:solidFill>
            <a:srgbClr val="688C38">
              <a:alpha val="74902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0" tIns="60952" rIns="0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400" b="1" kern="0">
                <a:ea typeface="MS Mincho" pitchFamily="49" charset="-128"/>
                <a:cs typeface="Calibri" panose="020F0502020204030204" pitchFamily="34" charset="0"/>
              </a:rPr>
              <a:t>Screening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CB35A875-7045-BBCA-6CB2-A9D7FFB92FFF}"/>
              </a:ext>
            </a:extLst>
          </p:cNvPr>
          <p:cNvSpPr txBox="1"/>
          <p:nvPr/>
        </p:nvSpPr>
        <p:spPr>
          <a:xfrm>
            <a:off x="2689561" y="1851285"/>
            <a:ext cx="1498600" cy="26161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GB" sz="1400"/>
              <a:t>≤ 35 days</a:t>
            </a:r>
          </a:p>
        </p:txBody>
      </p:sp>
      <p:sp>
        <p:nvSpPr>
          <p:cNvPr id="245" name="Shape10_20221019_175024">
            <a:extLst>
              <a:ext uri="{FF2B5EF4-FFF2-40B4-BE49-F238E27FC236}">
                <a16:creationId xmlns:a16="http://schemas.microsoft.com/office/drawing/2014/main" id="{5A7C694D-14DD-CD9F-BE45-11EDB6CA8B5F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2697450" y="2094125"/>
            <a:ext cx="1492929" cy="57855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69BAAF8-0715-24A9-068C-AEC3A9B87CB6}"/>
              </a:ext>
            </a:extLst>
          </p:cNvPr>
          <p:cNvGrpSpPr/>
          <p:nvPr/>
        </p:nvGrpSpPr>
        <p:grpSpPr>
          <a:xfrm>
            <a:off x="528656" y="3409769"/>
            <a:ext cx="1145180" cy="305708"/>
            <a:chOff x="1617725" y="2801293"/>
            <a:chExt cx="858885" cy="229281"/>
          </a:xfrm>
        </p:grpSpPr>
        <p:sp>
          <p:nvSpPr>
            <p:cNvPr id="21" name="Isosceles Triangle 1">
              <a:extLst>
                <a:ext uri="{FF2B5EF4-FFF2-40B4-BE49-F238E27FC236}">
                  <a16:creationId xmlns:a16="http://schemas.microsoft.com/office/drawing/2014/main" id="{937FF5B5-A624-C825-838B-31E4FAC82400}"/>
                </a:ext>
              </a:extLst>
            </p:cNvPr>
            <p:cNvSpPr>
              <a:spLocks/>
            </p:cNvSpPr>
            <p:nvPr/>
          </p:nvSpPr>
          <p:spPr>
            <a:xfrm>
              <a:off x="1617725" y="2836587"/>
              <a:ext cx="132034" cy="137160"/>
            </a:xfrm>
            <a:prstGeom prst="triangl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169">
                <a:defRPr/>
              </a:pPr>
              <a:endParaRPr lang="en-US" sz="1400" kern="0">
                <a:solidFill>
                  <a:srgbClr val="54565B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F1836F9D-346F-0CF8-7FE3-0A7CB156670C}"/>
                </a:ext>
              </a:extLst>
            </p:cNvPr>
            <p:cNvSpPr txBox="1"/>
            <p:nvPr/>
          </p:nvSpPr>
          <p:spPr>
            <a:xfrm>
              <a:off x="1806027" y="2801293"/>
              <a:ext cx="670583" cy="22928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defRPr/>
              </a:pPr>
              <a:r>
                <a:rPr lang="en-US" sz="1400">
                  <a:cs typeface="Arial" panose="020B0604020202020204" pitchFamily="34" charset="0"/>
                </a:rPr>
                <a:t>VES (oral)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9C61950-B917-A120-8A04-57385EE464FF}"/>
              </a:ext>
            </a:extLst>
          </p:cNvPr>
          <p:cNvGrpSpPr/>
          <p:nvPr/>
        </p:nvGrpSpPr>
        <p:grpSpPr>
          <a:xfrm>
            <a:off x="1795264" y="3427830"/>
            <a:ext cx="4114621" cy="269585"/>
            <a:chOff x="768486" y="3169475"/>
            <a:chExt cx="3085966" cy="202189"/>
          </a:xfrm>
        </p:grpSpPr>
        <p:sp>
          <p:nvSpPr>
            <p:cNvPr id="19" name="Isosceles Triangle 1">
              <a:extLst>
                <a:ext uri="{FF2B5EF4-FFF2-40B4-BE49-F238E27FC236}">
                  <a16:creationId xmlns:a16="http://schemas.microsoft.com/office/drawing/2014/main" id="{43FDCBA7-269F-38CD-8379-CAA3D7E8B4E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8486" y="3211738"/>
              <a:ext cx="106948" cy="111100"/>
            </a:xfrm>
            <a:prstGeom prst="triangle">
              <a:avLst/>
            </a:prstGeom>
            <a:solidFill>
              <a:schemeClr val="accent2"/>
            </a:solidFill>
            <a:ln w="25400" cap="flat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169">
                <a:defRPr/>
              </a:pPr>
              <a:endParaRPr lang="en-US" sz="1400" kern="0">
                <a:solidFill>
                  <a:srgbClr val="54565B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ED93044-774A-C280-3599-67F64A8E6469}"/>
                </a:ext>
              </a:extLst>
            </p:cNvPr>
            <p:cNvSpPr txBox="1"/>
            <p:nvPr/>
          </p:nvSpPr>
          <p:spPr>
            <a:xfrm>
              <a:off x="974091" y="3169475"/>
              <a:ext cx="2880361" cy="20218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defRPr/>
              </a:pPr>
              <a:r>
                <a:rPr lang="en-US" sz="1400">
                  <a:cs typeface="Arial" panose="020B0604020202020204" pitchFamily="34" charset="0"/>
                </a:rPr>
                <a:t>Possible VES dose </a:t>
              </a:r>
              <a:r>
                <a:rPr lang="en-US" sz="1400" err="1">
                  <a:cs typeface="Arial" panose="020B0604020202020204" pitchFamily="34" charset="0"/>
                </a:rPr>
                <a:t>escalation</a:t>
              </a:r>
              <a:r>
                <a:rPr lang="en-US" sz="1400" baseline="30000" err="1">
                  <a:cs typeface="Arial" panose="020B0604020202020204" pitchFamily="34" charset="0"/>
                </a:rPr>
                <a:t>a</a:t>
              </a:r>
              <a:r>
                <a:rPr lang="en-US" sz="1400">
                  <a:cs typeface="Arial" panose="020B0604020202020204" pitchFamily="34" charset="0"/>
                </a:rPr>
                <a:t> from 6 to 8 mg </a:t>
              </a:r>
            </a:p>
          </p:txBody>
        </p: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E772A4-80C5-80BB-B5D9-35112F5A678C}"/>
              </a:ext>
            </a:extLst>
          </p:cNvPr>
          <p:cNvCxnSpPr/>
          <p:nvPr/>
        </p:nvCxnSpPr>
        <p:spPr>
          <a:xfrm>
            <a:off x="528656" y="3378826"/>
            <a:ext cx="11168796" cy="0"/>
          </a:xfrm>
          <a:prstGeom prst="line">
            <a:avLst/>
          </a:prstGeom>
          <a:ln>
            <a:solidFill>
              <a:srgbClr val="5456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B96E7C7-629B-C2A0-7453-6D133677B70B}"/>
              </a:ext>
            </a:extLst>
          </p:cNvPr>
          <p:cNvCxnSpPr>
            <a:cxnSpLocks/>
          </p:cNvCxnSpPr>
          <p:nvPr/>
        </p:nvCxnSpPr>
        <p:spPr>
          <a:xfrm flipV="1">
            <a:off x="9694874" y="2045420"/>
            <a:ext cx="0" cy="63531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1EC38A2E-D5EB-AF37-3E99-721CDF488C1A}"/>
              </a:ext>
            </a:extLst>
          </p:cNvPr>
          <p:cNvGrpSpPr/>
          <p:nvPr/>
        </p:nvGrpSpPr>
        <p:grpSpPr>
          <a:xfrm>
            <a:off x="5744529" y="1242395"/>
            <a:ext cx="1137139" cy="1021405"/>
            <a:chOff x="5744529" y="1242395"/>
            <a:chExt cx="1137139" cy="1021405"/>
          </a:xfrm>
        </p:grpSpPr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D6CEE192-6B04-1F34-A0B0-FEF0143332C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89509" y="1544165"/>
              <a:ext cx="2655" cy="719635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DE120F4-C45F-5D06-7920-B4C4D1811125}"/>
                </a:ext>
              </a:extLst>
            </p:cNvPr>
            <p:cNvSpPr txBox="1"/>
            <p:nvPr/>
          </p:nvSpPr>
          <p:spPr>
            <a:xfrm>
              <a:off x="5744529" y="1242395"/>
              <a:ext cx="1137139" cy="27082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r>
                <a:rPr lang="en-US" sz="1600" b="1" dirty="0">
                  <a:solidFill>
                    <a:schemeClr val="accent1"/>
                  </a:solidFill>
                </a:rPr>
                <a:t>ART stop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FF75AC0-2763-0C0F-2F3A-706D97874A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923" y="921426"/>
            <a:ext cx="2405794" cy="2346796"/>
          </a:xfrm>
          <a:prstGeom prst="rect">
            <a:avLst/>
          </a:prstGeom>
          <a:solidFill>
            <a:srgbClr val="DDDDEA"/>
          </a:solidFill>
          <a:ln>
            <a:noFill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spAutoFit/>
          </a:bodyPr>
          <a:lstStyle/>
          <a:p>
            <a:pPr marL="91438" fontAlgn="base">
              <a:spcAft>
                <a:spcPts val="600"/>
              </a:spcAft>
              <a:buSzPct val="100000"/>
            </a:pPr>
            <a:r>
              <a:rPr lang="en-US" sz="1600" b="1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Inclusion criteria</a:t>
            </a:r>
          </a:p>
          <a:p>
            <a:pPr marL="228600" indent="-228600" fontAlgn="base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Females from FRESH cohort</a:t>
            </a:r>
            <a:endParaRPr lang="en-US" altLang="en-US" sz="1400" dirty="0">
              <a:solidFill>
                <a:srgbClr val="203662"/>
              </a:solidFill>
              <a:latin typeface="+mj-lt"/>
              <a:ea typeface="Roboto"/>
              <a:cs typeface="Arial" charset="0"/>
            </a:endParaRPr>
          </a:p>
          <a:p>
            <a:pPr marL="228600" indent="-228600" fontAlgn="base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Virally suppressed on ART &gt; 12 months</a:t>
            </a:r>
          </a:p>
          <a:p>
            <a:pPr marL="228600" indent="-228600" fontAlgn="base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Sensitive to at least 1 of the 2 bNAbs</a:t>
            </a:r>
          </a:p>
          <a:p>
            <a:pPr marL="228600" indent="-228600" fontAlgn="base"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CD4+ T-cell count </a:t>
            </a:r>
            <a:b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</a:b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≥ 500 cells/</a:t>
            </a:r>
            <a:r>
              <a:rPr lang="el-GR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μ</a:t>
            </a: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L</a:t>
            </a:r>
            <a:endParaRPr lang="en-US" altLang="en-US" sz="1400" dirty="0">
              <a:solidFill>
                <a:srgbClr val="203662"/>
              </a:solidFill>
              <a:latin typeface="+mj-lt"/>
              <a:ea typeface="Roboto"/>
              <a:cs typeface="Arial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C3946D5-F90C-1F80-F47B-60F879DC17E8}"/>
              </a:ext>
            </a:extLst>
          </p:cNvPr>
          <p:cNvSpPr txBox="1"/>
          <p:nvPr/>
        </p:nvSpPr>
        <p:spPr>
          <a:xfrm>
            <a:off x="5363229" y="3062072"/>
            <a:ext cx="762599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GB" sz="1400" b="1" dirty="0"/>
              <a:t>Period 1</a:t>
            </a:r>
          </a:p>
        </p:txBody>
      </p:sp>
      <p:sp>
        <p:nvSpPr>
          <p:cNvPr id="6" name="Text Box 23">
            <a:extLst>
              <a:ext uri="{FF2B5EF4-FFF2-40B4-BE49-F238E27FC236}">
                <a16:creationId xmlns:a16="http://schemas.microsoft.com/office/drawing/2014/main" id="{09295EE4-014F-712D-317D-C0620984ED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41936" y="1746884"/>
            <a:ext cx="273011" cy="2379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 dirty="0">
                <a:latin typeface="+mn-lt"/>
                <a:ea typeface="MS PGothic" pitchFamily="34" charset="-128"/>
                <a:cs typeface="Arial" charset="0"/>
              </a:rPr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42272746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3D2EDA-9C12-6F0E-DFEF-FD1211F3C0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6F930E00-9983-ED11-47F4-4998034F1A2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14354">
              <a:lnSpc>
                <a:spcPct val="85000"/>
              </a:lnSpc>
              <a:defRPr/>
            </a:pPr>
            <a:r>
              <a:rPr lang="en-US" baseline="30000" dirty="0" err="1"/>
              <a:t>a</a:t>
            </a:r>
            <a:r>
              <a:rPr lang="en-US" dirty="0" err="1"/>
              <a:t>If</a:t>
            </a:r>
            <a:r>
              <a:rPr lang="en-US" dirty="0"/>
              <a:t> VES is well tolerated at 6 mg, participants can be dosed at 8 mg from the third dose onward with close monitoring.</a:t>
            </a:r>
          </a:p>
          <a:p>
            <a:pPr defTabSz="914354">
              <a:lnSpc>
                <a:spcPct val="85000"/>
              </a:lnSpc>
              <a:defRPr/>
            </a:pPr>
            <a:r>
              <a:rPr lang="en-US" b="1" dirty="0"/>
              <a:t>ART</a:t>
            </a:r>
            <a:r>
              <a:rPr lang="en-US" dirty="0"/>
              <a:t>, antiretroviral therapy; </a:t>
            </a:r>
            <a:r>
              <a:rPr lang="en-US" b="1" dirty="0"/>
              <a:t>ATI</a:t>
            </a:r>
            <a:r>
              <a:rPr lang="en-US" dirty="0"/>
              <a:t>, analytical treatment interruption; </a:t>
            </a:r>
            <a:r>
              <a:rPr lang="en-US" b="1" dirty="0"/>
              <a:t>bNAb</a:t>
            </a:r>
            <a:r>
              <a:rPr lang="en-US" dirty="0"/>
              <a:t>, broadly neutralizing antibody; </a:t>
            </a:r>
            <a:r>
              <a:rPr lang="en-US" b="1" dirty="0"/>
              <a:t>FRESH</a:t>
            </a:r>
            <a:r>
              <a:rPr lang="en-US" dirty="0"/>
              <a:t>, Females Rising through Education, Support, and Health; </a:t>
            </a:r>
            <a:r>
              <a:rPr lang="en-US" b="1" dirty="0"/>
              <a:t>VES</a:t>
            </a:r>
            <a:r>
              <a:rPr lang="en-US" dirty="0"/>
              <a:t>, vesatolimod.</a:t>
            </a:r>
            <a:br>
              <a:rPr lang="en-US" dirty="0"/>
            </a:br>
            <a:r>
              <a:rPr lang="en-US" dirty="0"/>
              <a:t>NCT05281510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7B0A33-5DCC-7C16-0722-C62F3EC45F0F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noFill/>
        </p:spPr>
        <p:txBody>
          <a:bodyPr vert="horz" lIns="0" tIns="0" rIns="0" bIns="0" rtlCol="0" anchor="ctr"/>
          <a:lstStyle/>
          <a:p>
            <a:fld id="{4BEAA09E-D67E-864E-8466-C38E88600C4F}" type="slidenum">
              <a:rPr lang="en-US"/>
              <a:pPr/>
              <a:t>7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F00030E-F86E-9734-29D5-3AF17A434B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r>
              <a:rPr lang="en-US" sz="3200"/>
              <a:t>Single-Arm, Open-Label, Phase 2a Study</a:t>
            </a:r>
            <a:endParaRPr lang="en-US" sz="3200">
              <a:solidFill>
                <a:schemeClr val="tx1"/>
              </a:solidFill>
            </a:endParaRPr>
          </a:p>
        </p:txBody>
      </p:sp>
      <p:cxnSp>
        <p:nvCxnSpPr>
          <p:cNvPr id="240" name="Straight Connector 8">
            <a:extLst>
              <a:ext uri="{FF2B5EF4-FFF2-40B4-BE49-F238E27FC236}">
                <a16:creationId xmlns:a16="http://schemas.microsoft.com/office/drawing/2014/main" id="{40E42A16-A06C-1BA9-420A-0E7867E70905}"/>
              </a:ext>
            </a:extLst>
          </p:cNvPr>
          <p:cNvCxnSpPr>
            <a:cxnSpLocks noChangeShapeType="1"/>
            <a:endCxn id="177" idx="1"/>
          </p:cNvCxnSpPr>
          <p:nvPr/>
        </p:nvCxnSpPr>
        <p:spPr bwMode="auto">
          <a:xfrm flipV="1">
            <a:off x="4190100" y="2646991"/>
            <a:ext cx="1005742" cy="2226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9" name="Straight Connector 8">
            <a:extLst>
              <a:ext uri="{FF2B5EF4-FFF2-40B4-BE49-F238E27FC236}">
                <a16:creationId xmlns:a16="http://schemas.microsoft.com/office/drawing/2014/main" id="{CA487CE8-072C-56E8-DB94-06E8DC5219BB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9051467" y="2654489"/>
            <a:ext cx="255099" cy="2152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6" name="Straight Connector 8">
            <a:extLst>
              <a:ext uri="{FF2B5EF4-FFF2-40B4-BE49-F238E27FC236}">
                <a16:creationId xmlns:a16="http://schemas.microsoft.com/office/drawing/2014/main" id="{3803A94D-4AA1-5D18-F51F-3E8A180E647F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6224990" y="2655441"/>
            <a:ext cx="153607" cy="248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5" name="Rectangle 254">
            <a:extLst>
              <a:ext uri="{FF2B5EF4-FFF2-40B4-BE49-F238E27FC236}">
                <a16:creationId xmlns:a16="http://schemas.microsoft.com/office/drawing/2014/main" id="{F0A5A7CE-6B02-891A-E442-D1D2075F21DC}"/>
              </a:ext>
            </a:extLst>
          </p:cNvPr>
          <p:cNvSpPr/>
          <p:nvPr/>
        </p:nvSpPr>
        <p:spPr bwMode="auto">
          <a:xfrm>
            <a:off x="6661338" y="2045420"/>
            <a:ext cx="28405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4532">
              <a:spcBef>
                <a:spcPct val="50000"/>
              </a:spcBef>
              <a:defRPr/>
            </a:pPr>
            <a:r>
              <a:rPr lang="en-US" altLang="en-US" sz="1400" b="1" kern="0">
                <a:solidFill>
                  <a:srgbClr val="FFFFFF"/>
                </a:solidFill>
                <a:ea typeface="MS PGothic" pitchFamily="34" charset="-128"/>
                <a:cs typeface="Arial" charset="0"/>
              </a:rPr>
              <a:t>6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46769C4-9786-ABD9-0E1D-E0CD84008664}"/>
              </a:ext>
            </a:extLst>
          </p:cNvPr>
          <p:cNvSpPr/>
          <p:nvPr/>
        </p:nvSpPr>
        <p:spPr bwMode="auto">
          <a:xfrm>
            <a:off x="4310431" y="2249061"/>
            <a:ext cx="885411" cy="399959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lIns="91440" tIns="60885" rIns="91440" bIns="60885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400" b="1" kern="0">
                <a:solidFill>
                  <a:srgbClr val="FFFFFF"/>
                </a:solidFill>
                <a:ea typeface="MS Mincho" pitchFamily="49" charset="-128"/>
                <a:cs typeface="Calibri" panose="020F0502020204030204" pitchFamily="34" charset="0"/>
              </a:rPr>
              <a:t>VES</a:t>
            </a:r>
          </a:p>
        </p:txBody>
      </p:sp>
      <p:cxnSp>
        <p:nvCxnSpPr>
          <p:cNvPr id="174" name="Straight Connector 8">
            <a:extLst>
              <a:ext uri="{FF2B5EF4-FFF2-40B4-BE49-F238E27FC236}">
                <a16:creationId xmlns:a16="http://schemas.microsoft.com/office/drawing/2014/main" id="{3C7C236E-FDBD-C346-D7A2-E729DBE8A765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0091140" y="2653883"/>
            <a:ext cx="266667" cy="336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5" name="Rectangle 174">
            <a:extLst>
              <a:ext uri="{FF2B5EF4-FFF2-40B4-BE49-F238E27FC236}">
                <a16:creationId xmlns:a16="http://schemas.microsoft.com/office/drawing/2014/main" id="{C0341DE2-8A0A-ED82-FD68-357FE763A5A9}"/>
              </a:ext>
            </a:extLst>
          </p:cNvPr>
          <p:cNvSpPr/>
          <p:nvPr/>
        </p:nvSpPr>
        <p:spPr bwMode="auto">
          <a:xfrm>
            <a:off x="6363353" y="2250455"/>
            <a:ext cx="2698433" cy="803475"/>
          </a:xfrm>
          <a:prstGeom prst="rect">
            <a:avLst/>
          </a:prstGeom>
          <a:solidFill>
            <a:srgbClr val="55A2A8"/>
          </a:solidFill>
          <a:ln w="9525" cap="flat" cmpd="sng" algn="ctr">
            <a:noFill/>
            <a:prstDash val="solid"/>
          </a:ln>
          <a:effectLst/>
        </p:spPr>
        <p:txBody>
          <a:bodyPr lIns="0" tIns="60952" rIns="0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endParaRPr lang="en-US" sz="1400" b="1" kern="0" dirty="0">
              <a:solidFill>
                <a:srgbClr val="FFFFFF"/>
              </a:solidFill>
              <a:ea typeface="MS Mincho" pitchFamily="49" charset="-128"/>
              <a:cs typeface="Calibri" panose="020F0502020204030204" pitchFamily="34" charset="0"/>
            </a:endParaRPr>
          </a:p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600" b="1" kern="0" dirty="0">
                <a:solidFill>
                  <a:srgbClr val="FFFFFF"/>
                </a:solidFill>
                <a:ea typeface="MS Mincho" pitchFamily="49" charset="-128"/>
                <a:cs typeface="Calibri" panose="020F0502020204030204" pitchFamily="34" charset="0"/>
              </a:rPr>
              <a:t> </a:t>
            </a:r>
            <a:r>
              <a:rPr lang="en-US" sz="1600" b="1" kern="0" dirty="0">
                <a:ea typeface="MS Mincho" pitchFamily="49" charset="-128"/>
                <a:cs typeface="Calibri" panose="020F0502020204030204" pitchFamily="34" charset="0"/>
              </a:rPr>
              <a:t>ATI + VES/bNAb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1CE7E17B-3FD4-C8DD-A7FE-C2A44C72A83A}"/>
              </a:ext>
            </a:extLst>
          </p:cNvPr>
          <p:cNvSpPr/>
          <p:nvPr/>
        </p:nvSpPr>
        <p:spPr bwMode="auto">
          <a:xfrm>
            <a:off x="5195842" y="2247282"/>
            <a:ext cx="1029148" cy="799417"/>
          </a:xfrm>
          <a:prstGeom prst="rect">
            <a:avLst/>
          </a:prstGeom>
          <a:solidFill>
            <a:srgbClr val="D1E6E8">
              <a:alpha val="70196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121904" tIns="60952" rIns="121904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SzPct val="120000"/>
              <a:defRPr/>
            </a:pPr>
            <a:endParaRPr lang="en-US" sz="1400" b="1" kern="0">
              <a:solidFill>
                <a:srgbClr val="54565B"/>
              </a:solidFill>
              <a:ea typeface="MS Mincho" pitchFamily="49" charset="-128"/>
              <a:cs typeface="Calibri" panose="020F0502020204030204" pitchFamily="34" charset="0"/>
            </a:endParaRPr>
          </a:p>
        </p:txBody>
      </p:sp>
      <p:sp>
        <p:nvSpPr>
          <p:cNvPr id="178" name="Isosceles Triangle 1">
            <a:extLst>
              <a:ext uri="{FF2B5EF4-FFF2-40B4-BE49-F238E27FC236}">
                <a16:creationId xmlns:a16="http://schemas.microsoft.com/office/drawing/2014/main" id="{735916C1-1C75-BAE5-C9EA-6AB52398A10E}"/>
              </a:ext>
            </a:extLst>
          </p:cNvPr>
          <p:cNvSpPr>
            <a:spLocks/>
          </p:cNvSpPr>
          <p:nvPr/>
        </p:nvSpPr>
        <p:spPr>
          <a:xfrm>
            <a:off x="5264284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grpSp>
        <p:nvGrpSpPr>
          <p:cNvPr id="181" name="Shape1_20221019_175024">
            <a:extLst>
              <a:ext uri="{FF2B5EF4-FFF2-40B4-BE49-F238E27FC236}">
                <a16:creationId xmlns:a16="http://schemas.microsoft.com/office/drawing/2014/main" id="{F1BC747D-4957-38C0-4435-38BE490CCCC7}"/>
              </a:ext>
            </a:extLst>
          </p:cNvPr>
          <p:cNvGrpSpPr/>
          <p:nvPr/>
        </p:nvGrpSpPr>
        <p:grpSpPr>
          <a:xfrm rot="10800000" flipV="1">
            <a:off x="6437654" y="2040835"/>
            <a:ext cx="2613815" cy="68580"/>
            <a:chOff x="3229199" y="1524677"/>
            <a:chExt cx="4480560" cy="91440"/>
          </a:xfrm>
        </p:grpSpPr>
        <p:sp>
          <p:nvSpPr>
            <p:cNvPr id="182" name="Freeform 28">
              <a:extLst>
                <a:ext uri="{FF2B5EF4-FFF2-40B4-BE49-F238E27FC236}">
                  <a16:creationId xmlns:a16="http://schemas.microsoft.com/office/drawing/2014/main" id="{2B51C704-111B-35D5-C77D-F4F8B33CC7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919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3" name="Freeform 28">
              <a:extLst>
                <a:ext uri="{FF2B5EF4-FFF2-40B4-BE49-F238E27FC236}">
                  <a16:creationId xmlns:a16="http://schemas.microsoft.com/office/drawing/2014/main" id="{9AA90212-4231-E925-171D-86F871C54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927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4" name="Freeform 28">
              <a:extLst>
                <a:ext uri="{FF2B5EF4-FFF2-40B4-BE49-F238E27FC236}">
                  <a16:creationId xmlns:a16="http://schemas.microsoft.com/office/drawing/2014/main" id="{5945E5DF-16B2-4858-3EEA-6F353FB76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35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5" name="Freeform 28">
              <a:extLst>
                <a:ext uri="{FF2B5EF4-FFF2-40B4-BE49-F238E27FC236}">
                  <a16:creationId xmlns:a16="http://schemas.microsoft.com/office/drawing/2014/main" id="{22DA0AC7-31B9-C916-FFF1-C5F49EF38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943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6" name="Freeform 28">
              <a:extLst>
                <a:ext uri="{FF2B5EF4-FFF2-40B4-BE49-F238E27FC236}">
                  <a16:creationId xmlns:a16="http://schemas.microsoft.com/office/drawing/2014/main" id="{C93CE0F8-B574-85BD-7E5B-51DA8B9CF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51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7" name="Freeform 28">
              <a:extLst>
                <a:ext uri="{FF2B5EF4-FFF2-40B4-BE49-F238E27FC236}">
                  <a16:creationId xmlns:a16="http://schemas.microsoft.com/office/drawing/2014/main" id="{7FF6C725-1B16-B9CA-E043-792CF22E93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59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8" name="Freeform 28">
              <a:extLst>
                <a:ext uri="{FF2B5EF4-FFF2-40B4-BE49-F238E27FC236}">
                  <a16:creationId xmlns:a16="http://schemas.microsoft.com/office/drawing/2014/main" id="{782D88F6-81F9-74CB-4AA3-215642AEB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967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</p:grpSp>
      <p:sp>
        <p:nvSpPr>
          <p:cNvPr id="190" name="Text Box 19">
            <a:extLst>
              <a:ext uri="{FF2B5EF4-FFF2-40B4-BE49-F238E27FC236}">
                <a16:creationId xmlns:a16="http://schemas.microsoft.com/office/drawing/2014/main" id="{3C6DECCF-1734-2E87-7E1E-F033F20B1D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3075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2</a:t>
            </a:r>
          </a:p>
        </p:txBody>
      </p:sp>
      <p:sp>
        <p:nvSpPr>
          <p:cNvPr id="192" name="Text Box 19">
            <a:extLst>
              <a:ext uri="{FF2B5EF4-FFF2-40B4-BE49-F238E27FC236}">
                <a16:creationId xmlns:a16="http://schemas.microsoft.com/office/drawing/2014/main" id="{ACADE63E-D6D7-6F7C-4D6B-E12CA0E75F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76491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6</a:t>
            </a:r>
          </a:p>
        </p:txBody>
      </p:sp>
      <p:sp>
        <p:nvSpPr>
          <p:cNvPr id="193" name="Text Box 23">
            <a:extLst>
              <a:ext uri="{FF2B5EF4-FFF2-40B4-BE49-F238E27FC236}">
                <a16:creationId xmlns:a16="http://schemas.microsoft.com/office/drawing/2014/main" id="{9CF7D5D2-CB03-10EC-AE8A-97F548C012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51602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8</a:t>
            </a:r>
          </a:p>
        </p:txBody>
      </p:sp>
      <p:sp>
        <p:nvSpPr>
          <p:cNvPr id="194" name="Text Box 19">
            <a:extLst>
              <a:ext uri="{FF2B5EF4-FFF2-40B4-BE49-F238E27FC236}">
                <a16:creationId xmlns:a16="http://schemas.microsoft.com/office/drawing/2014/main" id="{C56DBEFF-4084-815E-6F76-C8426157B7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20749" y="1773509"/>
            <a:ext cx="257289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12</a:t>
            </a:r>
          </a:p>
        </p:txBody>
      </p:sp>
      <p:sp>
        <p:nvSpPr>
          <p:cNvPr id="195" name="Text Box 23">
            <a:extLst>
              <a:ext uri="{FF2B5EF4-FFF2-40B4-BE49-F238E27FC236}">
                <a16:creationId xmlns:a16="http://schemas.microsoft.com/office/drawing/2014/main" id="{252C9964-4860-B701-5221-FDF7070738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34386" y="1773509"/>
            <a:ext cx="282823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10</a:t>
            </a:r>
          </a:p>
        </p:txBody>
      </p:sp>
      <p:sp>
        <p:nvSpPr>
          <p:cNvPr id="199" name="Text Box 19">
            <a:extLst>
              <a:ext uri="{FF2B5EF4-FFF2-40B4-BE49-F238E27FC236}">
                <a16:creationId xmlns:a16="http://schemas.microsoft.com/office/drawing/2014/main" id="{25491EF2-7CB8-A565-901E-8208364DC8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6951" y="1773509"/>
            <a:ext cx="236403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20</a:t>
            </a:r>
          </a:p>
        </p:txBody>
      </p:sp>
      <p:sp>
        <p:nvSpPr>
          <p:cNvPr id="200" name="Shape2_20221019_175024">
            <a:extLst>
              <a:ext uri="{FF2B5EF4-FFF2-40B4-BE49-F238E27FC236}">
                <a16:creationId xmlns:a16="http://schemas.microsoft.com/office/drawing/2014/main" id="{5AEA8926-39EB-2137-0298-A23E479DE3AB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9316373" y="2040371"/>
            <a:ext cx="774767" cy="68580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grpSp>
        <p:nvGrpSpPr>
          <p:cNvPr id="201" name="Shape3_20221019_175024">
            <a:extLst>
              <a:ext uri="{FF2B5EF4-FFF2-40B4-BE49-F238E27FC236}">
                <a16:creationId xmlns:a16="http://schemas.microsoft.com/office/drawing/2014/main" id="{18904DA9-89A4-21B4-8BE5-32CB4CF4F7F5}"/>
              </a:ext>
            </a:extLst>
          </p:cNvPr>
          <p:cNvGrpSpPr/>
          <p:nvPr/>
        </p:nvGrpSpPr>
        <p:grpSpPr>
          <a:xfrm>
            <a:off x="9844164" y="2067645"/>
            <a:ext cx="96963" cy="64831"/>
            <a:chOff x="5307806" y="4907123"/>
            <a:chExt cx="134304" cy="86440"/>
          </a:xfrm>
        </p:grpSpPr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4FC08985-0D8C-CE64-D1E1-DC9D8D80C611}"/>
                </a:ext>
              </a:extLst>
            </p:cNvPr>
            <p:cNvCxnSpPr/>
            <p:nvPr/>
          </p:nvCxnSpPr>
          <p:spPr>
            <a:xfrm flipV="1">
              <a:off x="5307806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483F091D-29C4-7260-6F6D-F84C85B99AD9}"/>
                </a:ext>
              </a:extLst>
            </p:cNvPr>
            <p:cNvCxnSpPr/>
            <p:nvPr/>
          </p:nvCxnSpPr>
          <p:spPr>
            <a:xfrm flipV="1">
              <a:off x="5355670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4" name="Shape4_20221019_175024">
            <a:extLst>
              <a:ext uri="{FF2B5EF4-FFF2-40B4-BE49-F238E27FC236}">
                <a16:creationId xmlns:a16="http://schemas.microsoft.com/office/drawing/2014/main" id="{08EF1C28-2DBA-CA66-9668-F43D5A1E3EDF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5723184" y="2038234"/>
            <a:ext cx="373403" cy="76200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sp>
        <p:nvSpPr>
          <p:cNvPr id="205" name="Shape0_20221019_175024">
            <a:extLst>
              <a:ext uri="{FF2B5EF4-FFF2-40B4-BE49-F238E27FC236}">
                <a16:creationId xmlns:a16="http://schemas.microsoft.com/office/drawing/2014/main" id="{CC32C34A-F91F-04EF-E942-5EDD8EE7DB94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5349783" y="2038234"/>
            <a:ext cx="373403" cy="76200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sp>
        <p:nvSpPr>
          <p:cNvPr id="206" name="Text Box 19">
            <a:extLst>
              <a:ext uri="{FF2B5EF4-FFF2-40B4-BE49-F238E27FC236}">
                <a16:creationId xmlns:a16="http://schemas.microsoft.com/office/drawing/2014/main" id="{93635AB2-A18F-0DBB-EA36-E84BE43481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6473" y="1773509"/>
            <a:ext cx="317456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8</a:t>
            </a:r>
          </a:p>
        </p:txBody>
      </p:sp>
      <p:sp>
        <p:nvSpPr>
          <p:cNvPr id="207" name="Shape5_20221019_175024">
            <a:extLst>
              <a:ext uri="{FF2B5EF4-FFF2-40B4-BE49-F238E27FC236}">
                <a16:creationId xmlns:a16="http://schemas.microsoft.com/office/drawing/2014/main" id="{1528DB0D-94BF-E091-A5D3-BB122FB729FC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10367895" y="2040371"/>
            <a:ext cx="858544" cy="70479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sp>
        <p:nvSpPr>
          <p:cNvPr id="208" name="Text Box 19">
            <a:extLst>
              <a:ext uri="{FF2B5EF4-FFF2-40B4-BE49-F238E27FC236}">
                <a16:creationId xmlns:a16="http://schemas.microsoft.com/office/drawing/2014/main" id="{6A1A6EAD-5C2E-EFF2-30E2-79345C6AD2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61347" y="1773509"/>
            <a:ext cx="273011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60</a:t>
            </a:r>
          </a:p>
        </p:txBody>
      </p:sp>
      <p:grpSp>
        <p:nvGrpSpPr>
          <p:cNvPr id="211" name="Shape7_20221019_175024">
            <a:extLst>
              <a:ext uri="{FF2B5EF4-FFF2-40B4-BE49-F238E27FC236}">
                <a16:creationId xmlns:a16="http://schemas.microsoft.com/office/drawing/2014/main" id="{8B7F3C4A-C88E-DAC7-D589-2A0A989C17BC}"/>
              </a:ext>
            </a:extLst>
          </p:cNvPr>
          <p:cNvGrpSpPr/>
          <p:nvPr/>
        </p:nvGrpSpPr>
        <p:grpSpPr>
          <a:xfrm>
            <a:off x="10769865" y="2083245"/>
            <a:ext cx="96963" cy="64831"/>
            <a:chOff x="5307806" y="4907123"/>
            <a:chExt cx="134304" cy="86440"/>
          </a:xfrm>
        </p:grpSpPr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7E0EDC62-6D0B-BD92-DF21-07F8B22145FE}"/>
                </a:ext>
              </a:extLst>
            </p:cNvPr>
            <p:cNvCxnSpPr/>
            <p:nvPr/>
          </p:nvCxnSpPr>
          <p:spPr>
            <a:xfrm flipV="1">
              <a:off x="5307806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AEE35127-0D0A-0A79-B3E3-6BA1E01B5B13}"/>
                </a:ext>
              </a:extLst>
            </p:cNvPr>
            <p:cNvCxnSpPr/>
            <p:nvPr/>
          </p:nvCxnSpPr>
          <p:spPr>
            <a:xfrm flipV="1">
              <a:off x="5355670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4" name="Text Box 19">
            <a:extLst>
              <a:ext uri="{FF2B5EF4-FFF2-40B4-BE49-F238E27FC236}">
                <a16:creationId xmlns:a16="http://schemas.microsoft.com/office/drawing/2014/main" id="{7E1B6838-9AE5-B905-EF26-F911A267E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83102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0</a:t>
            </a:r>
          </a:p>
        </p:txBody>
      </p:sp>
      <p:sp>
        <p:nvSpPr>
          <p:cNvPr id="215" name="Text Box 23">
            <a:extLst>
              <a:ext uri="{FF2B5EF4-FFF2-40B4-BE49-F238E27FC236}">
                <a16:creationId xmlns:a16="http://schemas.microsoft.com/office/drawing/2014/main" id="{C40704C3-3021-7703-237D-B1DE48BEBB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795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</a:t>
            </a:r>
          </a:p>
        </p:txBody>
      </p:sp>
      <p:sp>
        <p:nvSpPr>
          <p:cNvPr id="217" name="Isosceles Triangle 1">
            <a:extLst>
              <a:ext uri="{FF2B5EF4-FFF2-40B4-BE49-F238E27FC236}">
                <a16:creationId xmlns:a16="http://schemas.microsoft.com/office/drawing/2014/main" id="{DCC4125C-CE76-109D-0DAF-0629A778C254}"/>
              </a:ext>
            </a:extLst>
          </p:cNvPr>
          <p:cNvSpPr>
            <a:spLocks/>
          </p:cNvSpPr>
          <p:nvPr/>
        </p:nvSpPr>
        <p:spPr>
          <a:xfrm>
            <a:off x="5656507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18" name="Isosceles Triangle 1">
            <a:extLst>
              <a:ext uri="{FF2B5EF4-FFF2-40B4-BE49-F238E27FC236}">
                <a16:creationId xmlns:a16="http://schemas.microsoft.com/office/drawing/2014/main" id="{680CC325-B526-B3A9-59F9-9BA8B5A84596}"/>
              </a:ext>
            </a:extLst>
          </p:cNvPr>
          <p:cNvSpPr>
            <a:spLocks noChangeAspect="1"/>
          </p:cNvSpPr>
          <p:nvPr/>
        </p:nvSpPr>
        <p:spPr>
          <a:xfrm>
            <a:off x="6009683" y="2373833"/>
            <a:ext cx="158440" cy="164592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19" name="Isosceles Triangle 1">
            <a:extLst>
              <a:ext uri="{FF2B5EF4-FFF2-40B4-BE49-F238E27FC236}">
                <a16:creationId xmlns:a16="http://schemas.microsoft.com/office/drawing/2014/main" id="{17FB4603-9265-B998-715D-01FF98904CEB}"/>
              </a:ext>
            </a:extLst>
          </p:cNvPr>
          <p:cNvSpPr>
            <a:spLocks/>
          </p:cNvSpPr>
          <p:nvPr/>
        </p:nvSpPr>
        <p:spPr>
          <a:xfrm>
            <a:off x="6363354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0" name="Isosceles Triangle 1">
            <a:extLst>
              <a:ext uri="{FF2B5EF4-FFF2-40B4-BE49-F238E27FC236}">
                <a16:creationId xmlns:a16="http://schemas.microsoft.com/office/drawing/2014/main" id="{8D08B38E-4D5F-4AE2-B4DD-15A6E4382F16}"/>
              </a:ext>
            </a:extLst>
          </p:cNvPr>
          <p:cNvSpPr>
            <a:spLocks/>
          </p:cNvSpPr>
          <p:nvPr/>
        </p:nvSpPr>
        <p:spPr>
          <a:xfrm>
            <a:off x="6743287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1" name="Isosceles Triangle 1">
            <a:extLst>
              <a:ext uri="{FF2B5EF4-FFF2-40B4-BE49-F238E27FC236}">
                <a16:creationId xmlns:a16="http://schemas.microsoft.com/office/drawing/2014/main" id="{D5F6DC95-2ECC-B062-EECD-381C7277095B}"/>
              </a:ext>
            </a:extLst>
          </p:cNvPr>
          <p:cNvSpPr>
            <a:spLocks/>
          </p:cNvSpPr>
          <p:nvPr/>
        </p:nvSpPr>
        <p:spPr>
          <a:xfrm>
            <a:off x="7135508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2" name="Isosceles Triangle 1">
            <a:extLst>
              <a:ext uri="{FF2B5EF4-FFF2-40B4-BE49-F238E27FC236}">
                <a16:creationId xmlns:a16="http://schemas.microsoft.com/office/drawing/2014/main" id="{885D69AA-2666-B46A-1E02-7062687BAE23}"/>
              </a:ext>
            </a:extLst>
          </p:cNvPr>
          <p:cNvSpPr>
            <a:spLocks/>
          </p:cNvSpPr>
          <p:nvPr/>
        </p:nvSpPr>
        <p:spPr>
          <a:xfrm>
            <a:off x="7500636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3" name="Isosceles Triangle 1">
            <a:extLst>
              <a:ext uri="{FF2B5EF4-FFF2-40B4-BE49-F238E27FC236}">
                <a16:creationId xmlns:a16="http://schemas.microsoft.com/office/drawing/2014/main" id="{6A7AFDF9-AE6F-07AF-2C1A-DD8E427DBBFF}"/>
              </a:ext>
            </a:extLst>
          </p:cNvPr>
          <p:cNvSpPr>
            <a:spLocks/>
          </p:cNvSpPr>
          <p:nvPr/>
        </p:nvSpPr>
        <p:spPr>
          <a:xfrm>
            <a:off x="7853808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4" name="Isosceles Triangle 1">
            <a:extLst>
              <a:ext uri="{FF2B5EF4-FFF2-40B4-BE49-F238E27FC236}">
                <a16:creationId xmlns:a16="http://schemas.microsoft.com/office/drawing/2014/main" id="{6FCDA45E-405E-2E3C-E851-E2B436BDCF92}"/>
              </a:ext>
            </a:extLst>
          </p:cNvPr>
          <p:cNvSpPr>
            <a:spLocks/>
          </p:cNvSpPr>
          <p:nvPr/>
        </p:nvSpPr>
        <p:spPr>
          <a:xfrm>
            <a:off x="8233399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5" name="Isosceles Triangle 1">
            <a:extLst>
              <a:ext uri="{FF2B5EF4-FFF2-40B4-BE49-F238E27FC236}">
                <a16:creationId xmlns:a16="http://schemas.microsoft.com/office/drawing/2014/main" id="{3453BE2E-EBB6-DD2A-07F4-C1BB942B7612}"/>
              </a:ext>
            </a:extLst>
          </p:cNvPr>
          <p:cNvSpPr>
            <a:spLocks/>
          </p:cNvSpPr>
          <p:nvPr/>
        </p:nvSpPr>
        <p:spPr>
          <a:xfrm>
            <a:off x="8586572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6" name="Text Box 19">
            <a:extLst>
              <a:ext uri="{FF2B5EF4-FFF2-40B4-BE49-F238E27FC236}">
                <a16:creationId xmlns:a16="http://schemas.microsoft.com/office/drawing/2014/main" id="{C8597B41-CF64-41B2-5A0C-236857020C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9025" y="1773509"/>
            <a:ext cx="335681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21</a:t>
            </a:r>
          </a:p>
        </p:txBody>
      </p:sp>
      <p:sp>
        <p:nvSpPr>
          <p:cNvPr id="227" name="Text Box 23">
            <a:extLst>
              <a:ext uri="{FF2B5EF4-FFF2-40B4-BE49-F238E27FC236}">
                <a16:creationId xmlns:a16="http://schemas.microsoft.com/office/drawing/2014/main" id="{4B365C0E-84ED-B0FE-61AA-B4290F7385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7812" y="1442137"/>
            <a:ext cx="69638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b="1" kern="0">
                <a:latin typeface="+mn-lt"/>
                <a:ea typeface="MS PGothic" pitchFamily="34" charset="-128"/>
                <a:cs typeface="Arial" charset="0"/>
              </a:rPr>
              <a:t>Week</a:t>
            </a:r>
          </a:p>
        </p:txBody>
      </p:sp>
      <p:sp>
        <p:nvSpPr>
          <p:cNvPr id="228" name="Text Box 19">
            <a:extLst>
              <a:ext uri="{FF2B5EF4-FFF2-40B4-BE49-F238E27FC236}">
                <a16:creationId xmlns:a16="http://schemas.microsoft.com/office/drawing/2014/main" id="{F5EDF7A2-58B2-9B42-EC11-ADF2C1C91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18124" y="1773509"/>
            <a:ext cx="278179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9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EB62488F-3A4B-5824-D1CB-58F565CA6D59}"/>
              </a:ext>
            </a:extLst>
          </p:cNvPr>
          <p:cNvSpPr/>
          <p:nvPr/>
        </p:nvSpPr>
        <p:spPr bwMode="auto">
          <a:xfrm>
            <a:off x="10357809" y="2240300"/>
            <a:ext cx="868631" cy="806401"/>
          </a:xfrm>
          <a:prstGeom prst="rect">
            <a:avLst/>
          </a:prstGeom>
          <a:solidFill>
            <a:srgbClr val="396C70"/>
          </a:solidFill>
          <a:ln w="9525" cap="flat" cmpd="sng" algn="ctr">
            <a:noFill/>
            <a:prstDash val="solid"/>
          </a:ln>
          <a:effectLst/>
        </p:spPr>
        <p:txBody>
          <a:bodyPr lIns="0" tIns="60952" rIns="0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600" b="1" kern="0">
                <a:solidFill>
                  <a:srgbClr val="FFFFFF"/>
                </a:solidFill>
                <a:ea typeface="MS Mincho" pitchFamily="49" charset="-128"/>
                <a:cs typeface="Calibri" panose="020F0502020204030204" pitchFamily="34" charset="0"/>
              </a:rPr>
              <a:t>Optional ATI</a:t>
            </a:r>
          </a:p>
        </p:txBody>
      </p:sp>
      <p:grpSp>
        <p:nvGrpSpPr>
          <p:cNvPr id="232" name="Shape9_20221019_175024">
            <a:extLst>
              <a:ext uri="{FF2B5EF4-FFF2-40B4-BE49-F238E27FC236}">
                <a16:creationId xmlns:a16="http://schemas.microsoft.com/office/drawing/2014/main" id="{E3CED70B-F87F-5E77-4910-03FDC4EC64EC}"/>
              </a:ext>
            </a:extLst>
          </p:cNvPr>
          <p:cNvGrpSpPr/>
          <p:nvPr/>
        </p:nvGrpSpPr>
        <p:grpSpPr>
          <a:xfrm>
            <a:off x="9465177" y="2067645"/>
            <a:ext cx="96963" cy="64831"/>
            <a:chOff x="5307806" y="4907123"/>
            <a:chExt cx="134304" cy="86440"/>
          </a:xfrm>
        </p:grpSpPr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9C866C88-A84F-5004-FF91-FC678F0800EC}"/>
                </a:ext>
              </a:extLst>
            </p:cNvPr>
            <p:cNvCxnSpPr/>
            <p:nvPr/>
          </p:nvCxnSpPr>
          <p:spPr>
            <a:xfrm flipV="1">
              <a:off x="5307806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3C28C552-3B59-74C3-1346-9ED2A9D4CC0D}"/>
                </a:ext>
              </a:extLst>
            </p:cNvPr>
            <p:cNvCxnSpPr/>
            <p:nvPr/>
          </p:nvCxnSpPr>
          <p:spPr>
            <a:xfrm flipV="1">
              <a:off x="5355670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5" name="Text Box 19">
            <a:extLst>
              <a:ext uri="{FF2B5EF4-FFF2-40B4-BE49-F238E27FC236}">
                <a16:creationId xmlns:a16="http://schemas.microsoft.com/office/drawing/2014/main" id="{4603FAEE-5F54-F1FA-C98F-614BDA0ADC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05401" y="1788193"/>
            <a:ext cx="378947" cy="1552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0</a:t>
            </a:r>
            <a:endParaRPr lang="en-US" altLang="en-US" sz="1400" kern="0" baseline="30000">
              <a:latin typeface="+mn-lt"/>
              <a:ea typeface="MS PGothic" pitchFamily="34" charset="-128"/>
              <a:cs typeface="Arial" charset="0"/>
            </a:endParaRP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658F774C-BF00-7E9E-FDA8-930F3647378F}"/>
              </a:ext>
            </a:extLst>
          </p:cNvPr>
          <p:cNvSpPr txBox="1"/>
          <p:nvPr/>
        </p:nvSpPr>
        <p:spPr>
          <a:xfrm>
            <a:off x="5363229" y="3062072"/>
            <a:ext cx="762599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GB" sz="1400" b="1" dirty="0"/>
              <a:t>Period 1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FF2622BB-1716-F29D-2A9B-4C09C5F952D2}"/>
              </a:ext>
            </a:extLst>
          </p:cNvPr>
          <p:cNvSpPr txBox="1"/>
          <p:nvPr/>
        </p:nvSpPr>
        <p:spPr>
          <a:xfrm>
            <a:off x="7284662" y="3062072"/>
            <a:ext cx="762599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GB" sz="1400" b="1"/>
              <a:t>Period 2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9D756453-062C-8BD3-629A-41139266FC49}"/>
              </a:ext>
            </a:extLst>
          </p:cNvPr>
          <p:cNvSpPr txBox="1"/>
          <p:nvPr/>
        </p:nvSpPr>
        <p:spPr>
          <a:xfrm>
            <a:off x="9322193" y="3062072"/>
            <a:ext cx="762599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GB" sz="1400" b="1"/>
              <a:t>Period 3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8A1E46A3-F994-0014-050E-5A22044769C9}"/>
              </a:ext>
            </a:extLst>
          </p:cNvPr>
          <p:cNvSpPr txBox="1"/>
          <p:nvPr/>
        </p:nvSpPr>
        <p:spPr>
          <a:xfrm>
            <a:off x="10410824" y="3062072"/>
            <a:ext cx="762599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GB" sz="1400" b="1"/>
              <a:t>Period 4</a:t>
            </a: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69E8CBAF-79C6-6613-6DF1-EC5A8FF7A072}"/>
              </a:ext>
            </a:extLst>
          </p:cNvPr>
          <p:cNvSpPr>
            <a:spLocks/>
          </p:cNvSpPr>
          <p:nvPr/>
        </p:nvSpPr>
        <p:spPr bwMode="auto">
          <a:xfrm>
            <a:off x="2699083" y="2249061"/>
            <a:ext cx="1499616" cy="801695"/>
          </a:xfrm>
          <a:prstGeom prst="rect">
            <a:avLst/>
          </a:prstGeom>
          <a:solidFill>
            <a:srgbClr val="688C38">
              <a:alpha val="74902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0" tIns="60952" rIns="0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400" b="1" kern="0">
                <a:ea typeface="MS Mincho" pitchFamily="49" charset="-128"/>
                <a:cs typeface="Calibri" panose="020F0502020204030204" pitchFamily="34" charset="0"/>
              </a:rPr>
              <a:t>Screening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CB35A875-7045-BBCA-6CB2-A9D7FFB92FFF}"/>
              </a:ext>
            </a:extLst>
          </p:cNvPr>
          <p:cNvSpPr txBox="1"/>
          <p:nvPr/>
        </p:nvSpPr>
        <p:spPr>
          <a:xfrm>
            <a:off x="2689561" y="1851285"/>
            <a:ext cx="1498600" cy="26161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GB" sz="1400"/>
              <a:t>≤ 35 days</a:t>
            </a:r>
          </a:p>
        </p:txBody>
      </p:sp>
      <p:sp>
        <p:nvSpPr>
          <p:cNvPr id="245" name="Shape10_20221019_175024">
            <a:extLst>
              <a:ext uri="{FF2B5EF4-FFF2-40B4-BE49-F238E27FC236}">
                <a16:creationId xmlns:a16="http://schemas.microsoft.com/office/drawing/2014/main" id="{5A7C694D-14DD-CD9F-BE45-11EDB6CA8B5F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2697450" y="2094125"/>
            <a:ext cx="1492929" cy="57855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A0DA4DF-7349-FB71-E171-8FA5EEF7693F}"/>
              </a:ext>
            </a:extLst>
          </p:cNvPr>
          <p:cNvGrpSpPr/>
          <p:nvPr/>
        </p:nvGrpSpPr>
        <p:grpSpPr>
          <a:xfrm>
            <a:off x="5744529" y="1242395"/>
            <a:ext cx="1137139" cy="1021405"/>
            <a:chOff x="5744529" y="1242395"/>
            <a:chExt cx="1137139" cy="1021405"/>
          </a:xfrm>
        </p:grpSpPr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C1F3CC9D-B922-FD4D-B184-79F6766AED8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89509" y="1544165"/>
              <a:ext cx="2655" cy="719635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342CAD9-EC59-F848-AB28-DD35B2BB55F9}"/>
                </a:ext>
              </a:extLst>
            </p:cNvPr>
            <p:cNvSpPr txBox="1"/>
            <p:nvPr/>
          </p:nvSpPr>
          <p:spPr>
            <a:xfrm>
              <a:off x="5744529" y="1242395"/>
              <a:ext cx="1137139" cy="27082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r>
                <a:rPr lang="en-US" sz="1600" b="1" dirty="0">
                  <a:solidFill>
                    <a:schemeClr val="accent1"/>
                  </a:solidFill>
                </a:rPr>
                <a:t>ART stop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69BAAF8-0715-24A9-068C-AEC3A9B87CB6}"/>
              </a:ext>
            </a:extLst>
          </p:cNvPr>
          <p:cNvGrpSpPr/>
          <p:nvPr/>
        </p:nvGrpSpPr>
        <p:grpSpPr>
          <a:xfrm>
            <a:off x="528656" y="3409769"/>
            <a:ext cx="1145180" cy="305708"/>
            <a:chOff x="1617725" y="2801293"/>
            <a:chExt cx="858885" cy="229281"/>
          </a:xfrm>
        </p:grpSpPr>
        <p:sp>
          <p:nvSpPr>
            <p:cNvPr id="21" name="Isosceles Triangle 1">
              <a:extLst>
                <a:ext uri="{FF2B5EF4-FFF2-40B4-BE49-F238E27FC236}">
                  <a16:creationId xmlns:a16="http://schemas.microsoft.com/office/drawing/2014/main" id="{937FF5B5-A624-C825-838B-31E4FAC82400}"/>
                </a:ext>
              </a:extLst>
            </p:cNvPr>
            <p:cNvSpPr>
              <a:spLocks/>
            </p:cNvSpPr>
            <p:nvPr/>
          </p:nvSpPr>
          <p:spPr>
            <a:xfrm>
              <a:off x="1617725" y="2836587"/>
              <a:ext cx="132034" cy="137160"/>
            </a:xfrm>
            <a:prstGeom prst="triangl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169">
                <a:defRPr/>
              </a:pPr>
              <a:endParaRPr lang="en-US" sz="1400" kern="0">
                <a:solidFill>
                  <a:srgbClr val="54565B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F1836F9D-346F-0CF8-7FE3-0A7CB156670C}"/>
                </a:ext>
              </a:extLst>
            </p:cNvPr>
            <p:cNvSpPr txBox="1"/>
            <p:nvPr/>
          </p:nvSpPr>
          <p:spPr>
            <a:xfrm>
              <a:off x="1806027" y="2801293"/>
              <a:ext cx="670583" cy="22928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defRPr/>
              </a:pPr>
              <a:r>
                <a:rPr lang="en-US" sz="1400">
                  <a:cs typeface="Arial" panose="020B0604020202020204" pitchFamily="34" charset="0"/>
                </a:rPr>
                <a:t>VES (oral)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9C61950-B917-A120-8A04-57385EE464FF}"/>
              </a:ext>
            </a:extLst>
          </p:cNvPr>
          <p:cNvGrpSpPr/>
          <p:nvPr/>
        </p:nvGrpSpPr>
        <p:grpSpPr>
          <a:xfrm>
            <a:off x="1795264" y="3427830"/>
            <a:ext cx="4114621" cy="269585"/>
            <a:chOff x="768486" y="3169475"/>
            <a:chExt cx="3085966" cy="202189"/>
          </a:xfrm>
        </p:grpSpPr>
        <p:sp>
          <p:nvSpPr>
            <p:cNvPr id="19" name="Isosceles Triangle 1">
              <a:extLst>
                <a:ext uri="{FF2B5EF4-FFF2-40B4-BE49-F238E27FC236}">
                  <a16:creationId xmlns:a16="http://schemas.microsoft.com/office/drawing/2014/main" id="{43FDCBA7-269F-38CD-8379-CAA3D7E8B4E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8486" y="3211738"/>
              <a:ext cx="106948" cy="111100"/>
            </a:xfrm>
            <a:prstGeom prst="triangle">
              <a:avLst/>
            </a:prstGeom>
            <a:solidFill>
              <a:schemeClr val="accent2"/>
            </a:solidFill>
            <a:ln w="25400" cap="flat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169">
                <a:defRPr/>
              </a:pPr>
              <a:endParaRPr lang="en-US" sz="1400" kern="0">
                <a:solidFill>
                  <a:srgbClr val="54565B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ED93044-774A-C280-3599-67F64A8E6469}"/>
                </a:ext>
              </a:extLst>
            </p:cNvPr>
            <p:cNvSpPr txBox="1"/>
            <p:nvPr/>
          </p:nvSpPr>
          <p:spPr>
            <a:xfrm>
              <a:off x="974091" y="3169475"/>
              <a:ext cx="2880361" cy="20218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defRPr/>
              </a:pPr>
              <a:r>
                <a:rPr lang="en-US" sz="1400">
                  <a:cs typeface="Arial" panose="020B0604020202020204" pitchFamily="34" charset="0"/>
                </a:rPr>
                <a:t>Possible VES dose </a:t>
              </a:r>
              <a:r>
                <a:rPr lang="en-US" sz="1400" err="1">
                  <a:cs typeface="Arial" panose="020B0604020202020204" pitchFamily="34" charset="0"/>
                </a:rPr>
                <a:t>escalation</a:t>
              </a:r>
              <a:r>
                <a:rPr lang="en-US" sz="1400" baseline="30000" err="1">
                  <a:cs typeface="Arial" panose="020B0604020202020204" pitchFamily="34" charset="0"/>
                </a:rPr>
                <a:t>a</a:t>
              </a:r>
              <a:r>
                <a:rPr lang="en-US" sz="1400">
                  <a:cs typeface="Arial" panose="020B0604020202020204" pitchFamily="34" charset="0"/>
                </a:rPr>
                <a:t> from 6 to 8 mg </a:t>
              </a:r>
            </a:p>
          </p:txBody>
        </p: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E772A4-80C5-80BB-B5D9-35112F5A678C}"/>
              </a:ext>
            </a:extLst>
          </p:cNvPr>
          <p:cNvCxnSpPr/>
          <p:nvPr/>
        </p:nvCxnSpPr>
        <p:spPr>
          <a:xfrm>
            <a:off x="528656" y="3378826"/>
            <a:ext cx="11168796" cy="0"/>
          </a:xfrm>
          <a:prstGeom prst="line">
            <a:avLst/>
          </a:prstGeom>
          <a:ln>
            <a:solidFill>
              <a:srgbClr val="5456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B96E7C7-629B-C2A0-7453-6D133677B70B}"/>
              </a:ext>
            </a:extLst>
          </p:cNvPr>
          <p:cNvCxnSpPr>
            <a:cxnSpLocks/>
          </p:cNvCxnSpPr>
          <p:nvPr/>
        </p:nvCxnSpPr>
        <p:spPr>
          <a:xfrm flipV="1">
            <a:off x="9694874" y="2045420"/>
            <a:ext cx="0" cy="63531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BD1053E8-455F-5BB7-B65F-5A9B1F44E401}"/>
              </a:ext>
            </a:extLst>
          </p:cNvPr>
          <p:cNvSpPr/>
          <p:nvPr/>
        </p:nvSpPr>
        <p:spPr bwMode="auto">
          <a:xfrm>
            <a:off x="4310431" y="2647623"/>
            <a:ext cx="885411" cy="399959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lIns="91440" tIns="60885" rIns="91440" bIns="60885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400" b="1" kern="0" dirty="0">
                <a:ea typeface="MS Mincho" pitchFamily="49" charset="-128"/>
                <a:cs typeface="Calibri" panose="020F0502020204030204" pitchFamily="34" charset="0"/>
              </a:rPr>
              <a:t>bNAbs</a:t>
            </a:r>
          </a:p>
        </p:txBody>
      </p:sp>
      <p:sp>
        <p:nvSpPr>
          <p:cNvPr id="5" name="Isosceles Triangle 1">
            <a:extLst>
              <a:ext uri="{FF2B5EF4-FFF2-40B4-BE49-F238E27FC236}">
                <a16:creationId xmlns:a16="http://schemas.microsoft.com/office/drawing/2014/main" id="{8F13865E-E396-9EE4-FF38-7CF3ADD84E27}"/>
              </a:ext>
            </a:extLst>
          </p:cNvPr>
          <p:cNvSpPr>
            <a:spLocks/>
          </p:cNvSpPr>
          <p:nvPr/>
        </p:nvSpPr>
        <p:spPr>
          <a:xfrm rot="10800000">
            <a:off x="5436168" y="2806053"/>
            <a:ext cx="176045" cy="182880"/>
          </a:xfrm>
          <a:prstGeom prst="triangl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46BD63A-881D-DA51-54EB-90378262E4CF}"/>
              </a:ext>
            </a:extLst>
          </p:cNvPr>
          <p:cNvGrpSpPr/>
          <p:nvPr/>
        </p:nvGrpSpPr>
        <p:grpSpPr>
          <a:xfrm>
            <a:off x="5847432" y="3424149"/>
            <a:ext cx="6201164" cy="276999"/>
            <a:chOff x="3663697" y="3003694"/>
            <a:chExt cx="4650873" cy="207749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C2B0430-C753-F7D9-FF41-6A087BC066A5}"/>
                </a:ext>
              </a:extLst>
            </p:cNvPr>
            <p:cNvSpPr txBox="1"/>
            <p:nvPr/>
          </p:nvSpPr>
          <p:spPr>
            <a:xfrm>
              <a:off x="3844800" y="3003694"/>
              <a:ext cx="4469770" cy="20774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defRPr/>
              </a:pPr>
              <a:r>
                <a:rPr lang="en-US" sz="1400" dirty="0">
                  <a:cs typeface="Arial" panose="020B0604020202020204" pitchFamily="34" charset="0"/>
                </a:rPr>
                <a:t>bNAbs: VRC07-523LS + CAP256V2LS (NIH) (</a:t>
              </a:r>
              <a:r>
                <a:rPr lang="en-GB" sz="1400" dirty="0">
                  <a:cs typeface="Arial" panose="020B0604020202020204" pitchFamily="34" charset="0"/>
                </a:rPr>
                <a:t>20 mg/kg IV each </a:t>
              </a:r>
              <a:r>
                <a:rPr lang="en-GB" sz="1400" dirty="0" err="1">
                  <a:cs typeface="Arial" panose="020B0604020202020204" pitchFamily="34" charset="0"/>
                </a:rPr>
                <a:t>bNAb</a:t>
              </a:r>
              <a:r>
                <a:rPr lang="en-GB" sz="1400" dirty="0">
                  <a:cs typeface="Arial" panose="020B0604020202020204" pitchFamily="34" charset="0"/>
                </a:rPr>
                <a:t>)</a:t>
              </a:r>
              <a:endParaRPr lang="en-US" sz="1400" dirty="0">
                <a:cs typeface="Arial" panose="020B0604020202020204" pitchFamily="34" charset="0"/>
              </a:endParaRPr>
            </a:p>
          </p:txBody>
        </p:sp>
        <p:sp>
          <p:nvSpPr>
            <p:cNvPr id="14" name="Isosceles Triangle 1">
              <a:extLst>
                <a:ext uri="{FF2B5EF4-FFF2-40B4-BE49-F238E27FC236}">
                  <a16:creationId xmlns:a16="http://schemas.microsoft.com/office/drawing/2014/main" id="{3BCD463F-2066-F052-6B6A-A3C7D5DD920D}"/>
                </a:ext>
              </a:extLst>
            </p:cNvPr>
            <p:cNvSpPr>
              <a:spLocks/>
            </p:cNvSpPr>
            <p:nvPr/>
          </p:nvSpPr>
          <p:spPr>
            <a:xfrm rot="10800000">
              <a:off x="3663697" y="3049150"/>
              <a:ext cx="132034" cy="137160"/>
            </a:xfrm>
            <a:prstGeom prst="triangle">
              <a:avLst/>
            </a:prstGeom>
            <a:solidFill>
              <a:schemeClr val="accent6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169">
                <a:defRPr/>
              </a:pPr>
              <a:endParaRPr lang="en-US" sz="1400" kern="0">
                <a:solidFill>
                  <a:srgbClr val="54565B"/>
                </a:solidFill>
              </a:endParaRP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77BE1E78-B6E1-7B3A-A2E9-70CEDC055C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923" y="921426"/>
            <a:ext cx="2405794" cy="2346796"/>
          </a:xfrm>
          <a:prstGeom prst="rect">
            <a:avLst/>
          </a:prstGeom>
          <a:solidFill>
            <a:srgbClr val="DDDDEA"/>
          </a:solidFill>
          <a:ln>
            <a:noFill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spAutoFit/>
          </a:bodyPr>
          <a:lstStyle/>
          <a:p>
            <a:pPr marL="91438" fontAlgn="base">
              <a:spcAft>
                <a:spcPts val="600"/>
              </a:spcAft>
              <a:buSzPct val="100000"/>
            </a:pPr>
            <a:r>
              <a:rPr lang="en-US" sz="1600" b="1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Inclusion criteria</a:t>
            </a:r>
          </a:p>
          <a:p>
            <a:pPr marL="228600" indent="-228600" fontAlgn="base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Females from FRESH cohort</a:t>
            </a:r>
            <a:endParaRPr lang="en-US" altLang="en-US" sz="1400" dirty="0">
              <a:solidFill>
                <a:srgbClr val="203662"/>
              </a:solidFill>
              <a:latin typeface="+mj-lt"/>
              <a:ea typeface="Roboto"/>
              <a:cs typeface="Arial" charset="0"/>
            </a:endParaRPr>
          </a:p>
          <a:p>
            <a:pPr marL="228600" indent="-228600" fontAlgn="base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Virally suppressed on ART &gt; 12 months</a:t>
            </a:r>
          </a:p>
          <a:p>
            <a:pPr marL="228600" indent="-228600" fontAlgn="base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Sensitive to at least 1 of the 2 bNAbs</a:t>
            </a:r>
          </a:p>
          <a:p>
            <a:pPr marL="228600" indent="-228600" fontAlgn="base"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CD4+ T-cell count </a:t>
            </a:r>
            <a:b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</a:b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≥ 500 cells/</a:t>
            </a:r>
            <a:r>
              <a:rPr lang="el-GR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μ</a:t>
            </a: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L</a:t>
            </a:r>
            <a:endParaRPr lang="en-US" altLang="en-US" sz="1400" dirty="0">
              <a:solidFill>
                <a:srgbClr val="203662"/>
              </a:solidFill>
              <a:latin typeface="+mj-lt"/>
              <a:ea typeface="Roboto"/>
              <a:cs typeface="Arial" charset="0"/>
            </a:endParaRPr>
          </a:p>
        </p:txBody>
      </p:sp>
      <p:sp>
        <p:nvSpPr>
          <p:cNvPr id="3" name="Text Box 19">
            <a:extLst>
              <a:ext uri="{FF2B5EF4-FFF2-40B4-BE49-F238E27FC236}">
                <a16:creationId xmlns:a16="http://schemas.microsoft.com/office/drawing/2014/main" id="{AF21C719-71A0-130E-BE79-C28A87203B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08611" y="1753546"/>
            <a:ext cx="251224" cy="2245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 dirty="0">
                <a:latin typeface="+mn-lt"/>
                <a:ea typeface="MS PGothic" pitchFamily="34" charset="-128"/>
                <a:cs typeface="Arial" charset="0"/>
              </a:rPr>
              <a:t>14</a:t>
            </a:r>
          </a:p>
        </p:txBody>
      </p:sp>
      <p:sp>
        <p:nvSpPr>
          <p:cNvPr id="24" name="Text Box 23">
            <a:extLst>
              <a:ext uri="{FF2B5EF4-FFF2-40B4-BE49-F238E27FC236}">
                <a16:creationId xmlns:a16="http://schemas.microsoft.com/office/drawing/2014/main" id="{F7D7E2B7-C164-B07C-2446-431F47A033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41936" y="1746884"/>
            <a:ext cx="273011" cy="2379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 dirty="0">
                <a:latin typeface="+mn-lt"/>
                <a:ea typeface="MS PGothic" pitchFamily="34" charset="-128"/>
                <a:cs typeface="Arial" charset="0"/>
              </a:rPr>
              <a:t>18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47ED1D0B-22E0-ED40-6BC8-70E16C1D56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72843" y="1746884"/>
            <a:ext cx="273011" cy="2379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 dirty="0">
                <a:latin typeface="+mn-lt"/>
                <a:ea typeface="MS PGothic" pitchFamily="34" charset="-128"/>
                <a:cs typeface="Arial" charset="0"/>
              </a:rPr>
              <a:t>16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9F1C5E2-D071-022B-DFBA-7AFC1ABE013E}"/>
              </a:ext>
            </a:extLst>
          </p:cNvPr>
          <p:cNvSpPr/>
          <p:nvPr/>
        </p:nvSpPr>
        <p:spPr bwMode="auto">
          <a:xfrm>
            <a:off x="9306566" y="2247033"/>
            <a:ext cx="784575" cy="799667"/>
          </a:xfrm>
          <a:prstGeom prst="rect">
            <a:avLst/>
          </a:prstGeom>
          <a:solidFill>
            <a:srgbClr val="55A2A8"/>
          </a:solidFill>
          <a:ln w="9525" cap="flat" cmpd="sng" algn="ctr">
            <a:noFill/>
            <a:prstDash val="solid"/>
          </a:ln>
          <a:effectLst/>
        </p:spPr>
        <p:txBody>
          <a:bodyPr lIns="0" tIns="60952" rIns="0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600" b="1" kern="0" dirty="0">
                <a:ea typeface="MS Mincho" pitchFamily="49" charset="-128"/>
                <a:cs typeface="Calibri" panose="020F0502020204030204" pitchFamily="34" charset="0"/>
              </a:rPr>
              <a:t>ATI</a:t>
            </a:r>
            <a:endParaRPr lang="en-US" sz="1400" b="1" kern="0" dirty="0">
              <a:ea typeface="MS Mincho" pitchFamily="49" charset="-128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76022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3D2EDA-9C12-6F0E-DFEF-FD1211F3C0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6F930E00-9983-ED11-47F4-4998034F1A2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14354">
              <a:lnSpc>
                <a:spcPct val="85000"/>
              </a:lnSpc>
              <a:defRPr/>
            </a:pPr>
            <a:r>
              <a:rPr lang="en-US" baseline="30000" dirty="0" err="1"/>
              <a:t>a</a:t>
            </a:r>
            <a:r>
              <a:rPr lang="en-US" dirty="0" err="1"/>
              <a:t>If</a:t>
            </a:r>
            <a:r>
              <a:rPr lang="en-US" dirty="0"/>
              <a:t> VES is well tolerated at 6 mg, participants can be dosed at 8 mg from the third dose onward with close monitoring.</a:t>
            </a:r>
          </a:p>
          <a:p>
            <a:pPr defTabSz="914354">
              <a:lnSpc>
                <a:spcPct val="85000"/>
              </a:lnSpc>
              <a:defRPr/>
            </a:pPr>
            <a:r>
              <a:rPr lang="en-US" b="1" dirty="0"/>
              <a:t>ADA, </a:t>
            </a:r>
            <a:r>
              <a:rPr lang="en-US" dirty="0"/>
              <a:t>antidrug antibodies</a:t>
            </a:r>
            <a:r>
              <a:rPr lang="en-US" b="1" dirty="0"/>
              <a:t>; AE, </a:t>
            </a:r>
            <a:r>
              <a:rPr lang="en-US" dirty="0"/>
              <a:t>adverse event; </a:t>
            </a:r>
            <a:r>
              <a:rPr lang="en-US" b="1" dirty="0"/>
              <a:t>ART</a:t>
            </a:r>
            <a:r>
              <a:rPr lang="en-US" dirty="0"/>
              <a:t>, antiretroviral therapy; </a:t>
            </a:r>
            <a:r>
              <a:rPr lang="en-US" b="1" dirty="0"/>
              <a:t>ATI</a:t>
            </a:r>
            <a:r>
              <a:rPr lang="en-US" dirty="0"/>
              <a:t>, analytical treatment interruption; </a:t>
            </a:r>
            <a:r>
              <a:rPr lang="en-US" b="1" dirty="0"/>
              <a:t>bNAb</a:t>
            </a:r>
            <a:r>
              <a:rPr lang="en-US" dirty="0"/>
              <a:t>, broadly neutralizing antibody; </a:t>
            </a:r>
            <a:r>
              <a:rPr lang="en-US" b="1" dirty="0"/>
              <a:t>FRESH</a:t>
            </a:r>
            <a:r>
              <a:rPr lang="en-US" dirty="0"/>
              <a:t>, Females Rising through Education, Support, and Health; </a:t>
            </a:r>
            <a:r>
              <a:rPr lang="en-US" b="1" dirty="0"/>
              <a:t>PK</a:t>
            </a:r>
            <a:r>
              <a:rPr lang="en-US" dirty="0"/>
              <a:t>, pharmacokinetics; </a:t>
            </a:r>
            <a:r>
              <a:rPr lang="en-US" b="1" dirty="0"/>
              <a:t>VES</a:t>
            </a:r>
            <a:r>
              <a:rPr lang="en-US" dirty="0"/>
              <a:t>, vesatolimod.</a:t>
            </a:r>
            <a:br>
              <a:rPr lang="en-US" dirty="0"/>
            </a:br>
            <a:r>
              <a:rPr lang="en-US" dirty="0"/>
              <a:t>NCT05281510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7B0A33-5DCC-7C16-0722-C62F3EC45F0F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noFill/>
        </p:spPr>
        <p:txBody>
          <a:bodyPr vert="horz" lIns="0" tIns="0" rIns="0" bIns="0" rtlCol="0" anchor="ctr"/>
          <a:lstStyle/>
          <a:p>
            <a:fld id="{4BEAA09E-D67E-864E-8466-C38E88600C4F}" type="slidenum">
              <a:rPr lang="en-US"/>
              <a:pPr/>
              <a:t>8</a:t>
            </a:fld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F00030E-F86E-9734-29D5-3AF17A434B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r>
              <a:rPr lang="en-US" sz="3200"/>
              <a:t>Single-Arm, Open-Label, Phase 2a Study</a:t>
            </a:r>
            <a:endParaRPr lang="en-US" sz="3200">
              <a:solidFill>
                <a:schemeClr val="tx1"/>
              </a:solidFill>
            </a:endParaRPr>
          </a:p>
        </p:txBody>
      </p:sp>
      <p:cxnSp>
        <p:nvCxnSpPr>
          <p:cNvPr id="240" name="Straight Connector 8">
            <a:extLst>
              <a:ext uri="{FF2B5EF4-FFF2-40B4-BE49-F238E27FC236}">
                <a16:creationId xmlns:a16="http://schemas.microsoft.com/office/drawing/2014/main" id="{40E42A16-A06C-1BA9-420A-0E7867E70905}"/>
              </a:ext>
            </a:extLst>
          </p:cNvPr>
          <p:cNvCxnSpPr>
            <a:cxnSpLocks noChangeShapeType="1"/>
            <a:endCxn id="177" idx="1"/>
          </p:cNvCxnSpPr>
          <p:nvPr/>
        </p:nvCxnSpPr>
        <p:spPr bwMode="auto">
          <a:xfrm flipV="1">
            <a:off x="4190100" y="2646991"/>
            <a:ext cx="1005742" cy="2226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9" name="Straight Connector 8">
            <a:extLst>
              <a:ext uri="{FF2B5EF4-FFF2-40B4-BE49-F238E27FC236}">
                <a16:creationId xmlns:a16="http://schemas.microsoft.com/office/drawing/2014/main" id="{CA487CE8-072C-56E8-DB94-06E8DC5219BB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9051467" y="2654489"/>
            <a:ext cx="255099" cy="2152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6" name="Straight Connector 8">
            <a:extLst>
              <a:ext uri="{FF2B5EF4-FFF2-40B4-BE49-F238E27FC236}">
                <a16:creationId xmlns:a16="http://schemas.microsoft.com/office/drawing/2014/main" id="{3803A94D-4AA1-5D18-F51F-3E8A180E647F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6224990" y="2655441"/>
            <a:ext cx="153607" cy="248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5" name="Rectangle 254">
            <a:extLst>
              <a:ext uri="{FF2B5EF4-FFF2-40B4-BE49-F238E27FC236}">
                <a16:creationId xmlns:a16="http://schemas.microsoft.com/office/drawing/2014/main" id="{F0A5A7CE-6B02-891A-E442-D1D2075F21DC}"/>
              </a:ext>
            </a:extLst>
          </p:cNvPr>
          <p:cNvSpPr/>
          <p:nvPr/>
        </p:nvSpPr>
        <p:spPr bwMode="auto">
          <a:xfrm>
            <a:off x="6661338" y="2045420"/>
            <a:ext cx="28405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4532">
              <a:spcBef>
                <a:spcPct val="50000"/>
              </a:spcBef>
              <a:defRPr/>
            </a:pPr>
            <a:r>
              <a:rPr lang="en-US" altLang="en-US" sz="1400" b="1" kern="0">
                <a:solidFill>
                  <a:srgbClr val="FFFFFF"/>
                </a:solidFill>
                <a:ea typeface="MS PGothic" pitchFamily="34" charset="-128"/>
                <a:cs typeface="Arial" charset="0"/>
              </a:rPr>
              <a:t>6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46769C4-9786-ABD9-0E1D-E0CD84008664}"/>
              </a:ext>
            </a:extLst>
          </p:cNvPr>
          <p:cNvSpPr/>
          <p:nvPr/>
        </p:nvSpPr>
        <p:spPr bwMode="auto">
          <a:xfrm>
            <a:off x="4310431" y="2249061"/>
            <a:ext cx="885411" cy="399959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lIns="91440" tIns="60885" rIns="91440" bIns="60885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400" b="1" kern="0">
                <a:solidFill>
                  <a:srgbClr val="FFFFFF"/>
                </a:solidFill>
                <a:ea typeface="MS Mincho" pitchFamily="49" charset="-128"/>
                <a:cs typeface="Calibri" panose="020F0502020204030204" pitchFamily="34" charset="0"/>
              </a:rPr>
              <a:t>VES</a:t>
            </a:r>
          </a:p>
        </p:txBody>
      </p:sp>
      <p:cxnSp>
        <p:nvCxnSpPr>
          <p:cNvPr id="174" name="Straight Connector 8">
            <a:extLst>
              <a:ext uri="{FF2B5EF4-FFF2-40B4-BE49-F238E27FC236}">
                <a16:creationId xmlns:a16="http://schemas.microsoft.com/office/drawing/2014/main" id="{3C7C236E-FDBD-C346-D7A2-E729DBE8A765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0091140" y="2653883"/>
            <a:ext cx="266667" cy="336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5" name="Rectangle 174">
            <a:extLst>
              <a:ext uri="{FF2B5EF4-FFF2-40B4-BE49-F238E27FC236}">
                <a16:creationId xmlns:a16="http://schemas.microsoft.com/office/drawing/2014/main" id="{C0341DE2-8A0A-ED82-FD68-357FE763A5A9}"/>
              </a:ext>
            </a:extLst>
          </p:cNvPr>
          <p:cNvSpPr/>
          <p:nvPr/>
        </p:nvSpPr>
        <p:spPr bwMode="auto">
          <a:xfrm>
            <a:off x="6363353" y="2250455"/>
            <a:ext cx="2698433" cy="803475"/>
          </a:xfrm>
          <a:prstGeom prst="rect">
            <a:avLst/>
          </a:prstGeom>
          <a:solidFill>
            <a:srgbClr val="55A2A8"/>
          </a:solidFill>
          <a:ln w="9525" cap="flat" cmpd="sng" algn="ctr">
            <a:noFill/>
            <a:prstDash val="solid"/>
          </a:ln>
          <a:effectLst/>
        </p:spPr>
        <p:txBody>
          <a:bodyPr lIns="0" tIns="60952" rIns="0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endParaRPr lang="en-US" sz="1400" b="1" kern="0" dirty="0">
              <a:solidFill>
                <a:srgbClr val="FFFFFF"/>
              </a:solidFill>
              <a:ea typeface="MS Mincho" pitchFamily="49" charset="-128"/>
              <a:cs typeface="Calibri" panose="020F0502020204030204" pitchFamily="34" charset="0"/>
            </a:endParaRPr>
          </a:p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600" b="1" kern="0" dirty="0">
                <a:solidFill>
                  <a:srgbClr val="FFFFFF"/>
                </a:solidFill>
                <a:ea typeface="MS Mincho" pitchFamily="49" charset="-128"/>
                <a:cs typeface="Calibri" panose="020F0502020204030204" pitchFamily="34" charset="0"/>
              </a:rPr>
              <a:t> </a:t>
            </a:r>
            <a:r>
              <a:rPr lang="en-US" sz="1600" b="1" kern="0" dirty="0">
                <a:ea typeface="MS Mincho" pitchFamily="49" charset="-128"/>
                <a:cs typeface="Calibri" panose="020F0502020204030204" pitchFamily="34" charset="0"/>
              </a:rPr>
              <a:t>ATI + VES/bNAb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1CE7E17B-3FD4-C8DD-A7FE-C2A44C72A83A}"/>
              </a:ext>
            </a:extLst>
          </p:cNvPr>
          <p:cNvSpPr/>
          <p:nvPr/>
        </p:nvSpPr>
        <p:spPr bwMode="auto">
          <a:xfrm>
            <a:off x="5195842" y="2247282"/>
            <a:ext cx="1029148" cy="799417"/>
          </a:xfrm>
          <a:prstGeom prst="rect">
            <a:avLst/>
          </a:prstGeom>
          <a:solidFill>
            <a:srgbClr val="D1E6E8">
              <a:alpha val="70196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121904" tIns="60952" rIns="121904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SzPct val="120000"/>
              <a:defRPr/>
            </a:pPr>
            <a:endParaRPr lang="en-US" sz="1400" b="1" kern="0">
              <a:solidFill>
                <a:srgbClr val="54565B"/>
              </a:solidFill>
              <a:ea typeface="MS Mincho" pitchFamily="49" charset="-128"/>
              <a:cs typeface="Calibri" panose="020F0502020204030204" pitchFamily="34" charset="0"/>
            </a:endParaRPr>
          </a:p>
        </p:txBody>
      </p:sp>
      <p:sp>
        <p:nvSpPr>
          <p:cNvPr id="178" name="Isosceles Triangle 1">
            <a:extLst>
              <a:ext uri="{FF2B5EF4-FFF2-40B4-BE49-F238E27FC236}">
                <a16:creationId xmlns:a16="http://schemas.microsoft.com/office/drawing/2014/main" id="{735916C1-1C75-BAE5-C9EA-6AB52398A10E}"/>
              </a:ext>
            </a:extLst>
          </p:cNvPr>
          <p:cNvSpPr>
            <a:spLocks/>
          </p:cNvSpPr>
          <p:nvPr/>
        </p:nvSpPr>
        <p:spPr>
          <a:xfrm>
            <a:off x="5264284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grpSp>
        <p:nvGrpSpPr>
          <p:cNvPr id="181" name="Shape1_20221019_175024">
            <a:extLst>
              <a:ext uri="{FF2B5EF4-FFF2-40B4-BE49-F238E27FC236}">
                <a16:creationId xmlns:a16="http://schemas.microsoft.com/office/drawing/2014/main" id="{F1BC747D-4957-38C0-4435-38BE490CCCC7}"/>
              </a:ext>
            </a:extLst>
          </p:cNvPr>
          <p:cNvGrpSpPr/>
          <p:nvPr/>
        </p:nvGrpSpPr>
        <p:grpSpPr>
          <a:xfrm rot="10800000" flipV="1">
            <a:off x="6437654" y="2040835"/>
            <a:ext cx="2613815" cy="68580"/>
            <a:chOff x="3229199" y="1524677"/>
            <a:chExt cx="4480560" cy="91440"/>
          </a:xfrm>
        </p:grpSpPr>
        <p:sp>
          <p:nvSpPr>
            <p:cNvPr id="182" name="Freeform 28">
              <a:extLst>
                <a:ext uri="{FF2B5EF4-FFF2-40B4-BE49-F238E27FC236}">
                  <a16:creationId xmlns:a16="http://schemas.microsoft.com/office/drawing/2014/main" id="{2B51C704-111B-35D5-C77D-F4F8B33CC7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919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3" name="Freeform 28">
              <a:extLst>
                <a:ext uri="{FF2B5EF4-FFF2-40B4-BE49-F238E27FC236}">
                  <a16:creationId xmlns:a16="http://schemas.microsoft.com/office/drawing/2014/main" id="{9AA90212-4231-E925-171D-86F871C54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927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4" name="Freeform 28">
              <a:extLst>
                <a:ext uri="{FF2B5EF4-FFF2-40B4-BE49-F238E27FC236}">
                  <a16:creationId xmlns:a16="http://schemas.microsoft.com/office/drawing/2014/main" id="{5945E5DF-16B2-4858-3EEA-6F353FB76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35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5" name="Freeform 28">
              <a:extLst>
                <a:ext uri="{FF2B5EF4-FFF2-40B4-BE49-F238E27FC236}">
                  <a16:creationId xmlns:a16="http://schemas.microsoft.com/office/drawing/2014/main" id="{22DA0AC7-31B9-C916-FFF1-C5F49EF38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943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6" name="Freeform 28">
              <a:extLst>
                <a:ext uri="{FF2B5EF4-FFF2-40B4-BE49-F238E27FC236}">
                  <a16:creationId xmlns:a16="http://schemas.microsoft.com/office/drawing/2014/main" id="{C93CE0F8-B574-85BD-7E5B-51DA8B9CF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51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7" name="Freeform 28">
              <a:extLst>
                <a:ext uri="{FF2B5EF4-FFF2-40B4-BE49-F238E27FC236}">
                  <a16:creationId xmlns:a16="http://schemas.microsoft.com/office/drawing/2014/main" id="{7FF6C725-1B16-B9CA-E043-792CF22E93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59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8" name="Freeform 28">
              <a:extLst>
                <a:ext uri="{FF2B5EF4-FFF2-40B4-BE49-F238E27FC236}">
                  <a16:creationId xmlns:a16="http://schemas.microsoft.com/office/drawing/2014/main" id="{782D88F6-81F9-74CB-4AA3-215642AEB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967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</p:grpSp>
      <p:sp>
        <p:nvSpPr>
          <p:cNvPr id="190" name="Text Box 19">
            <a:extLst>
              <a:ext uri="{FF2B5EF4-FFF2-40B4-BE49-F238E27FC236}">
                <a16:creationId xmlns:a16="http://schemas.microsoft.com/office/drawing/2014/main" id="{3C6DECCF-1734-2E87-7E1E-F033F20B1D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3075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2</a:t>
            </a:r>
          </a:p>
        </p:txBody>
      </p:sp>
      <p:sp>
        <p:nvSpPr>
          <p:cNvPr id="192" name="Text Box 19">
            <a:extLst>
              <a:ext uri="{FF2B5EF4-FFF2-40B4-BE49-F238E27FC236}">
                <a16:creationId xmlns:a16="http://schemas.microsoft.com/office/drawing/2014/main" id="{ACADE63E-D6D7-6F7C-4D6B-E12CA0E75F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76491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6</a:t>
            </a:r>
          </a:p>
        </p:txBody>
      </p:sp>
      <p:sp>
        <p:nvSpPr>
          <p:cNvPr id="193" name="Text Box 23">
            <a:extLst>
              <a:ext uri="{FF2B5EF4-FFF2-40B4-BE49-F238E27FC236}">
                <a16:creationId xmlns:a16="http://schemas.microsoft.com/office/drawing/2014/main" id="{9CF7D5D2-CB03-10EC-AE8A-97F548C012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51602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8</a:t>
            </a:r>
          </a:p>
        </p:txBody>
      </p:sp>
      <p:sp>
        <p:nvSpPr>
          <p:cNvPr id="194" name="Text Box 19">
            <a:extLst>
              <a:ext uri="{FF2B5EF4-FFF2-40B4-BE49-F238E27FC236}">
                <a16:creationId xmlns:a16="http://schemas.microsoft.com/office/drawing/2014/main" id="{C56DBEFF-4084-815E-6F76-C8426157B7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20749" y="1773509"/>
            <a:ext cx="257289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12</a:t>
            </a:r>
          </a:p>
        </p:txBody>
      </p:sp>
      <p:sp>
        <p:nvSpPr>
          <p:cNvPr id="195" name="Text Box 23">
            <a:extLst>
              <a:ext uri="{FF2B5EF4-FFF2-40B4-BE49-F238E27FC236}">
                <a16:creationId xmlns:a16="http://schemas.microsoft.com/office/drawing/2014/main" id="{252C9964-4860-B701-5221-FDF7070738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34386" y="1773509"/>
            <a:ext cx="282823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10</a:t>
            </a:r>
          </a:p>
        </p:txBody>
      </p:sp>
      <p:sp>
        <p:nvSpPr>
          <p:cNvPr id="199" name="Text Box 19">
            <a:extLst>
              <a:ext uri="{FF2B5EF4-FFF2-40B4-BE49-F238E27FC236}">
                <a16:creationId xmlns:a16="http://schemas.microsoft.com/office/drawing/2014/main" id="{25491EF2-7CB8-A565-901E-8208364DC8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6951" y="1773509"/>
            <a:ext cx="236403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20</a:t>
            </a:r>
          </a:p>
        </p:txBody>
      </p:sp>
      <p:sp>
        <p:nvSpPr>
          <p:cNvPr id="200" name="Shape2_20221019_175024">
            <a:extLst>
              <a:ext uri="{FF2B5EF4-FFF2-40B4-BE49-F238E27FC236}">
                <a16:creationId xmlns:a16="http://schemas.microsoft.com/office/drawing/2014/main" id="{5AEA8926-39EB-2137-0298-A23E479DE3AB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9316373" y="2040371"/>
            <a:ext cx="774767" cy="68580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grpSp>
        <p:nvGrpSpPr>
          <p:cNvPr id="201" name="Shape3_20221019_175024">
            <a:extLst>
              <a:ext uri="{FF2B5EF4-FFF2-40B4-BE49-F238E27FC236}">
                <a16:creationId xmlns:a16="http://schemas.microsoft.com/office/drawing/2014/main" id="{18904DA9-89A4-21B4-8BE5-32CB4CF4F7F5}"/>
              </a:ext>
            </a:extLst>
          </p:cNvPr>
          <p:cNvGrpSpPr/>
          <p:nvPr/>
        </p:nvGrpSpPr>
        <p:grpSpPr>
          <a:xfrm>
            <a:off x="9844164" y="2067645"/>
            <a:ext cx="96963" cy="64831"/>
            <a:chOff x="5307806" y="4907123"/>
            <a:chExt cx="134304" cy="86440"/>
          </a:xfrm>
        </p:grpSpPr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4FC08985-0D8C-CE64-D1E1-DC9D8D80C611}"/>
                </a:ext>
              </a:extLst>
            </p:cNvPr>
            <p:cNvCxnSpPr/>
            <p:nvPr/>
          </p:nvCxnSpPr>
          <p:spPr>
            <a:xfrm flipV="1">
              <a:off x="5307806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483F091D-29C4-7260-6F6D-F84C85B99AD9}"/>
                </a:ext>
              </a:extLst>
            </p:cNvPr>
            <p:cNvCxnSpPr/>
            <p:nvPr/>
          </p:nvCxnSpPr>
          <p:spPr>
            <a:xfrm flipV="1">
              <a:off x="5355670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4" name="Shape4_20221019_175024">
            <a:extLst>
              <a:ext uri="{FF2B5EF4-FFF2-40B4-BE49-F238E27FC236}">
                <a16:creationId xmlns:a16="http://schemas.microsoft.com/office/drawing/2014/main" id="{08EF1C28-2DBA-CA66-9668-F43D5A1E3EDF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5723184" y="2038234"/>
            <a:ext cx="373403" cy="76200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sp>
        <p:nvSpPr>
          <p:cNvPr id="205" name="Shape0_20221019_175024">
            <a:extLst>
              <a:ext uri="{FF2B5EF4-FFF2-40B4-BE49-F238E27FC236}">
                <a16:creationId xmlns:a16="http://schemas.microsoft.com/office/drawing/2014/main" id="{CC32C34A-F91F-04EF-E942-5EDD8EE7DB94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5349783" y="2038234"/>
            <a:ext cx="373403" cy="76200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sp>
        <p:nvSpPr>
          <p:cNvPr id="206" name="Text Box 19">
            <a:extLst>
              <a:ext uri="{FF2B5EF4-FFF2-40B4-BE49-F238E27FC236}">
                <a16:creationId xmlns:a16="http://schemas.microsoft.com/office/drawing/2014/main" id="{93635AB2-A18F-0DBB-EA36-E84BE43481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6473" y="1773509"/>
            <a:ext cx="317456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8</a:t>
            </a:r>
          </a:p>
        </p:txBody>
      </p:sp>
      <p:sp>
        <p:nvSpPr>
          <p:cNvPr id="207" name="Shape5_20221019_175024">
            <a:extLst>
              <a:ext uri="{FF2B5EF4-FFF2-40B4-BE49-F238E27FC236}">
                <a16:creationId xmlns:a16="http://schemas.microsoft.com/office/drawing/2014/main" id="{1528DB0D-94BF-E091-A5D3-BB122FB729FC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10367895" y="2040371"/>
            <a:ext cx="858544" cy="70479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sp>
        <p:nvSpPr>
          <p:cNvPr id="208" name="Text Box 19">
            <a:extLst>
              <a:ext uri="{FF2B5EF4-FFF2-40B4-BE49-F238E27FC236}">
                <a16:creationId xmlns:a16="http://schemas.microsoft.com/office/drawing/2014/main" id="{6A1A6EAD-5C2E-EFF2-30E2-79345C6AD2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61347" y="1773509"/>
            <a:ext cx="273011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60</a:t>
            </a:r>
          </a:p>
        </p:txBody>
      </p:sp>
      <p:grpSp>
        <p:nvGrpSpPr>
          <p:cNvPr id="211" name="Shape7_20221019_175024">
            <a:extLst>
              <a:ext uri="{FF2B5EF4-FFF2-40B4-BE49-F238E27FC236}">
                <a16:creationId xmlns:a16="http://schemas.microsoft.com/office/drawing/2014/main" id="{8B7F3C4A-C88E-DAC7-D589-2A0A989C17BC}"/>
              </a:ext>
            </a:extLst>
          </p:cNvPr>
          <p:cNvGrpSpPr/>
          <p:nvPr/>
        </p:nvGrpSpPr>
        <p:grpSpPr>
          <a:xfrm>
            <a:off x="10769865" y="2083245"/>
            <a:ext cx="96963" cy="64831"/>
            <a:chOff x="5307806" y="4907123"/>
            <a:chExt cx="134304" cy="86440"/>
          </a:xfrm>
        </p:grpSpPr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7E0EDC62-6D0B-BD92-DF21-07F8B22145FE}"/>
                </a:ext>
              </a:extLst>
            </p:cNvPr>
            <p:cNvCxnSpPr/>
            <p:nvPr/>
          </p:nvCxnSpPr>
          <p:spPr>
            <a:xfrm flipV="1">
              <a:off x="5307806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AEE35127-0D0A-0A79-B3E3-6BA1E01B5B13}"/>
                </a:ext>
              </a:extLst>
            </p:cNvPr>
            <p:cNvCxnSpPr/>
            <p:nvPr/>
          </p:nvCxnSpPr>
          <p:spPr>
            <a:xfrm flipV="1">
              <a:off x="5355670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4" name="Text Box 19">
            <a:extLst>
              <a:ext uri="{FF2B5EF4-FFF2-40B4-BE49-F238E27FC236}">
                <a16:creationId xmlns:a16="http://schemas.microsoft.com/office/drawing/2014/main" id="{7E1B6838-9AE5-B905-EF26-F911A267E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83102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0</a:t>
            </a:r>
          </a:p>
        </p:txBody>
      </p:sp>
      <p:sp>
        <p:nvSpPr>
          <p:cNvPr id="215" name="Text Box 23">
            <a:extLst>
              <a:ext uri="{FF2B5EF4-FFF2-40B4-BE49-F238E27FC236}">
                <a16:creationId xmlns:a16="http://schemas.microsoft.com/office/drawing/2014/main" id="{C40704C3-3021-7703-237D-B1DE48BEBB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795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</a:t>
            </a:r>
          </a:p>
        </p:txBody>
      </p:sp>
      <p:sp>
        <p:nvSpPr>
          <p:cNvPr id="217" name="Isosceles Triangle 1">
            <a:extLst>
              <a:ext uri="{FF2B5EF4-FFF2-40B4-BE49-F238E27FC236}">
                <a16:creationId xmlns:a16="http://schemas.microsoft.com/office/drawing/2014/main" id="{DCC4125C-CE76-109D-0DAF-0629A778C254}"/>
              </a:ext>
            </a:extLst>
          </p:cNvPr>
          <p:cNvSpPr>
            <a:spLocks/>
          </p:cNvSpPr>
          <p:nvPr/>
        </p:nvSpPr>
        <p:spPr>
          <a:xfrm>
            <a:off x="5656507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18" name="Isosceles Triangle 1">
            <a:extLst>
              <a:ext uri="{FF2B5EF4-FFF2-40B4-BE49-F238E27FC236}">
                <a16:creationId xmlns:a16="http://schemas.microsoft.com/office/drawing/2014/main" id="{680CC325-B526-B3A9-59F9-9BA8B5A84596}"/>
              </a:ext>
            </a:extLst>
          </p:cNvPr>
          <p:cNvSpPr>
            <a:spLocks noChangeAspect="1"/>
          </p:cNvSpPr>
          <p:nvPr/>
        </p:nvSpPr>
        <p:spPr>
          <a:xfrm>
            <a:off x="6009683" y="2373833"/>
            <a:ext cx="158440" cy="164592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19" name="Isosceles Triangle 1">
            <a:extLst>
              <a:ext uri="{FF2B5EF4-FFF2-40B4-BE49-F238E27FC236}">
                <a16:creationId xmlns:a16="http://schemas.microsoft.com/office/drawing/2014/main" id="{17FB4603-9265-B998-715D-01FF98904CEB}"/>
              </a:ext>
            </a:extLst>
          </p:cNvPr>
          <p:cNvSpPr>
            <a:spLocks/>
          </p:cNvSpPr>
          <p:nvPr/>
        </p:nvSpPr>
        <p:spPr>
          <a:xfrm>
            <a:off x="6363354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0" name="Isosceles Triangle 1">
            <a:extLst>
              <a:ext uri="{FF2B5EF4-FFF2-40B4-BE49-F238E27FC236}">
                <a16:creationId xmlns:a16="http://schemas.microsoft.com/office/drawing/2014/main" id="{8D08B38E-4D5F-4AE2-B4DD-15A6E4382F16}"/>
              </a:ext>
            </a:extLst>
          </p:cNvPr>
          <p:cNvSpPr>
            <a:spLocks/>
          </p:cNvSpPr>
          <p:nvPr/>
        </p:nvSpPr>
        <p:spPr>
          <a:xfrm>
            <a:off x="6743287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1" name="Isosceles Triangle 1">
            <a:extLst>
              <a:ext uri="{FF2B5EF4-FFF2-40B4-BE49-F238E27FC236}">
                <a16:creationId xmlns:a16="http://schemas.microsoft.com/office/drawing/2014/main" id="{D5F6DC95-2ECC-B062-EECD-381C7277095B}"/>
              </a:ext>
            </a:extLst>
          </p:cNvPr>
          <p:cNvSpPr>
            <a:spLocks/>
          </p:cNvSpPr>
          <p:nvPr/>
        </p:nvSpPr>
        <p:spPr>
          <a:xfrm>
            <a:off x="7135508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2" name="Isosceles Triangle 1">
            <a:extLst>
              <a:ext uri="{FF2B5EF4-FFF2-40B4-BE49-F238E27FC236}">
                <a16:creationId xmlns:a16="http://schemas.microsoft.com/office/drawing/2014/main" id="{885D69AA-2666-B46A-1E02-7062687BAE23}"/>
              </a:ext>
            </a:extLst>
          </p:cNvPr>
          <p:cNvSpPr>
            <a:spLocks/>
          </p:cNvSpPr>
          <p:nvPr/>
        </p:nvSpPr>
        <p:spPr>
          <a:xfrm>
            <a:off x="7500636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3" name="Isosceles Triangle 1">
            <a:extLst>
              <a:ext uri="{FF2B5EF4-FFF2-40B4-BE49-F238E27FC236}">
                <a16:creationId xmlns:a16="http://schemas.microsoft.com/office/drawing/2014/main" id="{6A7AFDF9-AE6F-07AF-2C1A-DD8E427DBBFF}"/>
              </a:ext>
            </a:extLst>
          </p:cNvPr>
          <p:cNvSpPr>
            <a:spLocks/>
          </p:cNvSpPr>
          <p:nvPr/>
        </p:nvSpPr>
        <p:spPr>
          <a:xfrm>
            <a:off x="7853808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4" name="Isosceles Triangle 1">
            <a:extLst>
              <a:ext uri="{FF2B5EF4-FFF2-40B4-BE49-F238E27FC236}">
                <a16:creationId xmlns:a16="http://schemas.microsoft.com/office/drawing/2014/main" id="{6FCDA45E-405E-2E3C-E851-E2B436BDCF92}"/>
              </a:ext>
            </a:extLst>
          </p:cNvPr>
          <p:cNvSpPr>
            <a:spLocks/>
          </p:cNvSpPr>
          <p:nvPr/>
        </p:nvSpPr>
        <p:spPr>
          <a:xfrm>
            <a:off x="8233399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5" name="Isosceles Triangle 1">
            <a:extLst>
              <a:ext uri="{FF2B5EF4-FFF2-40B4-BE49-F238E27FC236}">
                <a16:creationId xmlns:a16="http://schemas.microsoft.com/office/drawing/2014/main" id="{3453BE2E-EBB6-DD2A-07F4-C1BB942B7612}"/>
              </a:ext>
            </a:extLst>
          </p:cNvPr>
          <p:cNvSpPr>
            <a:spLocks/>
          </p:cNvSpPr>
          <p:nvPr/>
        </p:nvSpPr>
        <p:spPr>
          <a:xfrm>
            <a:off x="8586572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6" name="Text Box 19">
            <a:extLst>
              <a:ext uri="{FF2B5EF4-FFF2-40B4-BE49-F238E27FC236}">
                <a16:creationId xmlns:a16="http://schemas.microsoft.com/office/drawing/2014/main" id="{C8597B41-CF64-41B2-5A0C-236857020C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9025" y="1773509"/>
            <a:ext cx="335681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21</a:t>
            </a:r>
          </a:p>
        </p:txBody>
      </p:sp>
      <p:sp>
        <p:nvSpPr>
          <p:cNvPr id="227" name="Text Box 23">
            <a:extLst>
              <a:ext uri="{FF2B5EF4-FFF2-40B4-BE49-F238E27FC236}">
                <a16:creationId xmlns:a16="http://schemas.microsoft.com/office/drawing/2014/main" id="{4B365C0E-84ED-B0FE-61AA-B4290F7385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7812" y="1442137"/>
            <a:ext cx="69638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b="1" kern="0">
                <a:latin typeface="+mn-lt"/>
                <a:ea typeface="MS PGothic" pitchFamily="34" charset="-128"/>
                <a:cs typeface="Arial" charset="0"/>
              </a:rPr>
              <a:t>Week</a:t>
            </a:r>
          </a:p>
        </p:txBody>
      </p:sp>
      <p:sp>
        <p:nvSpPr>
          <p:cNvPr id="228" name="Text Box 19">
            <a:extLst>
              <a:ext uri="{FF2B5EF4-FFF2-40B4-BE49-F238E27FC236}">
                <a16:creationId xmlns:a16="http://schemas.microsoft.com/office/drawing/2014/main" id="{F5EDF7A2-58B2-9B42-EC11-ADF2C1C91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18124" y="1773509"/>
            <a:ext cx="278179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9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EB62488F-3A4B-5824-D1CB-58F565CA6D59}"/>
              </a:ext>
            </a:extLst>
          </p:cNvPr>
          <p:cNvSpPr/>
          <p:nvPr/>
        </p:nvSpPr>
        <p:spPr bwMode="auto">
          <a:xfrm>
            <a:off x="10357809" y="2240300"/>
            <a:ext cx="868631" cy="806401"/>
          </a:xfrm>
          <a:prstGeom prst="rect">
            <a:avLst/>
          </a:prstGeom>
          <a:solidFill>
            <a:srgbClr val="396C70"/>
          </a:solidFill>
          <a:ln w="9525" cap="flat" cmpd="sng" algn="ctr">
            <a:noFill/>
            <a:prstDash val="solid"/>
          </a:ln>
          <a:effectLst/>
        </p:spPr>
        <p:txBody>
          <a:bodyPr lIns="0" tIns="60952" rIns="0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600" b="1" kern="0">
                <a:solidFill>
                  <a:schemeClr val="bg1"/>
                </a:solidFill>
                <a:ea typeface="MS Mincho" pitchFamily="49" charset="-128"/>
                <a:cs typeface="Calibri" panose="020F0502020204030204" pitchFamily="34" charset="0"/>
              </a:rPr>
              <a:t>Optional ATI</a:t>
            </a:r>
          </a:p>
        </p:txBody>
      </p:sp>
      <p:grpSp>
        <p:nvGrpSpPr>
          <p:cNvPr id="232" name="Shape9_20221019_175024">
            <a:extLst>
              <a:ext uri="{FF2B5EF4-FFF2-40B4-BE49-F238E27FC236}">
                <a16:creationId xmlns:a16="http://schemas.microsoft.com/office/drawing/2014/main" id="{E3CED70B-F87F-5E77-4910-03FDC4EC64EC}"/>
              </a:ext>
            </a:extLst>
          </p:cNvPr>
          <p:cNvGrpSpPr/>
          <p:nvPr/>
        </p:nvGrpSpPr>
        <p:grpSpPr>
          <a:xfrm>
            <a:off x="9465177" y="2067645"/>
            <a:ext cx="96963" cy="64831"/>
            <a:chOff x="5307806" y="4907123"/>
            <a:chExt cx="134304" cy="86440"/>
          </a:xfrm>
        </p:grpSpPr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9C866C88-A84F-5004-FF91-FC678F0800EC}"/>
                </a:ext>
              </a:extLst>
            </p:cNvPr>
            <p:cNvCxnSpPr/>
            <p:nvPr/>
          </p:nvCxnSpPr>
          <p:spPr>
            <a:xfrm flipV="1">
              <a:off x="5307806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3C28C552-3B59-74C3-1346-9ED2A9D4CC0D}"/>
                </a:ext>
              </a:extLst>
            </p:cNvPr>
            <p:cNvCxnSpPr/>
            <p:nvPr/>
          </p:nvCxnSpPr>
          <p:spPr>
            <a:xfrm flipV="1">
              <a:off x="5355670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5" name="Text Box 19">
            <a:extLst>
              <a:ext uri="{FF2B5EF4-FFF2-40B4-BE49-F238E27FC236}">
                <a16:creationId xmlns:a16="http://schemas.microsoft.com/office/drawing/2014/main" id="{4603FAEE-5F54-F1FA-C98F-614BDA0ADC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05401" y="1788193"/>
            <a:ext cx="378947" cy="1552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0</a:t>
            </a:r>
            <a:endParaRPr lang="en-US" altLang="en-US" sz="1400" kern="0" baseline="30000">
              <a:latin typeface="+mn-lt"/>
              <a:ea typeface="MS PGothic" pitchFamily="34" charset="-128"/>
              <a:cs typeface="Arial" charset="0"/>
            </a:endParaRP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658F774C-BF00-7E9E-FDA8-930F3647378F}"/>
              </a:ext>
            </a:extLst>
          </p:cNvPr>
          <p:cNvSpPr txBox="1"/>
          <p:nvPr/>
        </p:nvSpPr>
        <p:spPr>
          <a:xfrm>
            <a:off x="5363229" y="3062072"/>
            <a:ext cx="762599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GB" sz="1400" b="1"/>
              <a:t>Period 1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FF2622BB-1716-F29D-2A9B-4C09C5F952D2}"/>
              </a:ext>
            </a:extLst>
          </p:cNvPr>
          <p:cNvSpPr txBox="1"/>
          <p:nvPr/>
        </p:nvSpPr>
        <p:spPr>
          <a:xfrm>
            <a:off x="7284662" y="3062072"/>
            <a:ext cx="762599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GB" sz="1400" b="1"/>
              <a:t>Period 2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9D756453-062C-8BD3-629A-41139266FC49}"/>
              </a:ext>
            </a:extLst>
          </p:cNvPr>
          <p:cNvSpPr txBox="1"/>
          <p:nvPr/>
        </p:nvSpPr>
        <p:spPr>
          <a:xfrm>
            <a:off x="9322193" y="3062072"/>
            <a:ext cx="762599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GB" sz="1400" b="1"/>
              <a:t>Period 3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8A1E46A3-F994-0014-050E-5A22044769C9}"/>
              </a:ext>
            </a:extLst>
          </p:cNvPr>
          <p:cNvSpPr txBox="1"/>
          <p:nvPr/>
        </p:nvSpPr>
        <p:spPr>
          <a:xfrm>
            <a:off x="10410824" y="3062072"/>
            <a:ext cx="762599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GB" sz="1400" b="1"/>
              <a:t>Period 4</a:t>
            </a: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69E8CBAF-79C6-6613-6DF1-EC5A8FF7A072}"/>
              </a:ext>
            </a:extLst>
          </p:cNvPr>
          <p:cNvSpPr>
            <a:spLocks/>
          </p:cNvSpPr>
          <p:nvPr/>
        </p:nvSpPr>
        <p:spPr bwMode="auto">
          <a:xfrm>
            <a:off x="2699083" y="2249061"/>
            <a:ext cx="1499616" cy="801695"/>
          </a:xfrm>
          <a:prstGeom prst="rect">
            <a:avLst/>
          </a:prstGeom>
          <a:solidFill>
            <a:srgbClr val="688C38">
              <a:alpha val="74902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0" tIns="60952" rIns="0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400" b="1" kern="0">
                <a:ea typeface="MS Mincho" pitchFamily="49" charset="-128"/>
                <a:cs typeface="Calibri" panose="020F0502020204030204" pitchFamily="34" charset="0"/>
              </a:rPr>
              <a:t>Screening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CB35A875-7045-BBCA-6CB2-A9D7FFB92FFF}"/>
              </a:ext>
            </a:extLst>
          </p:cNvPr>
          <p:cNvSpPr txBox="1"/>
          <p:nvPr/>
        </p:nvSpPr>
        <p:spPr>
          <a:xfrm>
            <a:off x="2689561" y="1851285"/>
            <a:ext cx="1498600" cy="26161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GB" sz="1400"/>
              <a:t>≤ 35 days</a:t>
            </a:r>
          </a:p>
        </p:txBody>
      </p:sp>
      <p:sp>
        <p:nvSpPr>
          <p:cNvPr id="245" name="Shape10_20221019_175024">
            <a:extLst>
              <a:ext uri="{FF2B5EF4-FFF2-40B4-BE49-F238E27FC236}">
                <a16:creationId xmlns:a16="http://schemas.microsoft.com/office/drawing/2014/main" id="{5A7C694D-14DD-CD9F-BE45-11EDB6CA8B5F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2697450" y="2094125"/>
            <a:ext cx="1492929" cy="57855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A0DA4DF-7349-FB71-E171-8FA5EEF7693F}"/>
              </a:ext>
            </a:extLst>
          </p:cNvPr>
          <p:cNvGrpSpPr/>
          <p:nvPr/>
        </p:nvGrpSpPr>
        <p:grpSpPr>
          <a:xfrm>
            <a:off x="5744529" y="1242395"/>
            <a:ext cx="1137139" cy="1021405"/>
            <a:chOff x="5744529" y="1242395"/>
            <a:chExt cx="1137139" cy="1021405"/>
          </a:xfrm>
        </p:grpSpPr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C1F3CC9D-B922-FD4D-B184-79F6766AED8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89509" y="1544165"/>
              <a:ext cx="2655" cy="719635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342CAD9-EC59-F848-AB28-DD35B2BB55F9}"/>
                </a:ext>
              </a:extLst>
            </p:cNvPr>
            <p:cNvSpPr txBox="1"/>
            <p:nvPr/>
          </p:nvSpPr>
          <p:spPr>
            <a:xfrm>
              <a:off x="5744529" y="1242395"/>
              <a:ext cx="1137139" cy="27082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r>
                <a:rPr lang="en-US" sz="1600" b="1" dirty="0">
                  <a:solidFill>
                    <a:schemeClr val="accent1"/>
                  </a:solidFill>
                </a:rPr>
                <a:t>ART stop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69BAAF8-0715-24A9-068C-AEC3A9B87CB6}"/>
              </a:ext>
            </a:extLst>
          </p:cNvPr>
          <p:cNvGrpSpPr/>
          <p:nvPr/>
        </p:nvGrpSpPr>
        <p:grpSpPr>
          <a:xfrm>
            <a:off x="528656" y="3409769"/>
            <a:ext cx="1145180" cy="305708"/>
            <a:chOff x="1617725" y="2801293"/>
            <a:chExt cx="858885" cy="229281"/>
          </a:xfrm>
        </p:grpSpPr>
        <p:sp>
          <p:nvSpPr>
            <p:cNvPr id="21" name="Isosceles Triangle 1">
              <a:extLst>
                <a:ext uri="{FF2B5EF4-FFF2-40B4-BE49-F238E27FC236}">
                  <a16:creationId xmlns:a16="http://schemas.microsoft.com/office/drawing/2014/main" id="{937FF5B5-A624-C825-838B-31E4FAC82400}"/>
                </a:ext>
              </a:extLst>
            </p:cNvPr>
            <p:cNvSpPr>
              <a:spLocks/>
            </p:cNvSpPr>
            <p:nvPr/>
          </p:nvSpPr>
          <p:spPr>
            <a:xfrm>
              <a:off x="1617725" y="2836587"/>
              <a:ext cx="132034" cy="137160"/>
            </a:xfrm>
            <a:prstGeom prst="triangl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169">
                <a:defRPr/>
              </a:pPr>
              <a:endParaRPr lang="en-US" sz="1400" kern="0">
                <a:solidFill>
                  <a:srgbClr val="54565B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F1836F9D-346F-0CF8-7FE3-0A7CB156670C}"/>
                </a:ext>
              </a:extLst>
            </p:cNvPr>
            <p:cNvSpPr txBox="1"/>
            <p:nvPr/>
          </p:nvSpPr>
          <p:spPr>
            <a:xfrm>
              <a:off x="1806027" y="2801293"/>
              <a:ext cx="670583" cy="22928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defRPr/>
              </a:pPr>
              <a:r>
                <a:rPr lang="en-US" sz="1400">
                  <a:cs typeface="Arial" panose="020B0604020202020204" pitchFamily="34" charset="0"/>
                </a:rPr>
                <a:t>VES (oral)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9C61950-B917-A120-8A04-57385EE464FF}"/>
              </a:ext>
            </a:extLst>
          </p:cNvPr>
          <p:cNvGrpSpPr/>
          <p:nvPr/>
        </p:nvGrpSpPr>
        <p:grpSpPr>
          <a:xfrm>
            <a:off x="1795264" y="3427830"/>
            <a:ext cx="4114621" cy="269585"/>
            <a:chOff x="768486" y="3169475"/>
            <a:chExt cx="3085966" cy="202189"/>
          </a:xfrm>
        </p:grpSpPr>
        <p:sp>
          <p:nvSpPr>
            <p:cNvPr id="19" name="Isosceles Triangle 1">
              <a:extLst>
                <a:ext uri="{FF2B5EF4-FFF2-40B4-BE49-F238E27FC236}">
                  <a16:creationId xmlns:a16="http://schemas.microsoft.com/office/drawing/2014/main" id="{43FDCBA7-269F-38CD-8379-CAA3D7E8B4E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8486" y="3211738"/>
              <a:ext cx="106948" cy="111100"/>
            </a:xfrm>
            <a:prstGeom prst="triangle">
              <a:avLst/>
            </a:prstGeom>
            <a:solidFill>
              <a:schemeClr val="accent2"/>
            </a:solidFill>
            <a:ln w="25400" cap="flat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169">
                <a:defRPr/>
              </a:pPr>
              <a:endParaRPr lang="en-US" sz="1400" kern="0">
                <a:solidFill>
                  <a:srgbClr val="54565B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ED93044-774A-C280-3599-67F64A8E6469}"/>
                </a:ext>
              </a:extLst>
            </p:cNvPr>
            <p:cNvSpPr txBox="1"/>
            <p:nvPr/>
          </p:nvSpPr>
          <p:spPr>
            <a:xfrm>
              <a:off x="974091" y="3169475"/>
              <a:ext cx="2880361" cy="20218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defRPr/>
              </a:pPr>
              <a:r>
                <a:rPr lang="en-US" sz="1400">
                  <a:cs typeface="Arial" panose="020B0604020202020204" pitchFamily="34" charset="0"/>
                </a:rPr>
                <a:t>Possible VES dose </a:t>
              </a:r>
              <a:r>
                <a:rPr lang="en-US" sz="1400" err="1">
                  <a:cs typeface="Arial" panose="020B0604020202020204" pitchFamily="34" charset="0"/>
                </a:rPr>
                <a:t>escalation</a:t>
              </a:r>
              <a:r>
                <a:rPr lang="en-US" sz="1400" baseline="30000" err="1">
                  <a:cs typeface="Arial" panose="020B0604020202020204" pitchFamily="34" charset="0"/>
                </a:rPr>
                <a:t>a</a:t>
              </a:r>
              <a:r>
                <a:rPr lang="en-US" sz="1400">
                  <a:cs typeface="Arial" panose="020B0604020202020204" pitchFamily="34" charset="0"/>
                </a:rPr>
                <a:t> from 6 to 8 mg </a:t>
              </a: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B96E7C7-629B-C2A0-7453-6D133677B70B}"/>
              </a:ext>
            </a:extLst>
          </p:cNvPr>
          <p:cNvCxnSpPr>
            <a:cxnSpLocks/>
          </p:cNvCxnSpPr>
          <p:nvPr/>
        </p:nvCxnSpPr>
        <p:spPr>
          <a:xfrm flipV="1">
            <a:off x="9694874" y="2045420"/>
            <a:ext cx="0" cy="63531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BD1053E8-455F-5BB7-B65F-5A9B1F44E401}"/>
              </a:ext>
            </a:extLst>
          </p:cNvPr>
          <p:cNvSpPr/>
          <p:nvPr/>
        </p:nvSpPr>
        <p:spPr bwMode="auto">
          <a:xfrm>
            <a:off x="4310431" y="2647623"/>
            <a:ext cx="885411" cy="399959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lIns="91440" tIns="60885" rIns="91440" bIns="60885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400" b="1" kern="0" dirty="0">
                <a:ea typeface="MS Mincho" pitchFamily="49" charset="-128"/>
                <a:cs typeface="Calibri" panose="020F0502020204030204" pitchFamily="34" charset="0"/>
              </a:rPr>
              <a:t>bNAbs</a:t>
            </a:r>
          </a:p>
        </p:txBody>
      </p:sp>
      <p:sp>
        <p:nvSpPr>
          <p:cNvPr id="5" name="Isosceles Triangle 1">
            <a:extLst>
              <a:ext uri="{FF2B5EF4-FFF2-40B4-BE49-F238E27FC236}">
                <a16:creationId xmlns:a16="http://schemas.microsoft.com/office/drawing/2014/main" id="{8F13865E-E396-9EE4-FF38-7CF3ADD84E27}"/>
              </a:ext>
            </a:extLst>
          </p:cNvPr>
          <p:cNvSpPr>
            <a:spLocks/>
          </p:cNvSpPr>
          <p:nvPr/>
        </p:nvSpPr>
        <p:spPr>
          <a:xfrm rot="10800000">
            <a:off x="5436168" y="2806053"/>
            <a:ext cx="176045" cy="182880"/>
          </a:xfrm>
          <a:prstGeom prst="triangl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46BD63A-881D-DA51-54EB-90378262E4CF}"/>
              </a:ext>
            </a:extLst>
          </p:cNvPr>
          <p:cNvGrpSpPr/>
          <p:nvPr/>
        </p:nvGrpSpPr>
        <p:grpSpPr>
          <a:xfrm>
            <a:off x="5847432" y="3425090"/>
            <a:ext cx="6201164" cy="276999"/>
            <a:chOff x="3663697" y="3003694"/>
            <a:chExt cx="4650873" cy="207749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C2B0430-C753-F7D9-FF41-6A087BC066A5}"/>
                </a:ext>
              </a:extLst>
            </p:cNvPr>
            <p:cNvSpPr txBox="1"/>
            <p:nvPr/>
          </p:nvSpPr>
          <p:spPr>
            <a:xfrm>
              <a:off x="3844800" y="3003694"/>
              <a:ext cx="4469770" cy="20774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defRPr/>
              </a:pPr>
              <a:r>
                <a:rPr lang="en-US" sz="1400" dirty="0">
                  <a:cs typeface="Arial" panose="020B0604020202020204" pitchFamily="34" charset="0"/>
                </a:rPr>
                <a:t>bNAbs: VRC07-523LS + CAP256V2LS (NIH) (</a:t>
              </a:r>
              <a:r>
                <a:rPr lang="en-GB" sz="1400" dirty="0">
                  <a:cs typeface="Arial" panose="020B0604020202020204" pitchFamily="34" charset="0"/>
                </a:rPr>
                <a:t>20 mg/kg IV each </a:t>
              </a:r>
              <a:r>
                <a:rPr lang="en-GB" sz="1400" dirty="0" err="1">
                  <a:cs typeface="Arial" panose="020B0604020202020204" pitchFamily="34" charset="0"/>
                </a:rPr>
                <a:t>bNAb</a:t>
              </a:r>
              <a:r>
                <a:rPr lang="en-GB" sz="1400" dirty="0">
                  <a:cs typeface="Arial" panose="020B0604020202020204" pitchFamily="34" charset="0"/>
                </a:rPr>
                <a:t>)</a:t>
              </a:r>
              <a:endParaRPr lang="en-US" sz="1400" dirty="0">
                <a:cs typeface="Arial" panose="020B0604020202020204" pitchFamily="34" charset="0"/>
              </a:endParaRPr>
            </a:p>
          </p:txBody>
        </p:sp>
        <p:sp>
          <p:nvSpPr>
            <p:cNvPr id="14" name="Isosceles Triangle 1">
              <a:extLst>
                <a:ext uri="{FF2B5EF4-FFF2-40B4-BE49-F238E27FC236}">
                  <a16:creationId xmlns:a16="http://schemas.microsoft.com/office/drawing/2014/main" id="{3BCD463F-2066-F052-6B6A-A3C7D5DD920D}"/>
                </a:ext>
              </a:extLst>
            </p:cNvPr>
            <p:cNvSpPr>
              <a:spLocks/>
            </p:cNvSpPr>
            <p:nvPr/>
          </p:nvSpPr>
          <p:spPr>
            <a:xfrm rot="10800000">
              <a:off x="3663697" y="3049150"/>
              <a:ext cx="132034" cy="137160"/>
            </a:xfrm>
            <a:prstGeom prst="triangle">
              <a:avLst/>
            </a:prstGeom>
            <a:solidFill>
              <a:schemeClr val="accent6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169">
                <a:defRPr/>
              </a:pPr>
              <a:endParaRPr lang="en-US" sz="1400" kern="0">
                <a:solidFill>
                  <a:srgbClr val="54565B"/>
                </a:solidFill>
              </a:endParaRPr>
            </a:p>
          </p:txBody>
        </p:sp>
      </p:grp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08E8F387-40F0-9AF3-B08C-40376A204B4B}"/>
              </a:ext>
            </a:extLst>
          </p:cNvPr>
          <p:cNvSpPr txBox="1">
            <a:spLocks/>
          </p:cNvSpPr>
          <p:nvPr/>
        </p:nvSpPr>
        <p:spPr bwMode="auto">
          <a:xfrm>
            <a:off x="528655" y="3814365"/>
            <a:ext cx="5486400" cy="938719"/>
          </a:xfrm>
          <a:prstGeom prst="rect">
            <a:avLst/>
          </a:prstGeom>
          <a:solidFill>
            <a:srgbClr val="E8F3F3"/>
          </a:solidFill>
          <a:ln>
            <a:noFill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spAutoFit/>
          </a:bodyPr>
          <a:lstStyle>
            <a:lvl1pPr marL="306910" indent="-306910" algn="l" defTabSz="912261" rtl="0" eaLnBrk="0" fontAlgn="base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15935" indent="-309026" algn="l" defTabSz="912261" rtl="0" eaLnBrk="0" fontAlgn="base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8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912261" indent="-296326" algn="l" defTabSz="912261" rtl="0" eaLnBrk="0" fontAlgn="base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219170" indent="-306910" algn="l" defTabSz="912261" rtl="0" eaLnBrk="0" fontAlgn="base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526079" indent="-306910" algn="l" defTabSz="912261" rtl="0" eaLnBrk="0" fontAlgn="base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2941" indent="-228450" algn="l" defTabSz="913798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842" indent="-228450" algn="l" defTabSz="913798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740" indent="-228450" algn="l" defTabSz="913798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638" indent="-228450" algn="l" defTabSz="913798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38" indent="0" algn="ctr" defTabSz="914377" eaLnBrk="1" hangingPunct="1">
              <a:spcBef>
                <a:spcPts val="0"/>
              </a:spcBef>
              <a:spcAft>
                <a:spcPts val="0"/>
              </a:spcAft>
              <a:buSzPct val="100000"/>
              <a:buNone/>
              <a:defRPr/>
            </a:pPr>
            <a:r>
              <a:rPr lang="en-US" sz="1600" b="1" dirty="0">
                <a:solidFill>
                  <a:srgbClr val="203662"/>
                </a:solidFill>
                <a:latin typeface="+mj-lt"/>
                <a:ea typeface="Roboto"/>
              </a:rPr>
              <a:t>Primary end point</a:t>
            </a:r>
          </a:p>
          <a:p>
            <a:pPr marL="91438" indent="0" defTabSz="914377" eaLnBrk="1" hangingPunct="1">
              <a:spcBef>
                <a:spcPts val="0"/>
              </a:spcBef>
              <a:spcAft>
                <a:spcPts val="0"/>
              </a:spcAft>
              <a:buSzPct val="100000"/>
              <a:buNone/>
              <a:defRPr/>
            </a:pPr>
            <a:r>
              <a:rPr lang="en-US" sz="1400" b="1" dirty="0">
                <a:solidFill>
                  <a:srgbClr val="3C587F"/>
                </a:solidFill>
                <a:latin typeface="+mj-lt"/>
                <a:ea typeface="Roboto"/>
              </a:rPr>
              <a:t>Safety</a:t>
            </a:r>
          </a:p>
          <a:p>
            <a:pPr marL="274320" indent="-283464" defTabSz="914377" eaLnBrk="1" hangingPunct="1">
              <a:spcBef>
                <a:spcPts val="600"/>
              </a:spcBef>
              <a:spcAft>
                <a:spcPts val="0"/>
              </a:spcAft>
              <a:buSzPct val="100000"/>
              <a:defRPr/>
            </a:pPr>
            <a:r>
              <a:rPr lang="en-US" sz="1400" dirty="0">
                <a:solidFill>
                  <a:schemeClr val="accent2"/>
                </a:solidFill>
                <a:latin typeface="+mj-lt"/>
                <a:ea typeface="Roboto"/>
              </a:rPr>
              <a:t>Proportion of participants with treatment-emergent AEs</a:t>
            </a:r>
            <a:endParaRPr lang="en-GB" sz="14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B06E5F4-6D01-D707-CAB3-D6CAFF1CD1EA}"/>
              </a:ext>
            </a:extLst>
          </p:cNvPr>
          <p:cNvSpPr txBox="1">
            <a:spLocks/>
          </p:cNvSpPr>
          <p:nvPr/>
        </p:nvSpPr>
        <p:spPr bwMode="auto">
          <a:xfrm>
            <a:off x="6166153" y="3814365"/>
            <a:ext cx="5897509" cy="2346796"/>
          </a:xfrm>
          <a:prstGeom prst="rect">
            <a:avLst/>
          </a:prstGeom>
          <a:solidFill>
            <a:srgbClr val="E8F3F3"/>
          </a:solidFill>
          <a:ln>
            <a:noFill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spAutoFit/>
          </a:bodyPr>
          <a:lstStyle>
            <a:lvl1pPr marL="306910" indent="-306910" algn="l" defTabSz="912261" rtl="0" eaLnBrk="0" fontAlgn="base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15935" indent="-309026" algn="l" defTabSz="912261" rtl="0" eaLnBrk="0" fontAlgn="base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8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912261" indent="-296326" algn="l" defTabSz="912261" rtl="0" eaLnBrk="0" fontAlgn="base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219170" indent="-306910" algn="l" defTabSz="912261" rtl="0" eaLnBrk="0" fontAlgn="base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526079" indent="-306910" algn="l" defTabSz="912261" rtl="0" eaLnBrk="0" fontAlgn="base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2941" indent="-228450" algn="l" defTabSz="913798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842" indent="-228450" algn="l" defTabSz="913798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740" indent="-228450" algn="l" defTabSz="913798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638" indent="-228450" algn="l" defTabSz="913798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38" indent="0" algn="ctr" defTabSz="914377" eaLnBrk="1" hangingPunct="1">
              <a:spcBef>
                <a:spcPts val="0"/>
              </a:spcBef>
              <a:spcAft>
                <a:spcPts val="0"/>
              </a:spcAft>
              <a:buSzPct val="100000"/>
              <a:buNone/>
              <a:defRPr/>
            </a:pPr>
            <a:r>
              <a:rPr lang="en-US" sz="1600" b="1" dirty="0">
                <a:solidFill>
                  <a:srgbClr val="203662"/>
                </a:solidFill>
                <a:latin typeface="+mj-lt"/>
                <a:ea typeface="Roboto"/>
              </a:rPr>
              <a:t>Secondary end points</a:t>
            </a:r>
          </a:p>
          <a:p>
            <a:pPr marL="91438" indent="0" defTabSz="914377" eaLnBrk="1" hangingPunct="1">
              <a:spcBef>
                <a:spcPts val="0"/>
              </a:spcBef>
              <a:spcAft>
                <a:spcPts val="0"/>
              </a:spcAft>
              <a:buSzPct val="100000"/>
              <a:buNone/>
              <a:defRPr/>
            </a:pPr>
            <a:r>
              <a:rPr lang="en-US" sz="1400" b="1" dirty="0">
                <a:solidFill>
                  <a:srgbClr val="3C587F"/>
                </a:solidFill>
                <a:latin typeface="+mj-lt"/>
                <a:ea typeface="Roboto"/>
              </a:rPr>
              <a:t>Efficacy</a:t>
            </a:r>
            <a:endParaRPr lang="en-US" sz="1400" dirty="0">
              <a:solidFill>
                <a:srgbClr val="3C587F"/>
              </a:solidFill>
              <a:latin typeface="+mj-lt"/>
              <a:ea typeface="Roboto"/>
            </a:endParaRPr>
          </a:p>
          <a:p>
            <a:pPr marL="274320" indent="-285744" defTabSz="914377" eaLnBrk="1" hangingPunct="1">
              <a:spcAft>
                <a:spcPts val="0"/>
              </a:spcAft>
              <a:buSzPct val="100000"/>
              <a:defRPr/>
            </a:pPr>
            <a:r>
              <a:rPr lang="en-US" sz="1400" spc="-27" dirty="0">
                <a:solidFill>
                  <a:schemeClr val="accent2"/>
                </a:solidFill>
                <a:latin typeface="+mj-lt"/>
                <a:ea typeface="Roboto"/>
              </a:rPr>
              <a:t>Time to viral rebound (confirmed ≥ 50 copies/mL </a:t>
            </a:r>
            <a:r>
              <a:rPr lang="en-US" sz="1400" dirty="0">
                <a:solidFill>
                  <a:schemeClr val="accent2"/>
                </a:solidFill>
                <a:latin typeface="+mj-lt"/>
                <a:ea typeface="Roboto"/>
              </a:rPr>
              <a:t>and ≥ 200 copies/mL)</a:t>
            </a:r>
          </a:p>
          <a:p>
            <a:pPr marL="274320" indent="-285744" defTabSz="914377" eaLnBrk="1" hangingPunct="1">
              <a:spcAft>
                <a:spcPts val="0"/>
              </a:spcAft>
              <a:buSzPct val="100000"/>
              <a:defRPr/>
            </a:pPr>
            <a:r>
              <a:rPr lang="en-US" sz="1400" dirty="0">
                <a:solidFill>
                  <a:schemeClr val="accent2"/>
                </a:solidFill>
                <a:latin typeface="+mj-lt"/>
                <a:ea typeface="Roboto"/>
              </a:rPr>
              <a:t>Viral load at end of ATI</a:t>
            </a:r>
          </a:p>
          <a:p>
            <a:pPr marL="274320" indent="-285744" defTabSz="914377" eaLnBrk="1" hangingPunct="1">
              <a:spcAft>
                <a:spcPts val="0"/>
              </a:spcAft>
              <a:buSzPct val="100000"/>
              <a:defRPr/>
            </a:pPr>
            <a:r>
              <a:rPr lang="en-US" sz="1400" dirty="0">
                <a:solidFill>
                  <a:schemeClr val="accent2"/>
                </a:solidFill>
                <a:latin typeface="+mj-lt"/>
                <a:ea typeface="Roboto"/>
              </a:rPr>
              <a:t>Time to ART resumption after ATI</a:t>
            </a:r>
          </a:p>
          <a:p>
            <a:pPr marL="274320" indent="-285744" defTabSz="914377" eaLnBrk="1" hangingPunct="1">
              <a:spcAft>
                <a:spcPts val="0"/>
              </a:spcAft>
              <a:buSzPct val="100000"/>
              <a:defRPr/>
            </a:pPr>
            <a:r>
              <a:rPr lang="en-US" sz="1400" dirty="0">
                <a:solidFill>
                  <a:schemeClr val="accent2"/>
                </a:solidFill>
                <a:latin typeface="+mj-lt"/>
                <a:ea typeface="Roboto"/>
              </a:rPr>
              <a:t>Proportion of participants who restarted ART at 48 weeks</a:t>
            </a:r>
          </a:p>
          <a:p>
            <a:pPr marL="91437" indent="0" defTabSz="914377" eaLnBrk="1" hangingPunct="1">
              <a:spcBef>
                <a:spcPts val="0"/>
              </a:spcBef>
              <a:spcAft>
                <a:spcPts val="0"/>
              </a:spcAft>
              <a:buSzPct val="100000"/>
              <a:buNone/>
              <a:defRPr/>
            </a:pPr>
            <a:endParaRPr lang="en-US" sz="1400" dirty="0">
              <a:solidFill>
                <a:schemeClr val="accent2"/>
              </a:solidFill>
              <a:latin typeface="+mj-lt"/>
              <a:ea typeface="Roboto"/>
            </a:endParaRPr>
          </a:p>
          <a:p>
            <a:pPr marL="91438" indent="0" defTabSz="914377" eaLnBrk="1" hangingPunct="1">
              <a:spcBef>
                <a:spcPts val="0"/>
              </a:spcBef>
              <a:spcAft>
                <a:spcPts val="0"/>
              </a:spcAft>
              <a:buSzPct val="100000"/>
              <a:buNone/>
              <a:defRPr/>
            </a:pPr>
            <a:r>
              <a:rPr lang="en-US" sz="1400" b="1" dirty="0">
                <a:solidFill>
                  <a:srgbClr val="3C587F"/>
                </a:solidFill>
                <a:latin typeface="+mj-lt"/>
                <a:ea typeface="Roboto"/>
              </a:rPr>
              <a:t>Pharmacokinetics </a:t>
            </a:r>
          </a:p>
          <a:p>
            <a:pPr marL="274320" indent="-285744" defTabSz="914377" eaLnBrk="1" hangingPunct="1">
              <a:spcAft>
                <a:spcPts val="0"/>
              </a:spcAft>
              <a:buSzPct val="100000"/>
              <a:defRPr/>
            </a:pPr>
            <a:r>
              <a:rPr lang="en-US" sz="1400" dirty="0">
                <a:solidFill>
                  <a:schemeClr val="accent2"/>
                </a:solidFill>
                <a:latin typeface="+mj-lt"/>
                <a:ea typeface="Roboto"/>
              </a:rPr>
              <a:t>Serum PK and ADA for bNAbs</a:t>
            </a:r>
            <a:endParaRPr lang="en-GB" sz="1400" dirty="0">
              <a:solidFill>
                <a:schemeClr val="accent2"/>
              </a:solidFill>
              <a:latin typeface="+mj-lt"/>
            </a:endParaRPr>
          </a:p>
        </p:txBody>
      </p: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id="{64EA28A9-16EC-E97B-3BC0-741D9C398CAF}"/>
              </a:ext>
            </a:extLst>
          </p:cNvPr>
          <p:cNvCxnSpPr/>
          <p:nvPr/>
        </p:nvCxnSpPr>
        <p:spPr>
          <a:xfrm>
            <a:off x="528656" y="3378826"/>
            <a:ext cx="11168796" cy="0"/>
          </a:xfrm>
          <a:prstGeom prst="line">
            <a:avLst/>
          </a:prstGeom>
          <a:ln>
            <a:solidFill>
              <a:srgbClr val="5456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tangle 246">
            <a:extLst>
              <a:ext uri="{FF2B5EF4-FFF2-40B4-BE49-F238E27FC236}">
                <a16:creationId xmlns:a16="http://schemas.microsoft.com/office/drawing/2014/main" id="{2461CC06-F2F1-61FA-6A3C-D80C46C4A0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923" y="921426"/>
            <a:ext cx="2405794" cy="2346796"/>
          </a:xfrm>
          <a:prstGeom prst="rect">
            <a:avLst/>
          </a:prstGeom>
          <a:solidFill>
            <a:srgbClr val="DDDDEA"/>
          </a:solidFill>
          <a:ln>
            <a:noFill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spAutoFit/>
          </a:bodyPr>
          <a:lstStyle/>
          <a:p>
            <a:pPr marL="91438" fontAlgn="base">
              <a:spcAft>
                <a:spcPts val="600"/>
              </a:spcAft>
              <a:buSzPct val="100000"/>
            </a:pPr>
            <a:r>
              <a:rPr lang="en-US" sz="1600" b="1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Inclusion criteria</a:t>
            </a:r>
          </a:p>
          <a:p>
            <a:pPr marL="228600" indent="-228600" fontAlgn="base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Females from FRESH cohort</a:t>
            </a:r>
            <a:endParaRPr lang="en-US" altLang="en-US" sz="1400" dirty="0">
              <a:solidFill>
                <a:srgbClr val="203662"/>
              </a:solidFill>
              <a:latin typeface="+mj-lt"/>
              <a:ea typeface="Roboto"/>
              <a:cs typeface="Arial" charset="0"/>
            </a:endParaRPr>
          </a:p>
          <a:p>
            <a:pPr marL="228600" indent="-228600" fontAlgn="base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Virally suppressed on ART &gt; 12 months</a:t>
            </a:r>
          </a:p>
          <a:p>
            <a:pPr marL="228600" indent="-228600" fontAlgn="base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Sensitive to at least 1 of the 2 bNAbs</a:t>
            </a:r>
          </a:p>
          <a:p>
            <a:pPr marL="228600" indent="-228600" fontAlgn="base"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CD4+ T-cell count </a:t>
            </a:r>
            <a:b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</a:b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≥ 500 cells/</a:t>
            </a:r>
            <a:r>
              <a:rPr lang="el-GR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μ</a:t>
            </a: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L</a:t>
            </a:r>
            <a:endParaRPr lang="en-US" altLang="en-US" sz="1400" dirty="0">
              <a:solidFill>
                <a:srgbClr val="203662"/>
              </a:solidFill>
              <a:latin typeface="+mj-lt"/>
              <a:ea typeface="Roboto"/>
              <a:cs typeface="Arial" charset="0"/>
            </a:endParaRPr>
          </a:p>
        </p:txBody>
      </p:sp>
      <p:sp>
        <p:nvSpPr>
          <p:cNvPr id="6" name="Text Box 19">
            <a:extLst>
              <a:ext uri="{FF2B5EF4-FFF2-40B4-BE49-F238E27FC236}">
                <a16:creationId xmlns:a16="http://schemas.microsoft.com/office/drawing/2014/main" id="{2CB6DC4F-A943-4381-BC46-73583C595F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08611" y="1753546"/>
            <a:ext cx="251224" cy="2245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 dirty="0">
                <a:latin typeface="+mn-lt"/>
                <a:ea typeface="MS PGothic" pitchFamily="34" charset="-128"/>
                <a:cs typeface="Arial" charset="0"/>
              </a:rPr>
              <a:t>14</a:t>
            </a:r>
          </a:p>
        </p:txBody>
      </p:sp>
      <p:sp>
        <p:nvSpPr>
          <p:cNvPr id="25" name="Text Box 23">
            <a:extLst>
              <a:ext uri="{FF2B5EF4-FFF2-40B4-BE49-F238E27FC236}">
                <a16:creationId xmlns:a16="http://schemas.microsoft.com/office/drawing/2014/main" id="{27D4DE54-4CF1-F99C-7848-02B30DEFDC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41936" y="1746884"/>
            <a:ext cx="273011" cy="2379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 dirty="0">
                <a:latin typeface="+mn-lt"/>
                <a:ea typeface="MS PGothic" pitchFamily="34" charset="-128"/>
                <a:cs typeface="Arial" charset="0"/>
              </a:rPr>
              <a:t>18</a:t>
            </a:r>
          </a:p>
        </p:txBody>
      </p:sp>
      <p:sp>
        <p:nvSpPr>
          <p:cNvPr id="26" name="Text Box 23">
            <a:extLst>
              <a:ext uri="{FF2B5EF4-FFF2-40B4-BE49-F238E27FC236}">
                <a16:creationId xmlns:a16="http://schemas.microsoft.com/office/drawing/2014/main" id="{81DF30E6-146C-FDF3-0966-38F63CD6BC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72843" y="1746884"/>
            <a:ext cx="273011" cy="2379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 dirty="0">
                <a:latin typeface="+mn-lt"/>
                <a:ea typeface="MS PGothic" pitchFamily="34" charset="-128"/>
                <a:cs typeface="Arial" charset="0"/>
              </a:rPr>
              <a:t>16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59744BB-A635-96F9-DC80-249F4C47E8AB}"/>
              </a:ext>
            </a:extLst>
          </p:cNvPr>
          <p:cNvSpPr/>
          <p:nvPr/>
        </p:nvSpPr>
        <p:spPr bwMode="auto">
          <a:xfrm>
            <a:off x="9306566" y="2247033"/>
            <a:ext cx="784575" cy="799667"/>
          </a:xfrm>
          <a:prstGeom prst="rect">
            <a:avLst/>
          </a:prstGeom>
          <a:solidFill>
            <a:srgbClr val="55A2A8"/>
          </a:solidFill>
          <a:ln w="9525" cap="flat" cmpd="sng" algn="ctr">
            <a:noFill/>
            <a:prstDash val="solid"/>
          </a:ln>
          <a:effectLst/>
        </p:spPr>
        <p:txBody>
          <a:bodyPr lIns="0" tIns="60952" rIns="0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600" b="1" kern="0" dirty="0">
                <a:ea typeface="MS Mincho" pitchFamily="49" charset="-128"/>
                <a:cs typeface="Calibri" panose="020F0502020204030204" pitchFamily="34" charset="0"/>
              </a:rPr>
              <a:t>ATI</a:t>
            </a:r>
            <a:endParaRPr lang="en-US" sz="1400" b="1" kern="0" dirty="0">
              <a:ea typeface="MS Mincho" pitchFamily="49" charset="-128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71023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3D2EDA-9C12-6F0E-DFEF-FD1211F3C0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6F930E00-9983-ED11-47F4-4998034F1A2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914354">
              <a:lnSpc>
                <a:spcPct val="85000"/>
              </a:lnSpc>
              <a:defRPr/>
            </a:pPr>
            <a:r>
              <a:rPr lang="en-US" baseline="30000" dirty="0" err="1"/>
              <a:t>a</a:t>
            </a:r>
            <a:r>
              <a:rPr lang="en-US" dirty="0" err="1"/>
              <a:t>If</a:t>
            </a:r>
            <a:r>
              <a:rPr lang="en-US" dirty="0"/>
              <a:t> VES is well tolerated at 6 mg, participants can be dosed at 8 mg from the third dose onward with close monitoring.</a:t>
            </a:r>
          </a:p>
          <a:p>
            <a:pPr defTabSz="914354">
              <a:lnSpc>
                <a:spcPct val="85000"/>
              </a:lnSpc>
              <a:defRPr/>
            </a:pPr>
            <a:r>
              <a:rPr lang="en-US" b="1" dirty="0"/>
              <a:t>ART</a:t>
            </a:r>
            <a:r>
              <a:rPr lang="en-US" dirty="0"/>
              <a:t>, antiretroviral therapy; </a:t>
            </a:r>
            <a:r>
              <a:rPr lang="en-US" b="1" dirty="0"/>
              <a:t>ATI</a:t>
            </a:r>
            <a:r>
              <a:rPr lang="en-US" dirty="0"/>
              <a:t>, analytical treatment interruption; </a:t>
            </a:r>
            <a:r>
              <a:rPr lang="en-US" b="1" dirty="0"/>
              <a:t>bNAb</a:t>
            </a:r>
            <a:r>
              <a:rPr lang="en-US" dirty="0"/>
              <a:t>, broadly neutralizing antibody; </a:t>
            </a:r>
            <a:r>
              <a:rPr lang="en-US" b="1" dirty="0"/>
              <a:t>FRESH</a:t>
            </a:r>
            <a:r>
              <a:rPr lang="en-US" dirty="0"/>
              <a:t>, Females Rising through Education, Support, and Health; </a:t>
            </a:r>
            <a:r>
              <a:rPr lang="en-US" b="1" dirty="0"/>
              <a:t>VES</a:t>
            </a:r>
            <a:r>
              <a:rPr lang="en-US" dirty="0"/>
              <a:t>, vesatolimod.</a:t>
            </a:r>
            <a:br>
              <a:rPr lang="en-US" dirty="0"/>
            </a:br>
            <a:r>
              <a:rPr lang="en-US" dirty="0"/>
              <a:t>NCT05281510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7B0A33-5DCC-7C16-0722-C62F3EC45F0F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noFill/>
        </p:spPr>
        <p:txBody>
          <a:bodyPr vert="horz" lIns="0" tIns="0" rIns="0" bIns="0" rtlCol="0" anchor="ctr"/>
          <a:lstStyle/>
          <a:p>
            <a:fld id="{4BEAA09E-D67E-864E-8466-C38E88600C4F}" type="slidenum">
              <a:rPr lang="en-US"/>
              <a:pPr/>
              <a:t>9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F00030E-F86E-9734-29D5-3AF17A434B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r>
              <a:rPr lang="en-US" sz="3200"/>
              <a:t>Single-Arm, Open-Label, Phase 2a Study</a:t>
            </a:r>
            <a:endParaRPr lang="en-US" sz="3200">
              <a:solidFill>
                <a:schemeClr val="tx1"/>
              </a:solidFill>
            </a:endParaRPr>
          </a:p>
        </p:txBody>
      </p:sp>
      <p:cxnSp>
        <p:nvCxnSpPr>
          <p:cNvPr id="240" name="Straight Connector 8">
            <a:extLst>
              <a:ext uri="{FF2B5EF4-FFF2-40B4-BE49-F238E27FC236}">
                <a16:creationId xmlns:a16="http://schemas.microsoft.com/office/drawing/2014/main" id="{40E42A16-A06C-1BA9-420A-0E7867E70905}"/>
              </a:ext>
            </a:extLst>
          </p:cNvPr>
          <p:cNvCxnSpPr>
            <a:cxnSpLocks noChangeShapeType="1"/>
            <a:endCxn id="177" idx="1"/>
          </p:cNvCxnSpPr>
          <p:nvPr/>
        </p:nvCxnSpPr>
        <p:spPr bwMode="auto">
          <a:xfrm flipV="1">
            <a:off x="4190100" y="2646991"/>
            <a:ext cx="1005742" cy="2226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9" name="Straight Connector 8">
            <a:extLst>
              <a:ext uri="{FF2B5EF4-FFF2-40B4-BE49-F238E27FC236}">
                <a16:creationId xmlns:a16="http://schemas.microsoft.com/office/drawing/2014/main" id="{CA487CE8-072C-56E8-DB94-06E8DC5219BB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9051467" y="2654489"/>
            <a:ext cx="255099" cy="2152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6" name="Straight Connector 8">
            <a:extLst>
              <a:ext uri="{FF2B5EF4-FFF2-40B4-BE49-F238E27FC236}">
                <a16:creationId xmlns:a16="http://schemas.microsoft.com/office/drawing/2014/main" id="{3803A94D-4AA1-5D18-F51F-3E8A180E647F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6224990" y="2655441"/>
            <a:ext cx="153607" cy="248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5" name="Rectangle 254">
            <a:extLst>
              <a:ext uri="{FF2B5EF4-FFF2-40B4-BE49-F238E27FC236}">
                <a16:creationId xmlns:a16="http://schemas.microsoft.com/office/drawing/2014/main" id="{F0A5A7CE-6B02-891A-E442-D1D2075F21DC}"/>
              </a:ext>
            </a:extLst>
          </p:cNvPr>
          <p:cNvSpPr/>
          <p:nvPr/>
        </p:nvSpPr>
        <p:spPr bwMode="auto">
          <a:xfrm>
            <a:off x="6661338" y="2045420"/>
            <a:ext cx="28405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4532">
              <a:spcBef>
                <a:spcPct val="50000"/>
              </a:spcBef>
              <a:defRPr/>
            </a:pPr>
            <a:r>
              <a:rPr lang="en-US" altLang="en-US" sz="1400" b="1" kern="0">
                <a:solidFill>
                  <a:srgbClr val="FFFFFF"/>
                </a:solidFill>
                <a:ea typeface="MS PGothic" pitchFamily="34" charset="-128"/>
                <a:cs typeface="Arial" charset="0"/>
              </a:rPr>
              <a:t>6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46769C4-9786-ABD9-0E1D-E0CD84008664}"/>
              </a:ext>
            </a:extLst>
          </p:cNvPr>
          <p:cNvSpPr/>
          <p:nvPr/>
        </p:nvSpPr>
        <p:spPr bwMode="auto">
          <a:xfrm>
            <a:off x="4310431" y="2249061"/>
            <a:ext cx="885411" cy="399959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lIns="91440" tIns="60885" rIns="91440" bIns="60885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400" b="1" kern="0">
                <a:solidFill>
                  <a:srgbClr val="FFFFFF"/>
                </a:solidFill>
                <a:ea typeface="MS Mincho" pitchFamily="49" charset="-128"/>
                <a:cs typeface="Calibri" panose="020F0502020204030204" pitchFamily="34" charset="0"/>
              </a:rPr>
              <a:t>VES</a:t>
            </a:r>
          </a:p>
        </p:txBody>
      </p:sp>
      <p:cxnSp>
        <p:nvCxnSpPr>
          <p:cNvPr id="174" name="Straight Connector 8">
            <a:extLst>
              <a:ext uri="{FF2B5EF4-FFF2-40B4-BE49-F238E27FC236}">
                <a16:creationId xmlns:a16="http://schemas.microsoft.com/office/drawing/2014/main" id="{3C7C236E-FDBD-C346-D7A2-E729DBE8A765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0091140" y="2653883"/>
            <a:ext cx="266667" cy="336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5" name="Rectangle 174">
            <a:extLst>
              <a:ext uri="{FF2B5EF4-FFF2-40B4-BE49-F238E27FC236}">
                <a16:creationId xmlns:a16="http://schemas.microsoft.com/office/drawing/2014/main" id="{C0341DE2-8A0A-ED82-FD68-357FE763A5A9}"/>
              </a:ext>
            </a:extLst>
          </p:cNvPr>
          <p:cNvSpPr/>
          <p:nvPr/>
        </p:nvSpPr>
        <p:spPr bwMode="auto">
          <a:xfrm>
            <a:off x="6363353" y="2250455"/>
            <a:ext cx="2698433" cy="803475"/>
          </a:xfrm>
          <a:prstGeom prst="rect">
            <a:avLst/>
          </a:prstGeom>
          <a:solidFill>
            <a:srgbClr val="55A2A8"/>
          </a:solidFill>
          <a:ln w="9525" cap="flat" cmpd="sng" algn="ctr">
            <a:noFill/>
            <a:prstDash val="solid"/>
          </a:ln>
          <a:effectLst/>
        </p:spPr>
        <p:txBody>
          <a:bodyPr lIns="0" tIns="60952" rIns="0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endParaRPr lang="en-US" sz="1400" b="1" kern="0" dirty="0">
              <a:solidFill>
                <a:srgbClr val="FFFFFF"/>
              </a:solidFill>
              <a:ea typeface="MS Mincho" pitchFamily="49" charset="-128"/>
              <a:cs typeface="Calibri" panose="020F0502020204030204" pitchFamily="34" charset="0"/>
            </a:endParaRPr>
          </a:p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600" b="1" kern="0" dirty="0">
                <a:solidFill>
                  <a:srgbClr val="FFFFFF"/>
                </a:solidFill>
                <a:ea typeface="MS Mincho" pitchFamily="49" charset="-128"/>
                <a:cs typeface="Calibri" panose="020F0502020204030204" pitchFamily="34" charset="0"/>
              </a:rPr>
              <a:t> </a:t>
            </a:r>
            <a:r>
              <a:rPr lang="en-US" sz="1600" b="1" kern="0" dirty="0">
                <a:ea typeface="MS Mincho" pitchFamily="49" charset="-128"/>
                <a:cs typeface="Calibri" panose="020F0502020204030204" pitchFamily="34" charset="0"/>
              </a:rPr>
              <a:t>ATI + VES/bNAb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1CE7E17B-3FD4-C8DD-A7FE-C2A44C72A83A}"/>
              </a:ext>
            </a:extLst>
          </p:cNvPr>
          <p:cNvSpPr/>
          <p:nvPr/>
        </p:nvSpPr>
        <p:spPr bwMode="auto">
          <a:xfrm>
            <a:off x="5195842" y="2247282"/>
            <a:ext cx="1029148" cy="799417"/>
          </a:xfrm>
          <a:prstGeom prst="rect">
            <a:avLst/>
          </a:prstGeom>
          <a:solidFill>
            <a:srgbClr val="D1E6E8">
              <a:alpha val="69804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121904" tIns="60952" rIns="121904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SzPct val="120000"/>
              <a:defRPr/>
            </a:pPr>
            <a:endParaRPr lang="en-US" sz="1400" b="1" kern="0">
              <a:solidFill>
                <a:srgbClr val="54565B"/>
              </a:solidFill>
              <a:ea typeface="MS Mincho" pitchFamily="49" charset="-128"/>
              <a:cs typeface="Calibri" panose="020F0502020204030204" pitchFamily="34" charset="0"/>
            </a:endParaRPr>
          </a:p>
        </p:txBody>
      </p:sp>
      <p:sp>
        <p:nvSpPr>
          <p:cNvPr id="178" name="Isosceles Triangle 1">
            <a:extLst>
              <a:ext uri="{FF2B5EF4-FFF2-40B4-BE49-F238E27FC236}">
                <a16:creationId xmlns:a16="http://schemas.microsoft.com/office/drawing/2014/main" id="{735916C1-1C75-BAE5-C9EA-6AB52398A10E}"/>
              </a:ext>
            </a:extLst>
          </p:cNvPr>
          <p:cNvSpPr>
            <a:spLocks/>
          </p:cNvSpPr>
          <p:nvPr/>
        </p:nvSpPr>
        <p:spPr>
          <a:xfrm>
            <a:off x="5264284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grpSp>
        <p:nvGrpSpPr>
          <p:cNvPr id="181" name="Shape1_20221019_175024">
            <a:extLst>
              <a:ext uri="{FF2B5EF4-FFF2-40B4-BE49-F238E27FC236}">
                <a16:creationId xmlns:a16="http://schemas.microsoft.com/office/drawing/2014/main" id="{F1BC747D-4957-38C0-4435-38BE490CCCC7}"/>
              </a:ext>
            </a:extLst>
          </p:cNvPr>
          <p:cNvGrpSpPr/>
          <p:nvPr/>
        </p:nvGrpSpPr>
        <p:grpSpPr>
          <a:xfrm rot="10800000" flipV="1">
            <a:off x="6437654" y="2040835"/>
            <a:ext cx="2613815" cy="68580"/>
            <a:chOff x="3229199" y="1524677"/>
            <a:chExt cx="4480560" cy="91440"/>
          </a:xfrm>
        </p:grpSpPr>
        <p:sp>
          <p:nvSpPr>
            <p:cNvPr id="182" name="Freeform 28">
              <a:extLst>
                <a:ext uri="{FF2B5EF4-FFF2-40B4-BE49-F238E27FC236}">
                  <a16:creationId xmlns:a16="http://schemas.microsoft.com/office/drawing/2014/main" id="{2B51C704-111B-35D5-C77D-F4F8B33CC7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919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3" name="Freeform 28">
              <a:extLst>
                <a:ext uri="{FF2B5EF4-FFF2-40B4-BE49-F238E27FC236}">
                  <a16:creationId xmlns:a16="http://schemas.microsoft.com/office/drawing/2014/main" id="{9AA90212-4231-E925-171D-86F871C54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927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4" name="Freeform 28">
              <a:extLst>
                <a:ext uri="{FF2B5EF4-FFF2-40B4-BE49-F238E27FC236}">
                  <a16:creationId xmlns:a16="http://schemas.microsoft.com/office/drawing/2014/main" id="{5945E5DF-16B2-4858-3EEA-6F353FB76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35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5" name="Freeform 28">
              <a:extLst>
                <a:ext uri="{FF2B5EF4-FFF2-40B4-BE49-F238E27FC236}">
                  <a16:creationId xmlns:a16="http://schemas.microsoft.com/office/drawing/2014/main" id="{22DA0AC7-31B9-C916-FFF1-C5F49EF38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943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6" name="Freeform 28">
              <a:extLst>
                <a:ext uri="{FF2B5EF4-FFF2-40B4-BE49-F238E27FC236}">
                  <a16:creationId xmlns:a16="http://schemas.microsoft.com/office/drawing/2014/main" id="{C93CE0F8-B574-85BD-7E5B-51DA8B9CF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951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7" name="Freeform 28">
              <a:extLst>
                <a:ext uri="{FF2B5EF4-FFF2-40B4-BE49-F238E27FC236}">
                  <a16:creationId xmlns:a16="http://schemas.microsoft.com/office/drawing/2014/main" id="{7FF6C725-1B16-B9CA-E043-792CF22E93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59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  <p:sp>
          <p:nvSpPr>
            <p:cNvPr id="188" name="Freeform 28">
              <a:extLst>
                <a:ext uri="{FF2B5EF4-FFF2-40B4-BE49-F238E27FC236}">
                  <a16:creationId xmlns:a16="http://schemas.microsoft.com/office/drawing/2014/main" id="{782D88F6-81F9-74CB-4AA3-215642AEB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9679" y="1524677"/>
              <a:ext cx="640080" cy="91440"/>
            </a:xfrm>
            <a:custGeom>
              <a:avLst/>
              <a:gdLst>
                <a:gd name="T0" fmla="*/ 316236 w 2663825"/>
                <a:gd name="T1" fmla="*/ 0 h 127000"/>
                <a:gd name="T2" fmla="*/ 316236 w 2663825"/>
                <a:gd name="T3" fmla="*/ 127000 h 127000"/>
                <a:gd name="T4" fmla="*/ 0 w 2663825"/>
                <a:gd name="T5" fmla="*/ 127000 h 127000"/>
                <a:gd name="T6" fmla="*/ 0 w 2663825"/>
                <a:gd name="T7" fmla="*/ 3175 h 127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63825"/>
                <a:gd name="T13" fmla="*/ 0 h 127000"/>
                <a:gd name="T14" fmla="*/ 2663825 w 2663825"/>
                <a:gd name="T15" fmla="*/ 127000 h 127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63825" h="127000">
                  <a:moveTo>
                    <a:pt x="2663825" y="0"/>
                  </a:moveTo>
                  <a:lnTo>
                    <a:pt x="2663825" y="127000"/>
                  </a:lnTo>
                  <a:lnTo>
                    <a:pt x="0" y="127000"/>
                  </a:lnTo>
                  <a:lnTo>
                    <a:pt x="0" y="3175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en-US" sz="1400">
                <a:solidFill>
                  <a:srgbClr val="54565B"/>
                </a:solidFill>
                <a:cs typeface="Arial" pitchFamily="34" charset="0"/>
              </a:endParaRPr>
            </a:p>
          </p:txBody>
        </p:sp>
      </p:grpSp>
      <p:sp>
        <p:nvSpPr>
          <p:cNvPr id="190" name="Text Box 19">
            <a:extLst>
              <a:ext uri="{FF2B5EF4-FFF2-40B4-BE49-F238E27FC236}">
                <a16:creationId xmlns:a16="http://schemas.microsoft.com/office/drawing/2014/main" id="{3C6DECCF-1734-2E87-7E1E-F033F20B1D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3075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2</a:t>
            </a:r>
          </a:p>
        </p:txBody>
      </p:sp>
      <p:sp>
        <p:nvSpPr>
          <p:cNvPr id="192" name="Text Box 19">
            <a:extLst>
              <a:ext uri="{FF2B5EF4-FFF2-40B4-BE49-F238E27FC236}">
                <a16:creationId xmlns:a16="http://schemas.microsoft.com/office/drawing/2014/main" id="{ACADE63E-D6D7-6F7C-4D6B-E12CA0E75F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76491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6</a:t>
            </a:r>
          </a:p>
        </p:txBody>
      </p:sp>
      <p:sp>
        <p:nvSpPr>
          <p:cNvPr id="193" name="Text Box 23">
            <a:extLst>
              <a:ext uri="{FF2B5EF4-FFF2-40B4-BE49-F238E27FC236}">
                <a16:creationId xmlns:a16="http://schemas.microsoft.com/office/drawing/2014/main" id="{9CF7D5D2-CB03-10EC-AE8A-97F548C012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51602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8</a:t>
            </a:r>
          </a:p>
        </p:txBody>
      </p:sp>
      <p:sp>
        <p:nvSpPr>
          <p:cNvPr id="194" name="Text Box 19">
            <a:extLst>
              <a:ext uri="{FF2B5EF4-FFF2-40B4-BE49-F238E27FC236}">
                <a16:creationId xmlns:a16="http://schemas.microsoft.com/office/drawing/2014/main" id="{C56DBEFF-4084-815E-6F76-C8426157B7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20749" y="1773509"/>
            <a:ext cx="257289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12</a:t>
            </a:r>
          </a:p>
        </p:txBody>
      </p:sp>
      <p:sp>
        <p:nvSpPr>
          <p:cNvPr id="195" name="Text Box 23">
            <a:extLst>
              <a:ext uri="{FF2B5EF4-FFF2-40B4-BE49-F238E27FC236}">
                <a16:creationId xmlns:a16="http://schemas.microsoft.com/office/drawing/2014/main" id="{252C9964-4860-B701-5221-FDF7070738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34386" y="1773509"/>
            <a:ext cx="282823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10</a:t>
            </a:r>
          </a:p>
        </p:txBody>
      </p:sp>
      <p:sp>
        <p:nvSpPr>
          <p:cNvPr id="199" name="Text Box 19">
            <a:extLst>
              <a:ext uri="{FF2B5EF4-FFF2-40B4-BE49-F238E27FC236}">
                <a16:creationId xmlns:a16="http://schemas.microsoft.com/office/drawing/2014/main" id="{25491EF2-7CB8-A565-901E-8208364DC8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6951" y="1773509"/>
            <a:ext cx="236403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20</a:t>
            </a:r>
          </a:p>
        </p:txBody>
      </p:sp>
      <p:sp>
        <p:nvSpPr>
          <p:cNvPr id="200" name="Shape2_20221019_175024">
            <a:extLst>
              <a:ext uri="{FF2B5EF4-FFF2-40B4-BE49-F238E27FC236}">
                <a16:creationId xmlns:a16="http://schemas.microsoft.com/office/drawing/2014/main" id="{5AEA8926-39EB-2137-0298-A23E479DE3AB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9316373" y="2040371"/>
            <a:ext cx="774767" cy="68580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grpSp>
        <p:nvGrpSpPr>
          <p:cNvPr id="201" name="Shape3_20221019_175024">
            <a:extLst>
              <a:ext uri="{FF2B5EF4-FFF2-40B4-BE49-F238E27FC236}">
                <a16:creationId xmlns:a16="http://schemas.microsoft.com/office/drawing/2014/main" id="{18904DA9-89A4-21B4-8BE5-32CB4CF4F7F5}"/>
              </a:ext>
            </a:extLst>
          </p:cNvPr>
          <p:cNvGrpSpPr/>
          <p:nvPr/>
        </p:nvGrpSpPr>
        <p:grpSpPr>
          <a:xfrm>
            <a:off x="9844164" y="2067645"/>
            <a:ext cx="96963" cy="64831"/>
            <a:chOff x="5307806" y="4907123"/>
            <a:chExt cx="134304" cy="86440"/>
          </a:xfrm>
        </p:grpSpPr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4FC08985-0D8C-CE64-D1E1-DC9D8D80C611}"/>
                </a:ext>
              </a:extLst>
            </p:cNvPr>
            <p:cNvCxnSpPr/>
            <p:nvPr/>
          </p:nvCxnSpPr>
          <p:spPr>
            <a:xfrm flipV="1">
              <a:off x="5307806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483F091D-29C4-7260-6F6D-F84C85B99AD9}"/>
                </a:ext>
              </a:extLst>
            </p:cNvPr>
            <p:cNvCxnSpPr/>
            <p:nvPr/>
          </p:nvCxnSpPr>
          <p:spPr>
            <a:xfrm flipV="1">
              <a:off x="5355670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4" name="Shape4_20221019_175024">
            <a:extLst>
              <a:ext uri="{FF2B5EF4-FFF2-40B4-BE49-F238E27FC236}">
                <a16:creationId xmlns:a16="http://schemas.microsoft.com/office/drawing/2014/main" id="{08EF1C28-2DBA-CA66-9668-F43D5A1E3EDF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5723184" y="2038234"/>
            <a:ext cx="373403" cy="76200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sp>
        <p:nvSpPr>
          <p:cNvPr id="205" name="Shape0_20221019_175024">
            <a:extLst>
              <a:ext uri="{FF2B5EF4-FFF2-40B4-BE49-F238E27FC236}">
                <a16:creationId xmlns:a16="http://schemas.microsoft.com/office/drawing/2014/main" id="{CC32C34A-F91F-04EF-E942-5EDD8EE7DB94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5349783" y="2038234"/>
            <a:ext cx="373403" cy="76200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sp>
        <p:nvSpPr>
          <p:cNvPr id="206" name="Text Box 19">
            <a:extLst>
              <a:ext uri="{FF2B5EF4-FFF2-40B4-BE49-F238E27FC236}">
                <a16:creationId xmlns:a16="http://schemas.microsoft.com/office/drawing/2014/main" id="{93635AB2-A18F-0DBB-EA36-E84BE43481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6473" y="1773509"/>
            <a:ext cx="317456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8</a:t>
            </a:r>
          </a:p>
        </p:txBody>
      </p:sp>
      <p:sp>
        <p:nvSpPr>
          <p:cNvPr id="207" name="Shape5_20221019_175024">
            <a:extLst>
              <a:ext uri="{FF2B5EF4-FFF2-40B4-BE49-F238E27FC236}">
                <a16:creationId xmlns:a16="http://schemas.microsoft.com/office/drawing/2014/main" id="{1528DB0D-94BF-E091-A5D3-BB122FB729FC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10367895" y="2040371"/>
            <a:ext cx="858544" cy="70479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sp>
        <p:nvSpPr>
          <p:cNvPr id="208" name="Text Box 19">
            <a:extLst>
              <a:ext uri="{FF2B5EF4-FFF2-40B4-BE49-F238E27FC236}">
                <a16:creationId xmlns:a16="http://schemas.microsoft.com/office/drawing/2014/main" id="{6A1A6EAD-5C2E-EFF2-30E2-79345C6AD2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61347" y="1773509"/>
            <a:ext cx="273011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60</a:t>
            </a:r>
          </a:p>
        </p:txBody>
      </p:sp>
      <p:grpSp>
        <p:nvGrpSpPr>
          <p:cNvPr id="211" name="Shape7_20221019_175024">
            <a:extLst>
              <a:ext uri="{FF2B5EF4-FFF2-40B4-BE49-F238E27FC236}">
                <a16:creationId xmlns:a16="http://schemas.microsoft.com/office/drawing/2014/main" id="{8B7F3C4A-C88E-DAC7-D589-2A0A989C17BC}"/>
              </a:ext>
            </a:extLst>
          </p:cNvPr>
          <p:cNvGrpSpPr/>
          <p:nvPr/>
        </p:nvGrpSpPr>
        <p:grpSpPr>
          <a:xfrm>
            <a:off x="10769865" y="2083245"/>
            <a:ext cx="96963" cy="64831"/>
            <a:chOff x="5307806" y="4907123"/>
            <a:chExt cx="134304" cy="86440"/>
          </a:xfrm>
        </p:grpSpPr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7E0EDC62-6D0B-BD92-DF21-07F8B22145FE}"/>
                </a:ext>
              </a:extLst>
            </p:cNvPr>
            <p:cNvCxnSpPr/>
            <p:nvPr/>
          </p:nvCxnSpPr>
          <p:spPr>
            <a:xfrm flipV="1">
              <a:off x="5307806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AEE35127-0D0A-0A79-B3E3-6BA1E01B5B13}"/>
                </a:ext>
              </a:extLst>
            </p:cNvPr>
            <p:cNvCxnSpPr/>
            <p:nvPr/>
          </p:nvCxnSpPr>
          <p:spPr>
            <a:xfrm flipV="1">
              <a:off x="5355670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4" name="Text Box 19">
            <a:extLst>
              <a:ext uri="{FF2B5EF4-FFF2-40B4-BE49-F238E27FC236}">
                <a16:creationId xmlns:a16="http://schemas.microsoft.com/office/drawing/2014/main" id="{7E1B6838-9AE5-B905-EF26-F911A267E6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83102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0</a:t>
            </a:r>
          </a:p>
        </p:txBody>
      </p:sp>
      <p:sp>
        <p:nvSpPr>
          <p:cNvPr id="215" name="Text Box 23">
            <a:extLst>
              <a:ext uri="{FF2B5EF4-FFF2-40B4-BE49-F238E27FC236}">
                <a16:creationId xmlns:a16="http://schemas.microsoft.com/office/drawing/2014/main" id="{C40704C3-3021-7703-237D-B1DE48BEBB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795" y="1773509"/>
            <a:ext cx="133359" cy="18466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</a:t>
            </a:r>
          </a:p>
        </p:txBody>
      </p:sp>
      <p:sp>
        <p:nvSpPr>
          <p:cNvPr id="217" name="Isosceles Triangle 1">
            <a:extLst>
              <a:ext uri="{FF2B5EF4-FFF2-40B4-BE49-F238E27FC236}">
                <a16:creationId xmlns:a16="http://schemas.microsoft.com/office/drawing/2014/main" id="{DCC4125C-CE76-109D-0DAF-0629A778C254}"/>
              </a:ext>
            </a:extLst>
          </p:cNvPr>
          <p:cNvSpPr>
            <a:spLocks/>
          </p:cNvSpPr>
          <p:nvPr/>
        </p:nvSpPr>
        <p:spPr>
          <a:xfrm>
            <a:off x="5656507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18" name="Isosceles Triangle 1">
            <a:extLst>
              <a:ext uri="{FF2B5EF4-FFF2-40B4-BE49-F238E27FC236}">
                <a16:creationId xmlns:a16="http://schemas.microsoft.com/office/drawing/2014/main" id="{680CC325-B526-B3A9-59F9-9BA8B5A84596}"/>
              </a:ext>
            </a:extLst>
          </p:cNvPr>
          <p:cNvSpPr>
            <a:spLocks noChangeAspect="1"/>
          </p:cNvSpPr>
          <p:nvPr/>
        </p:nvSpPr>
        <p:spPr>
          <a:xfrm>
            <a:off x="6009683" y="2373833"/>
            <a:ext cx="158440" cy="164592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19" name="Isosceles Triangle 1">
            <a:extLst>
              <a:ext uri="{FF2B5EF4-FFF2-40B4-BE49-F238E27FC236}">
                <a16:creationId xmlns:a16="http://schemas.microsoft.com/office/drawing/2014/main" id="{17FB4603-9265-B998-715D-01FF98904CEB}"/>
              </a:ext>
            </a:extLst>
          </p:cNvPr>
          <p:cNvSpPr>
            <a:spLocks/>
          </p:cNvSpPr>
          <p:nvPr/>
        </p:nvSpPr>
        <p:spPr>
          <a:xfrm>
            <a:off x="6363354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0" name="Isosceles Triangle 1">
            <a:extLst>
              <a:ext uri="{FF2B5EF4-FFF2-40B4-BE49-F238E27FC236}">
                <a16:creationId xmlns:a16="http://schemas.microsoft.com/office/drawing/2014/main" id="{8D08B38E-4D5F-4AE2-B4DD-15A6E4382F16}"/>
              </a:ext>
            </a:extLst>
          </p:cNvPr>
          <p:cNvSpPr>
            <a:spLocks/>
          </p:cNvSpPr>
          <p:nvPr/>
        </p:nvSpPr>
        <p:spPr>
          <a:xfrm>
            <a:off x="6743287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1" name="Isosceles Triangle 1">
            <a:extLst>
              <a:ext uri="{FF2B5EF4-FFF2-40B4-BE49-F238E27FC236}">
                <a16:creationId xmlns:a16="http://schemas.microsoft.com/office/drawing/2014/main" id="{D5F6DC95-2ECC-B062-EECD-381C7277095B}"/>
              </a:ext>
            </a:extLst>
          </p:cNvPr>
          <p:cNvSpPr>
            <a:spLocks/>
          </p:cNvSpPr>
          <p:nvPr/>
        </p:nvSpPr>
        <p:spPr>
          <a:xfrm>
            <a:off x="7135508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2" name="Isosceles Triangle 1">
            <a:extLst>
              <a:ext uri="{FF2B5EF4-FFF2-40B4-BE49-F238E27FC236}">
                <a16:creationId xmlns:a16="http://schemas.microsoft.com/office/drawing/2014/main" id="{885D69AA-2666-B46A-1E02-7062687BAE23}"/>
              </a:ext>
            </a:extLst>
          </p:cNvPr>
          <p:cNvSpPr>
            <a:spLocks/>
          </p:cNvSpPr>
          <p:nvPr/>
        </p:nvSpPr>
        <p:spPr>
          <a:xfrm>
            <a:off x="7500636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3" name="Isosceles Triangle 1">
            <a:extLst>
              <a:ext uri="{FF2B5EF4-FFF2-40B4-BE49-F238E27FC236}">
                <a16:creationId xmlns:a16="http://schemas.microsoft.com/office/drawing/2014/main" id="{6A7AFDF9-AE6F-07AF-2C1A-DD8E427DBBFF}"/>
              </a:ext>
            </a:extLst>
          </p:cNvPr>
          <p:cNvSpPr>
            <a:spLocks/>
          </p:cNvSpPr>
          <p:nvPr/>
        </p:nvSpPr>
        <p:spPr>
          <a:xfrm>
            <a:off x="7853808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4" name="Isosceles Triangle 1">
            <a:extLst>
              <a:ext uri="{FF2B5EF4-FFF2-40B4-BE49-F238E27FC236}">
                <a16:creationId xmlns:a16="http://schemas.microsoft.com/office/drawing/2014/main" id="{6FCDA45E-405E-2E3C-E851-E2B436BDCF92}"/>
              </a:ext>
            </a:extLst>
          </p:cNvPr>
          <p:cNvSpPr>
            <a:spLocks/>
          </p:cNvSpPr>
          <p:nvPr/>
        </p:nvSpPr>
        <p:spPr>
          <a:xfrm>
            <a:off x="8233399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5" name="Isosceles Triangle 1">
            <a:extLst>
              <a:ext uri="{FF2B5EF4-FFF2-40B4-BE49-F238E27FC236}">
                <a16:creationId xmlns:a16="http://schemas.microsoft.com/office/drawing/2014/main" id="{3453BE2E-EBB6-DD2A-07F4-C1BB942B7612}"/>
              </a:ext>
            </a:extLst>
          </p:cNvPr>
          <p:cNvSpPr>
            <a:spLocks/>
          </p:cNvSpPr>
          <p:nvPr/>
        </p:nvSpPr>
        <p:spPr>
          <a:xfrm>
            <a:off x="8586572" y="2367481"/>
            <a:ext cx="176045" cy="182880"/>
          </a:xfrm>
          <a:prstGeom prst="triangle">
            <a:avLst/>
          </a:prstGeom>
          <a:solidFill>
            <a:schemeClr val="accent2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sp>
        <p:nvSpPr>
          <p:cNvPr id="226" name="Text Box 19">
            <a:extLst>
              <a:ext uri="{FF2B5EF4-FFF2-40B4-BE49-F238E27FC236}">
                <a16:creationId xmlns:a16="http://schemas.microsoft.com/office/drawing/2014/main" id="{C8597B41-CF64-41B2-5A0C-236857020C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9025" y="1773509"/>
            <a:ext cx="335681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21</a:t>
            </a:r>
          </a:p>
        </p:txBody>
      </p:sp>
      <p:sp>
        <p:nvSpPr>
          <p:cNvPr id="227" name="Text Box 23">
            <a:extLst>
              <a:ext uri="{FF2B5EF4-FFF2-40B4-BE49-F238E27FC236}">
                <a16:creationId xmlns:a16="http://schemas.microsoft.com/office/drawing/2014/main" id="{4B365C0E-84ED-B0FE-61AA-B4290F7385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7812" y="1442137"/>
            <a:ext cx="69638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b="1" kern="0">
                <a:latin typeface="+mn-lt"/>
                <a:ea typeface="MS PGothic" pitchFamily="34" charset="-128"/>
                <a:cs typeface="Arial" charset="0"/>
              </a:rPr>
              <a:t>Week</a:t>
            </a:r>
          </a:p>
        </p:txBody>
      </p:sp>
      <p:sp>
        <p:nvSpPr>
          <p:cNvPr id="228" name="Text Box 19">
            <a:extLst>
              <a:ext uri="{FF2B5EF4-FFF2-40B4-BE49-F238E27FC236}">
                <a16:creationId xmlns:a16="http://schemas.microsoft.com/office/drawing/2014/main" id="{F5EDF7A2-58B2-9B42-EC11-ADF2C1C91D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18124" y="1773509"/>
            <a:ext cx="278179" cy="184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9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EB62488F-3A4B-5824-D1CB-58F565CA6D59}"/>
              </a:ext>
            </a:extLst>
          </p:cNvPr>
          <p:cNvSpPr/>
          <p:nvPr/>
        </p:nvSpPr>
        <p:spPr bwMode="auto">
          <a:xfrm>
            <a:off x="10357809" y="2240300"/>
            <a:ext cx="868631" cy="806401"/>
          </a:xfrm>
          <a:prstGeom prst="rect">
            <a:avLst/>
          </a:prstGeom>
          <a:solidFill>
            <a:srgbClr val="396C70"/>
          </a:solidFill>
          <a:ln w="9525" cap="flat" cmpd="sng" algn="ctr">
            <a:noFill/>
            <a:prstDash val="solid"/>
          </a:ln>
          <a:effectLst/>
        </p:spPr>
        <p:txBody>
          <a:bodyPr lIns="0" tIns="60952" rIns="0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600" b="1" kern="0">
                <a:solidFill>
                  <a:srgbClr val="FFFFFF"/>
                </a:solidFill>
                <a:ea typeface="MS Mincho" pitchFamily="49" charset="-128"/>
                <a:cs typeface="Calibri" panose="020F0502020204030204" pitchFamily="34" charset="0"/>
              </a:rPr>
              <a:t>Optional ATI</a:t>
            </a:r>
          </a:p>
        </p:txBody>
      </p:sp>
      <p:grpSp>
        <p:nvGrpSpPr>
          <p:cNvPr id="232" name="Shape9_20221019_175024">
            <a:extLst>
              <a:ext uri="{FF2B5EF4-FFF2-40B4-BE49-F238E27FC236}">
                <a16:creationId xmlns:a16="http://schemas.microsoft.com/office/drawing/2014/main" id="{E3CED70B-F87F-5E77-4910-03FDC4EC64EC}"/>
              </a:ext>
            </a:extLst>
          </p:cNvPr>
          <p:cNvGrpSpPr/>
          <p:nvPr/>
        </p:nvGrpSpPr>
        <p:grpSpPr>
          <a:xfrm>
            <a:off x="9465177" y="2067645"/>
            <a:ext cx="96963" cy="64831"/>
            <a:chOff x="5307806" y="4907123"/>
            <a:chExt cx="134304" cy="86440"/>
          </a:xfrm>
        </p:grpSpPr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9C866C88-A84F-5004-FF91-FC678F0800EC}"/>
                </a:ext>
              </a:extLst>
            </p:cNvPr>
            <p:cNvCxnSpPr/>
            <p:nvPr/>
          </p:nvCxnSpPr>
          <p:spPr>
            <a:xfrm flipV="1">
              <a:off x="5307806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3C28C552-3B59-74C3-1346-9ED2A9D4CC0D}"/>
                </a:ext>
              </a:extLst>
            </p:cNvPr>
            <p:cNvCxnSpPr/>
            <p:nvPr/>
          </p:nvCxnSpPr>
          <p:spPr>
            <a:xfrm flipV="1">
              <a:off x="5355670" y="4907123"/>
              <a:ext cx="86440" cy="8644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5" name="Text Box 19">
            <a:extLst>
              <a:ext uri="{FF2B5EF4-FFF2-40B4-BE49-F238E27FC236}">
                <a16:creationId xmlns:a16="http://schemas.microsoft.com/office/drawing/2014/main" id="{4603FAEE-5F54-F1FA-C98F-614BDA0ADC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05401" y="1788193"/>
            <a:ext cx="378947" cy="1552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>
                <a:latin typeface="+mn-lt"/>
                <a:ea typeface="MS PGothic" pitchFamily="34" charset="-128"/>
                <a:cs typeface="Arial" charset="0"/>
              </a:rPr>
              <a:t>40</a:t>
            </a:r>
            <a:endParaRPr lang="en-US" altLang="en-US" sz="1400" kern="0" baseline="30000">
              <a:latin typeface="+mn-lt"/>
              <a:ea typeface="MS PGothic" pitchFamily="34" charset="-128"/>
              <a:cs typeface="Arial" charset="0"/>
            </a:endParaRP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658F774C-BF00-7E9E-FDA8-930F3647378F}"/>
              </a:ext>
            </a:extLst>
          </p:cNvPr>
          <p:cNvSpPr txBox="1"/>
          <p:nvPr/>
        </p:nvSpPr>
        <p:spPr>
          <a:xfrm>
            <a:off x="5363229" y="3062072"/>
            <a:ext cx="762599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GB" sz="1400" b="1"/>
              <a:t>Period 1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FF2622BB-1716-F29D-2A9B-4C09C5F952D2}"/>
              </a:ext>
            </a:extLst>
          </p:cNvPr>
          <p:cNvSpPr txBox="1"/>
          <p:nvPr/>
        </p:nvSpPr>
        <p:spPr>
          <a:xfrm>
            <a:off x="7284662" y="3062072"/>
            <a:ext cx="762599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GB" sz="1400" b="1"/>
              <a:t>Period 2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9D756453-062C-8BD3-629A-41139266FC49}"/>
              </a:ext>
            </a:extLst>
          </p:cNvPr>
          <p:cNvSpPr txBox="1"/>
          <p:nvPr/>
        </p:nvSpPr>
        <p:spPr>
          <a:xfrm>
            <a:off x="9322193" y="3062072"/>
            <a:ext cx="762599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GB" sz="1400" b="1"/>
              <a:t>Period 3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8A1E46A3-F994-0014-050E-5A22044769C9}"/>
              </a:ext>
            </a:extLst>
          </p:cNvPr>
          <p:cNvSpPr txBox="1"/>
          <p:nvPr/>
        </p:nvSpPr>
        <p:spPr>
          <a:xfrm>
            <a:off x="10410824" y="3062072"/>
            <a:ext cx="762599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GB" sz="1400" b="1"/>
              <a:t>Period 4</a:t>
            </a: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69E8CBAF-79C6-6613-6DF1-EC5A8FF7A072}"/>
              </a:ext>
            </a:extLst>
          </p:cNvPr>
          <p:cNvSpPr>
            <a:spLocks/>
          </p:cNvSpPr>
          <p:nvPr/>
        </p:nvSpPr>
        <p:spPr bwMode="auto">
          <a:xfrm>
            <a:off x="2699083" y="2249061"/>
            <a:ext cx="1499616" cy="801695"/>
          </a:xfrm>
          <a:prstGeom prst="rect">
            <a:avLst/>
          </a:prstGeom>
          <a:solidFill>
            <a:srgbClr val="688C38">
              <a:alpha val="74902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0" tIns="60952" rIns="0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400" b="1" kern="0">
                <a:ea typeface="MS Mincho" pitchFamily="49" charset="-128"/>
                <a:cs typeface="Calibri" panose="020F0502020204030204" pitchFamily="34" charset="0"/>
              </a:rPr>
              <a:t>Screening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CB35A875-7045-BBCA-6CB2-A9D7FFB92FFF}"/>
              </a:ext>
            </a:extLst>
          </p:cNvPr>
          <p:cNvSpPr txBox="1"/>
          <p:nvPr/>
        </p:nvSpPr>
        <p:spPr>
          <a:xfrm>
            <a:off x="2689561" y="1851285"/>
            <a:ext cx="1498600" cy="26161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GB" sz="1400"/>
              <a:t>≤ 35 days</a:t>
            </a:r>
          </a:p>
        </p:txBody>
      </p:sp>
      <p:sp>
        <p:nvSpPr>
          <p:cNvPr id="245" name="Shape10_20221019_175024">
            <a:extLst>
              <a:ext uri="{FF2B5EF4-FFF2-40B4-BE49-F238E27FC236}">
                <a16:creationId xmlns:a16="http://schemas.microsoft.com/office/drawing/2014/main" id="{5A7C694D-14DD-CD9F-BE45-11EDB6CA8B5F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2697450" y="2094125"/>
            <a:ext cx="1492929" cy="57855"/>
          </a:xfrm>
          <a:custGeom>
            <a:avLst/>
            <a:gdLst>
              <a:gd name="T0" fmla="*/ 316236 w 2663825"/>
              <a:gd name="T1" fmla="*/ 0 h 127000"/>
              <a:gd name="T2" fmla="*/ 316236 w 2663825"/>
              <a:gd name="T3" fmla="*/ 127000 h 127000"/>
              <a:gd name="T4" fmla="*/ 0 w 2663825"/>
              <a:gd name="T5" fmla="*/ 127000 h 127000"/>
              <a:gd name="T6" fmla="*/ 0 w 2663825"/>
              <a:gd name="T7" fmla="*/ 3175 h 127000"/>
              <a:gd name="T8" fmla="*/ 0 60000 65536"/>
              <a:gd name="T9" fmla="*/ 0 60000 65536"/>
              <a:gd name="T10" fmla="*/ 0 60000 65536"/>
              <a:gd name="T11" fmla="*/ 0 60000 65536"/>
              <a:gd name="T12" fmla="*/ 0 w 2663825"/>
              <a:gd name="T13" fmla="*/ 0 h 127000"/>
              <a:gd name="T14" fmla="*/ 2663825 w 2663825"/>
              <a:gd name="T15" fmla="*/ 127000 h 127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63825" h="127000">
                <a:moveTo>
                  <a:pt x="2663825" y="0"/>
                </a:moveTo>
                <a:lnTo>
                  <a:pt x="2663825" y="127000"/>
                </a:lnTo>
                <a:lnTo>
                  <a:pt x="0" y="127000"/>
                </a:lnTo>
                <a:lnTo>
                  <a:pt x="0" y="3175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400">
              <a:solidFill>
                <a:srgbClr val="54565B"/>
              </a:solidFill>
              <a:cs typeface="Arial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A0DA4DF-7349-FB71-E171-8FA5EEF7693F}"/>
              </a:ext>
            </a:extLst>
          </p:cNvPr>
          <p:cNvGrpSpPr/>
          <p:nvPr/>
        </p:nvGrpSpPr>
        <p:grpSpPr>
          <a:xfrm>
            <a:off x="5744529" y="1242395"/>
            <a:ext cx="1137139" cy="1021405"/>
            <a:chOff x="5744529" y="1242395"/>
            <a:chExt cx="1137139" cy="1021405"/>
          </a:xfrm>
        </p:grpSpPr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C1F3CC9D-B922-FD4D-B184-79F6766AED8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89509" y="1544165"/>
              <a:ext cx="2655" cy="719635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342CAD9-EC59-F848-AB28-DD35B2BB55F9}"/>
                </a:ext>
              </a:extLst>
            </p:cNvPr>
            <p:cNvSpPr txBox="1"/>
            <p:nvPr/>
          </p:nvSpPr>
          <p:spPr>
            <a:xfrm>
              <a:off x="5744529" y="1242395"/>
              <a:ext cx="1137139" cy="27082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r>
                <a:rPr lang="en-US" sz="1600" b="1" dirty="0">
                  <a:solidFill>
                    <a:schemeClr val="accent1"/>
                  </a:solidFill>
                </a:rPr>
                <a:t>ART stop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69BAAF8-0715-24A9-068C-AEC3A9B87CB6}"/>
              </a:ext>
            </a:extLst>
          </p:cNvPr>
          <p:cNvGrpSpPr/>
          <p:nvPr/>
        </p:nvGrpSpPr>
        <p:grpSpPr>
          <a:xfrm>
            <a:off x="528656" y="3409769"/>
            <a:ext cx="1145180" cy="305708"/>
            <a:chOff x="1617725" y="2801293"/>
            <a:chExt cx="858885" cy="229281"/>
          </a:xfrm>
        </p:grpSpPr>
        <p:sp>
          <p:nvSpPr>
            <p:cNvPr id="21" name="Isosceles Triangle 1">
              <a:extLst>
                <a:ext uri="{FF2B5EF4-FFF2-40B4-BE49-F238E27FC236}">
                  <a16:creationId xmlns:a16="http://schemas.microsoft.com/office/drawing/2014/main" id="{937FF5B5-A624-C825-838B-31E4FAC82400}"/>
                </a:ext>
              </a:extLst>
            </p:cNvPr>
            <p:cNvSpPr>
              <a:spLocks/>
            </p:cNvSpPr>
            <p:nvPr/>
          </p:nvSpPr>
          <p:spPr>
            <a:xfrm>
              <a:off x="1617725" y="2836587"/>
              <a:ext cx="132034" cy="137160"/>
            </a:xfrm>
            <a:prstGeom prst="triangl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169">
                <a:defRPr/>
              </a:pPr>
              <a:endParaRPr lang="en-US" sz="1400" kern="0">
                <a:solidFill>
                  <a:srgbClr val="54565B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F1836F9D-346F-0CF8-7FE3-0A7CB156670C}"/>
                </a:ext>
              </a:extLst>
            </p:cNvPr>
            <p:cNvSpPr txBox="1"/>
            <p:nvPr/>
          </p:nvSpPr>
          <p:spPr>
            <a:xfrm>
              <a:off x="1806027" y="2801293"/>
              <a:ext cx="670583" cy="22928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defRPr/>
              </a:pPr>
              <a:r>
                <a:rPr lang="en-US" sz="1400">
                  <a:cs typeface="Arial" panose="020B0604020202020204" pitchFamily="34" charset="0"/>
                </a:rPr>
                <a:t>VES (oral)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9C61950-B917-A120-8A04-57385EE464FF}"/>
              </a:ext>
            </a:extLst>
          </p:cNvPr>
          <p:cNvGrpSpPr/>
          <p:nvPr/>
        </p:nvGrpSpPr>
        <p:grpSpPr>
          <a:xfrm>
            <a:off x="1795264" y="3427830"/>
            <a:ext cx="4114621" cy="269585"/>
            <a:chOff x="768486" y="3169475"/>
            <a:chExt cx="3085966" cy="202189"/>
          </a:xfrm>
        </p:grpSpPr>
        <p:sp>
          <p:nvSpPr>
            <p:cNvPr id="19" name="Isosceles Triangle 1">
              <a:extLst>
                <a:ext uri="{FF2B5EF4-FFF2-40B4-BE49-F238E27FC236}">
                  <a16:creationId xmlns:a16="http://schemas.microsoft.com/office/drawing/2014/main" id="{43FDCBA7-269F-38CD-8379-CAA3D7E8B4E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8486" y="3211738"/>
              <a:ext cx="106948" cy="111100"/>
            </a:xfrm>
            <a:prstGeom prst="triangle">
              <a:avLst/>
            </a:prstGeom>
            <a:solidFill>
              <a:schemeClr val="accent2"/>
            </a:solidFill>
            <a:ln w="25400" cap="flat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169">
                <a:defRPr/>
              </a:pPr>
              <a:endParaRPr lang="en-US" sz="1400" kern="0">
                <a:solidFill>
                  <a:srgbClr val="54565B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ED93044-774A-C280-3599-67F64A8E6469}"/>
                </a:ext>
              </a:extLst>
            </p:cNvPr>
            <p:cNvSpPr txBox="1"/>
            <p:nvPr/>
          </p:nvSpPr>
          <p:spPr>
            <a:xfrm>
              <a:off x="974091" y="3169475"/>
              <a:ext cx="2880361" cy="20218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defRPr/>
              </a:pPr>
              <a:r>
                <a:rPr lang="en-US" sz="1400" dirty="0">
                  <a:cs typeface="Arial" panose="020B0604020202020204" pitchFamily="34" charset="0"/>
                </a:rPr>
                <a:t>Possible VES dose </a:t>
              </a:r>
              <a:r>
                <a:rPr lang="en-US" sz="1400" dirty="0" err="1">
                  <a:cs typeface="Arial" panose="020B0604020202020204" pitchFamily="34" charset="0"/>
                </a:rPr>
                <a:t>escalation</a:t>
              </a:r>
              <a:r>
                <a:rPr lang="en-US" sz="1400" baseline="30000" dirty="0" err="1">
                  <a:cs typeface="Arial" panose="020B0604020202020204" pitchFamily="34" charset="0"/>
                </a:rPr>
                <a:t>a</a:t>
              </a:r>
              <a:r>
                <a:rPr lang="en-US" sz="1400" dirty="0">
                  <a:cs typeface="Arial" panose="020B0604020202020204" pitchFamily="34" charset="0"/>
                </a:rPr>
                <a:t> from 6 to 8 mg </a:t>
              </a:r>
            </a:p>
          </p:txBody>
        </p: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E772A4-80C5-80BB-B5D9-35112F5A678C}"/>
              </a:ext>
            </a:extLst>
          </p:cNvPr>
          <p:cNvCxnSpPr/>
          <p:nvPr/>
        </p:nvCxnSpPr>
        <p:spPr>
          <a:xfrm>
            <a:off x="528656" y="3378826"/>
            <a:ext cx="11168796" cy="0"/>
          </a:xfrm>
          <a:prstGeom prst="line">
            <a:avLst/>
          </a:prstGeom>
          <a:ln>
            <a:solidFill>
              <a:srgbClr val="5456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B96E7C7-629B-C2A0-7453-6D133677B70B}"/>
              </a:ext>
            </a:extLst>
          </p:cNvPr>
          <p:cNvCxnSpPr>
            <a:cxnSpLocks/>
          </p:cNvCxnSpPr>
          <p:nvPr/>
        </p:nvCxnSpPr>
        <p:spPr>
          <a:xfrm flipV="1">
            <a:off x="9694874" y="2045420"/>
            <a:ext cx="0" cy="63531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BD1053E8-455F-5BB7-B65F-5A9B1F44E401}"/>
              </a:ext>
            </a:extLst>
          </p:cNvPr>
          <p:cNvSpPr/>
          <p:nvPr/>
        </p:nvSpPr>
        <p:spPr bwMode="auto">
          <a:xfrm>
            <a:off x="4310431" y="2647623"/>
            <a:ext cx="885411" cy="399959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lIns="91440" tIns="60885" rIns="91440" bIns="60885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400" b="1" kern="0" dirty="0">
                <a:ea typeface="MS Mincho" pitchFamily="49" charset="-128"/>
                <a:cs typeface="Calibri" panose="020F0502020204030204" pitchFamily="34" charset="0"/>
              </a:rPr>
              <a:t>bNAbs</a:t>
            </a:r>
          </a:p>
        </p:txBody>
      </p:sp>
      <p:sp>
        <p:nvSpPr>
          <p:cNvPr id="5" name="Isosceles Triangle 1">
            <a:extLst>
              <a:ext uri="{FF2B5EF4-FFF2-40B4-BE49-F238E27FC236}">
                <a16:creationId xmlns:a16="http://schemas.microsoft.com/office/drawing/2014/main" id="{8F13865E-E396-9EE4-FF38-7CF3ADD84E27}"/>
              </a:ext>
            </a:extLst>
          </p:cNvPr>
          <p:cNvSpPr>
            <a:spLocks/>
          </p:cNvSpPr>
          <p:nvPr/>
        </p:nvSpPr>
        <p:spPr>
          <a:xfrm rot="10800000">
            <a:off x="5436168" y="2806053"/>
            <a:ext cx="176045" cy="182880"/>
          </a:xfrm>
          <a:prstGeom prst="triangle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3169">
              <a:defRPr/>
            </a:pPr>
            <a:endParaRPr lang="en-US" sz="1400" kern="0">
              <a:solidFill>
                <a:srgbClr val="54565B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46BD63A-881D-DA51-54EB-90378262E4CF}"/>
              </a:ext>
            </a:extLst>
          </p:cNvPr>
          <p:cNvGrpSpPr/>
          <p:nvPr/>
        </p:nvGrpSpPr>
        <p:grpSpPr>
          <a:xfrm>
            <a:off x="5847432" y="3424149"/>
            <a:ext cx="6201164" cy="276999"/>
            <a:chOff x="3663697" y="3003694"/>
            <a:chExt cx="4650873" cy="207749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C2B0430-C753-F7D9-FF41-6A087BC066A5}"/>
                </a:ext>
              </a:extLst>
            </p:cNvPr>
            <p:cNvSpPr txBox="1"/>
            <p:nvPr/>
          </p:nvSpPr>
          <p:spPr>
            <a:xfrm>
              <a:off x="3844800" y="3003694"/>
              <a:ext cx="4469770" cy="20774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>
                <a:defRPr/>
              </a:pPr>
              <a:r>
                <a:rPr lang="en-US" sz="1400" dirty="0">
                  <a:cs typeface="Arial" panose="020B0604020202020204" pitchFamily="34" charset="0"/>
                </a:rPr>
                <a:t>bNAbs: VRC07-523LS + CAP256V2LS (NIH) (</a:t>
              </a:r>
              <a:r>
                <a:rPr lang="en-GB" sz="1400" dirty="0">
                  <a:cs typeface="Arial" panose="020B0604020202020204" pitchFamily="34" charset="0"/>
                </a:rPr>
                <a:t>20 mg/kg IV each </a:t>
              </a:r>
              <a:r>
                <a:rPr lang="en-GB" sz="1400" dirty="0" err="1">
                  <a:cs typeface="Arial" panose="020B0604020202020204" pitchFamily="34" charset="0"/>
                </a:rPr>
                <a:t>bNAb</a:t>
              </a:r>
              <a:r>
                <a:rPr lang="en-GB" sz="1400" dirty="0">
                  <a:cs typeface="Arial" panose="020B0604020202020204" pitchFamily="34" charset="0"/>
                </a:rPr>
                <a:t>)</a:t>
              </a:r>
              <a:endParaRPr lang="en-US" sz="1400" dirty="0">
                <a:cs typeface="Arial" panose="020B0604020202020204" pitchFamily="34" charset="0"/>
              </a:endParaRPr>
            </a:p>
          </p:txBody>
        </p:sp>
        <p:sp>
          <p:nvSpPr>
            <p:cNvPr id="14" name="Isosceles Triangle 1">
              <a:extLst>
                <a:ext uri="{FF2B5EF4-FFF2-40B4-BE49-F238E27FC236}">
                  <a16:creationId xmlns:a16="http://schemas.microsoft.com/office/drawing/2014/main" id="{3BCD463F-2066-F052-6B6A-A3C7D5DD920D}"/>
                </a:ext>
              </a:extLst>
            </p:cNvPr>
            <p:cNvSpPr>
              <a:spLocks/>
            </p:cNvSpPr>
            <p:nvPr/>
          </p:nvSpPr>
          <p:spPr>
            <a:xfrm rot="10800000">
              <a:off x="3663697" y="3049150"/>
              <a:ext cx="132034" cy="137160"/>
            </a:xfrm>
            <a:prstGeom prst="triangle">
              <a:avLst/>
            </a:prstGeom>
            <a:solidFill>
              <a:schemeClr val="accent6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169">
                <a:defRPr/>
              </a:pPr>
              <a:endParaRPr lang="en-US" sz="1400" kern="0">
                <a:solidFill>
                  <a:srgbClr val="54565B"/>
                </a:solidFill>
              </a:endParaRPr>
            </a:p>
          </p:txBody>
        </p:sp>
      </p:grp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D9F4DC0-0207-E360-28AC-2E5AB3BDD66C}"/>
              </a:ext>
            </a:extLst>
          </p:cNvPr>
          <p:cNvSpPr txBox="1">
            <a:spLocks/>
          </p:cNvSpPr>
          <p:nvPr/>
        </p:nvSpPr>
        <p:spPr bwMode="auto">
          <a:xfrm>
            <a:off x="511602" y="3877251"/>
            <a:ext cx="11168796" cy="1907317"/>
          </a:xfrm>
          <a:prstGeom prst="rect">
            <a:avLst/>
          </a:prstGeom>
          <a:solidFill>
            <a:srgbClr val="E8F3F3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06910" indent="-306910" algn="l" defTabSz="912261" rtl="0" eaLnBrk="0" fontAlgn="base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15935" indent="-309026" algn="l" defTabSz="912261" rtl="0" eaLnBrk="0" fontAlgn="base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–"/>
              <a:tabLst/>
              <a:defRPr sz="18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912261" indent="-296326" algn="l" defTabSz="912261" rtl="0" eaLnBrk="0" fontAlgn="base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219170" indent="-306910" algn="l" defTabSz="912261" rtl="0" eaLnBrk="0" fontAlgn="base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526079" indent="-306910" algn="l" defTabSz="912261" rtl="0" eaLnBrk="0" fontAlgn="base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2941" indent="-228450" algn="l" defTabSz="913798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842" indent="-228450" algn="l" defTabSz="913798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740" indent="-228450" algn="l" defTabSz="913798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638" indent="-228450" algn="l" defTabSz="913798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8924" lvl="1" indent="0" algn="ctr" defTabSz="912239">
              <a:spcBef>
                <a:spcPts val="133"/>
              </a:spcBef>
              <a:spcAft>
                <a:spcPts val="133"/>
              </a:spcAft>
              <a:buNone/>
            </a:pPr>
            <a:r>
              <a:rPr lang="en-US" b="1" dirty="0">
                <a:solidFill>
                  <a:schemeClr val="accent2">
                    <a:lumMod val="75000"/>
                  </a:schemeClr>
                </a:solidFill>
                <a:latin typeface="Arial" panose="020B0604020202020204"/>
              </a:rPr>
              <a:t>ART restart criteria</a:t>
            </a:r>
          </a:p>
          <a:p>
            <a:pPr marL="377943" lvl="1" indent="-309019" defTabSz="912239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400" spc="-13" dirty="0">
                <a:solidFill>
                  <a:schemeClr val="accent2"/>
                </a:solidFill>
                <a:latin typeface="+mj-lt"/>
              </a:rPr>
              <a:t>Plasma HIV-1 RNA measurements ≥ 1000 copies/mL for </a:t>
            </a:r>
            <a:r>
              <a:rPr lang="en-GB" sz="1400" b="1" u="sng" spc="-27" dirty="0">
                <a:solidFill>
                  <a:schemeClr val="accent2"/>
                </a:solidFill>
                <a:latin typeface="+mj-lt"/>
              </a:rPr>
              <a:t>8 consecutive weeks</a:t>
            </a:r>
            <a:r>
              <a:rPr lang="en-GB" sz="1400" b="1" spc="-27" dirty="0">
                <a:solidFill>
                  <a:schemeClr val="accent2"/>
                </a:solidFill>
                <a:latin typeface="+mj-lt"/>
              </a:rPr>
              <a:t> </a:t>
            </a:r>
            <a:r>
              <a:rPr lang="en-GB" sz="1400" spc="-27" dirty="0">
                <a:solidFill>
                  <a:schemeClr val="accent2"/>
                </a:solidFill>
                <a:latin typeface="+mj-lt"/>
              </a:rPr>
              <a:t>without a drop of 0.3 log</a:t>
            </a:r>
            <a:r>
              <a:rPr lang="en-GB" sz="1400" spc="-27" baseline="-25000" dirty="0">
                <a:solidFill>
                  <a:schemeClr val="accent2"/>
                </a:solidFill>
                <a:latin typeface="+mj-lt"/>
              </a:rPr>
              <a:t>10</a:t>
            </a:r>
            <a:r>
              <a:rPr lang="en-GB" sz="1400" spc="-27" dirty="0">
                <a:solidFill>
                  <a:schemeClr val="accent2"/>
                </a:solidFill>
                <a:latin typeface="+mj-lt"/>
              </a:rPr>
              <a:t> from previous week</a:t>
            </a:r>
          </a:p>
          <a:p>
            <a:pPr marL="377943" lvl="1" indent="-309019" defTabSz="912239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accent2"/>
                </a:solidFill>
                <a:latin typeface="+mj-lt"/>
              </a:rPr>
              <a:t>Confirmed plasma HIV-1 RNA &gt; 100,000 copies/mL</a:t>
            </a:r>
          </a:p>
          <a:p>
            <a:pPr marL="377943" lvl="1" indent="-309019" defTabSz="912239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accent2"/>
                </a:solidFill>
                <a:latin typeface="+mj-lt"/>
              </a:rPr>
              <a:t>Confirmed CD4+ T-cell count &lt; 350 cells/</a:t>
            </a:r>
            <a:r>
              <a:rPr lang="en-GB" sz="1400" dirty="0" err="1">
                <a:solidFill>
                  <a:schemeClr val="accent2"/>
                </a:solidFill>
                <a:latin typeface="+mj-lt"/>
              </a:rPr>
              <a:t>μL</a:t>
            </a:r>
            <a:endParaRPr lang="en-GB" sz="1400" dirty="0">
              <a:solidFill>
                <a:schemeClr val="accent2"/>
              </a:solidFill>
              <a:latin typeface="+mj-lt"/>
            </a:endParaRPr>
          </a:p>
          <a:p>
            <a:pPr marL="377943" lvl="1" indent="-309019" defTabSz="912239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accent2"/>
                </a:solidFill>
                <a:latin typeface="+mj-lt"/>
              </a:rPr>
              <a:t>Pregnancy, participant request, or investigator/sponsor discretion due to other clinical criteria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1E17AE5-F879-809F-E8BD-9718193207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923" y="921426"/>
            <a:ext cx="2405794" cy="2346796"/>
          </a:xfrm>
          <a:prstGeom prst="rect">
            <a:avLst/>
          </a:prstGeom>
          <a:solidFill>
            <a:srgbClr val="DDDDEA"/>
          </a:solidFill>
          <a:ln>
            <a:noFill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  <a:spAutoFit/>
          </a:bodyPr>
          <a:lstStyle/>
          <a:p>
            <a:pPr marL="91438" fontAlgn="base">
              <a:spcAft>
                <a:spcPts val="600"/>
              </a:spcAft>
              <a:buSzPct val="100000"/>
            </a:pPr>
            <a:r>
              <a:rPr lang="en-US" sz="1600" b="1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Inclusion criteria</a:t>
            </a:r>
          </a:p>
          <a:p>
            <a:pPr marL="228600" indent="-228600" fontAlgn="base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Females from FRESH cohort</a:t>
            </a:r>
            <a:endParaRPr lang="en-US" altLang="en-US" sz="1400" dirty="0">
              <a:solidFill>
                <a:srgbClr val="203662"/>
              </a:solidFill>
              <a:latin typeface="+mj-lt"/>
              <a:ea typeface="Roboto"/>
              <a:cs typeface="Arial" charset="0"/>
            </a:endParaRPr>
          </a:p>
          <a:p>
            <a:pPr marL="228600" indent="-228600" fontAlgn="base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Virally suppressed on ART &gt; 12 months</a:t>
            </a:r>
          </a:p>
          <a:p>
            <a:pPr marL="228600" indent="-228600" fontAlgn="base"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Sensitive to at least 1 of the 2 bNAbs</a:t>
            </a:r>
          </a:p>
          <a:p>
            <a:pPr marL="228600" indent="-228600" fontAlgn="base"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CD4+ T-cell count </a:t>
            </a:r>
            <a:b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</a:b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≥ 500 cells/</a:t>
            </a:r>
            <a:r>
              <a:rPr lang="el-GR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μ</a:t>
            </a:r>
            <a:r>
              <a:rPr lang="en-US" sz="1400" dirty="0">
                <a:solidFill>
                  <a:srgbClr val="203662"/>
                </a:solidFill>
                <a:latin typeface="+mj-lt"/>
                <a:ea typeface="Roboto"/>
                <a:cs typeface="Arial" charset="0"/>
              </a:rPr>
              <a:t>L</a:t>
            </a:r>
            <a:endParaRPr lang="en-US" altLang="en-US" sz="1400" dirty="0">
              <a:solidFill>
                <a:srgbClr val="203662"/>
              </a:solidFill>
              <a:latin typeface="+mj-lt"/>
              <a:ea typeface="Roboto"/>
              <a:cs typeface="Arial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52D1CC4-7831-8965-3A59-18954B4AB3C4}"/>
              </a:ext>
            </a:extLst>
          </p:cNvPr>
          <p:cNvSpPr txBox="1"/>
          <p:nvPr/>
        </p:nvSpPr>
        <p:spPr>
          <a:xfrm>
            <a:off x="290327" y="5774767"/>
            <a:ext cx="7258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68924" lvl="1" indent="0" defTabSz="912239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400" i="1" dirty="0">
                <a:solidFill>
                  <a:schemeClr val="accent2"/>
                </a:solidFill>
                <a:latin typeface="Arial" panose="020B0604020202020204"/>
              </a:rPr>
              <a:t>During ATI, viral load was monitored every 2 weeks until initial rebound, then every week</a:t>
            </a:r>
            <a:endParaRPr lang="en-US" sz="1800" i="1" dirty="0">
              <a:solidFill>
                <a:schemeClr val="accent2"/>
              </a:solidFill>
              <a:latin typeface="Arial" panose="020B0604020202020204"/>
            </a:endParaRPr>
          </a:p>
        </p:txBody>
      </p:sp>
      <p:sp>
        <p:nvSpPr>
          <p:cNvPr id="23" name="Text Box 19">
            <a:extLst>
              <a:ext uri="{FF2B5EF4-FFF2-40B4-BE49-F238E27FC236}">
                <a16:creationId xmlns:a16="http://schemas.microsoft.com/office/drawing/2014/main" id="{487CB851-8007-1266-8C59-36785EE1E7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08611" y="1753546"/>
            <a:ext cx="251224" cy="2245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 dirty="0">
                <a:latin typeface="+mn-lt"/>
                <a:ea typeface="MS PGothic" pitchFamily="34" charset="-128"/>
                <a:cs typeface="Arial" charset="0"/>
              </a:rPr>
              <a:t>14</a:t>
            </a:r>
          </a:p>
        </p:txBody>
      </p:sp>
      <p:sp>
        <p:nvSpPr>
          <p:cNvPr id="26" name="Text Box 23">
            <a:extLst>
              <a:ext uri="{FF2B5EF4-FFF2-40B4-BE49-F238E27FC236}">
                <a16:creationId xmlns:a16="http://schemas.microsoft.com/office/drawing/2014/main" id="{B39E43EF-F7BE-7EEE-448C-CF4375C31B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41936" y="1746884"/>
            <a:ext cx="273011" cy="2379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 dirty="0">
                <a:latin typeface="+mn-lt"/>
                <a:ea typeface="MS PGothic" pitchFamily="34" charset="-128"/>
                <a:cs typeface="Arial" charset="0"/>
              </a:rPr>
              <a:t>18</a:t>
            </a:r>
          </a:p>
        </p:txBody>
      </p:sp>
      <p:sp>
        <p:nvSpPr>
          <p:cNvPr id="27" name="Text Box 23">
            <a:extLst>
              <a:ext uri="{FF2B5EF4-FFF2-40B4-BE49-F238E27FC236}">
                <a16:creationId xmlns:a16="http://schemas.microsoft.com/office/drawing/2014/main" id="{84CC4053-07CD-173E-A967-2C87745B57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72843" y="1746884"/>
            <a:ext cx="273011" cy="2379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eaLnBrk="0" hangingPunct="0">
              <a:spcBef>
                <a:spcPct val="20000"/>
              </a:spcBef>
              <a:buClr>
                <a:srgbClr val="990000"/>
              </a:buClr>
              <a:buFont typeface="Symbol" pitchFamily="18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4532" eaLnBrk="1" hangingPunct="1">
              <a:spcBef>
                <a:spcPct val="50000"/>
              </a:spcBef>
              <a:buClrTx/>
              <a:buNone/>
              <a:defRPr/>
            </a:pPr>
            <a:r>
              <a:rPr lang="en-US" altLang="en-US" sz="1400" kern="0" dirty="0">
                <a:latin typeface="+mn-lt"/>
                <a:ea typeface="MS PGothic" pitchFamily="34" charset="-128"/>
                <a:cs typeface="Arial" charset="0"/>
              </a:rPr>
              <a:t>16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0F1CCA7-DEBA-8EC7-B04F-0BDFB13B2992}"/>
              </a:ext>
            </a:extLst>
          </p:cNvPr>
          <p:cNvSpPr/>
          <p:nvPr/>
        </p:nvSpPr>
        <p:spPr bwMode="auto">
          <a:xfrm>
            <a:off x="9306566" y="2247033"/>
            <a:ext cx="784575" cy="799667"/>
          </a:xfrm>
          <a:prstGeom prst="rect">
            <a:avLst/>
          </a:prstGeom>
          <a:solidFill>
            <a:srgbClr val="55A2A8"/>
          </a:solidFill>
          <a:ln w="9525" cap="flat" cmpd="sng" algn="ctr">
            <a:noFill/>
            <a:prstDash val="solid"/>
          </a:ln>
          <a:effectLst/>
        </p:spPr>
        <p:txBody>
          <a:bodyPr lIns="0" tIns="60952" rIns="0" bIns="60952" anchor="ctr">
            <a:noAutofit/>
          </a:bodyPr>
          <a:lstStyle/>
          <a:p>
            <a:pPr algn="ctr" defTabSz="91330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20000"/>
              <a:defRPr/>
            </a:pPr>
            <a:r>
              <a:rPr lang="en-US" sz="1600" b="1" kern="0" dirty="0">
                <a:ea typeface="MS Mincho" pitchFamily="49" charset="-128"/>
                <a:cs typeface="Calibri" panose="020F0502020204030204" pitchFamily="34" charset="0"/>
              </a:rPr>
              <a:t>ATI</a:t>
            </a:r>
            <a:endParaRPr lang="en-US" sz="1400" b="1" kern="0" dirty="0">
              <a:ea typeface="MS Mincho" pitchFamily="49" charset="-128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34124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d">
  <a:themeElements>
    <a:clrScheme name="Gilead colors">
      <a:dk1>
        <a:srgbClr val="1E1E1E"/>
      </a:dk1>
      <a:lt1>
        <a:srgbClr val="FFFFFF"/>
      </a:lt1>
      <a:dk2>
        <a:srgbClr val="C6CAC6"/>
      </a:dk2>
      <a:lt2>
        <a:srgbClr val="E8EAE8"/>
      </a:lt2>
      <a:accent1>
        <a:srgbClr val="C50F3C"/>
      </a:accent1>
      <a:accent2>
        <a:srgbClr val="3C587F"/>
      </a:accent2>
      <a:accent3>
        <a:srgbClr val="881222"/>
      </a:accent3>
      <a:accent4>
        <a:srgbClr val="7B98C1"/>
      </a:accent4>
      <a:accent5>
        <a:srgbClr val="0064A8"/>
      </a:accent5>
      <a:accent6>
        <a:srgbClr val="FFC000"/>
      </a:accent6>
      <a:hlink>
        <a:srgbClr val="56C7AA"/>
      </a:hlink>
      <a:folHlink>
        <a:srgbClr val="59A8D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F16411250_Bright business presentation_AAS_v3" id="{57D58BC9-3F05-45D4-81CD-7BA898B4CAAD}" vid="{0F92AA19-00D6-4C71-B13F-219D7994A0BF}"/>
    </a:ext>
  </a:extLst>
</a:theme>
</file>

<file path=ppt/theme/theme2.xml><?xml version="1.0" encoding="utf-8"?>
<a:theme xmlns:a="http://schemas.openxmlformats.org/drawingml/2006/main" name="Creating Possible_PURPOSE_2024">
  <a:themeElements>
    <a:clrScheme name="Gilead PURPOSE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203661"/>
      </a:accent1>
      <a:accent2>
        <a:srgbClr val="3C587F"/>
      </a:accent2>
      <a:accent3>
        <a:srgbClr val="8DC1C5"/>
      </a:accent3>
      <a:accent4>
        <a:srgbClr val="688C38"/>
      </a:accent4>
      <a:accent5>
        <a:srgbClr val="AEB618"/>
      </a:accent5>
      <a:accent6>
        <a:srgbClr val="000000"/>
      </a:accent6>
      <a:hlink>
        <a:srgbClr val="3A6C8A"/>
      </a:hlink>
      <a:folHlink>
        <a:srgbClr val="8F7F9E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reating Possible PURPOSE 2024 (WiP)" id="{880107C8-D3C0-4CB9-B058-353ACE06CE65}" vid="{CF3D3D12-16A4-4972-B651-CDFE7E240CD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62F7607691F3F4E927E61A083FCF90A" ma:contentTypeVersion="15" ma:contentTypeDescription="Create a new document." ma:contentTypeScope="" ma:versionID="21b9a25061d756466c49063562cb8ca7">
  <xsd:schema xmlns:xsd="http://www.w3.org/2001/XMLSchema" xmlns:xs="http://www.w3.org/2001/XMLSchema" xmlns:p="http://schemas.microsoft.com/office/2006/metadata/properties" xmlns:ns2="2f855850-2c90-41f1-8ea4-90bf6a10880d" xmlns:ns3="98098172-b143-4fc6-b7dd-0e31b2cd5ed1" targetNamespace="http://schemas.microsoft.com/office/2006/metadata/properties" ma:root="true" ma:fieldsID="e2cc79d8435e476bdfc6c7ee0c15801f" ns2:_="" ns3:_="">
    <xsd:import namespace="2f855850-2c90-41f1-8ea4-90bf6a10880d"/>
    <xsd:import namespace="98098172-b143-4fc6-b7dd-0e31b2cd5ed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855850-2c90-41f1-8ea4-90bf6a1088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8a59aaaf-67c2-4a9b-8dae-6c62ae0ca49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098172-b143-4fc6-b7dd-0e31b2cd5ed1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e20950ed-f351-42f9-b050-5912c86710b3}" ma:internalName="TaxCatchAll" ma:showField="CatchAllData" ma:web="98098172-b143-4fc6-b7dd-0e31b2cd5ed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8098172-b143-4fc6-b7dd-0e31b2cd5ed1" xsi:nil="true"/>
    <lcf76f155ced4ddcb4097134ff3c332f xmlns="2f855850-2c90-41f1-8ea4-90bf6a10880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0ABBEC79-135C-4455-B3B2-B5CD3960F14D}"/>
</file>

<file path=customXml/itemProps2.xml><?xml version="1.0" encoding="utf-8"?>
<ds:datastoreItem xmlns:ds="http://schemas.openxmlformats.org/officeDocument/2006/customXml" ds:itemID="{7C837C1F-D4D7-4689-A957-0ACFCC6911A0}"/>
</file>

<file path=customXml/itemProps3.xml><?xml version="1.0" encoding="utf-8"?>
<ds:datastoreItem xmlns:ds="http://schemas.openxmlformats.org/officeDocument/2006/customXml" ds:itemID="{AA649FC4-A0FA-4BCD-A7A6-9C4B129CD53B}"/>
</file>

<file path=docProps/app.xml><?xml version="1.0" encoding="utf-8"?>
<Properties xmlns="http://schemas.openxmlformats.org/officeDocument/2006/extended-properties" xmlns:vt="http://schemas.openxmlformats.org/officeDocument/2006/docPropsVTypes">
  <TotalTime>920</TotalTime>
  <Words>2785</Words>
  <Application>Microsoft Office PowerPoint</Application>
  <PresentationFormat>Widescreen</PresentationFormat>
  <Paragraphs>527</Paragraphs>
  <Slides>1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0" baseType="lpstr">
      <vt:lpstr>MS Mincho</vt:lpstr>
      <vt:lpstr>MS PGothic</vt:lpstr>
      <vt:lpstr>Arial</vt:lpstr>
      <vt:lpstr>Arial Narrow</vt:lpstr>
      <vt:lpstr>Calibri</vt:lpstr>
      <vt:lpstr>Roboto</vt:lpstr>
      <vt:lpstr>Segoe UI</vt:lpstr>
      <vt:lpstr>Trebuchet MS</vt:lpstr>
      <vt:lpstr>Wingdings</vt:lpstr>
      <vt:lpstr>mod</vt:lpstr>
      <vt:lpstr>Creating Possible_PURPOSE_2024</vt:lpstr>
      <vt:lpstr>think-cell Slide</vt:lpstr>
      <vt:lpstr>Evaluation of 2 Broadly Neutralizing Antibodies Plus Vesatolimod in Early-Treated South African Women With HIV-1 During Analytical Treatment Interruption</vt:lpstr>
      <vt:lpstr>Disclosures</vt:lpstr>
      <vt:lpstr>Considerations for HIV Cure or Remission Trials</vt:lpstr>
      <vt:lpstr>GS-US-382-5445: The First HIV Cure Trial in Africa Enrolled Hyperacutely Treated South African Women From the FRESH Cohort</vt:lpstr>
      <vt:lpstr>Single-Arm, Open-Label, Phase 2a Study</vt:lpstr>
      <vt:lpstr>Single-Arm, Open-Label, Phase 2a Study</vt:lpstr>
      <vt:lpstr>Single-Arm, Open-Label, Phase 2a Study</vt:lpstr>
      <vt:lpstr>Single-Arm, Open-Label, Phase 2a Study</vt:lpstr>
      <vt:lpstr>Single-Arm, Open-Label, Phase 2a Study</vt:lpstr>
      <vt:lpstr>Baseline Characteristics</vt:lpstr>
      <vt:lpstr>Safety Summary</vt:lpstr>
      <vt:lpstr>bNAb Concentrations</vt:lpstr>
      <vt:lpstr>Three Distinct ATI Outcome Patterns</vt:lpstr>
      <vt:lpstr>Three Distinct ATI Outcome Patterns</vt:lpstr>
      <vt:lpstr>Three Distinct ATI Outcome Patterns</vt:lpstr>
      <vt:lpstr>40% Had Oscillating Viral Rebound Dynamics</vt:lpstr>
      <vt:lpstr>Conclusions</vt:lpstr>
      <vt:lpstr>Acknowledgem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RESH topline CROI presentation: outline/shell</dc:title>
  <dc:creator>Megha Mehrotra</dc:creator>
  <cp:lastModifiedBy>Roderick Gedey</cp:lastModifiedBy>
  <cp:revision>53</cp:revision>
  <dcterms:created xsi:type="dcterms:W3CDTF">2024-12-13T23:24:05Z</dcterms:created>
  <dcterms:modified xsi:type="dcterms:W3CDTF">2025-03-09T18:52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18c1083-8924-401d-97ae-40f5eed0fcd8_SetDate">
    <vt:lpwstr>2025-02-11T16:48:02Z</vt:lpwstr>
  </property>
  <property fmtid="{D5CDD505-2E9C-101B-9397-08002B2CF9AE}" pid="3" name="MSIP_Label_418c1083-8924-401d-97ae-40f5eed0fcd8_SiteId">
    <vt:lpwstr>a5a8bcaa-3292-41e6-b735-5e8b21f4dbfd</vt:lpwstr>
  </property>
  <property fmtid="{D5CDD505-2E9C-101B-9397-08002B2CF9AE}" pid="4" name="MSIP_Label_418c1083-8924-401d-97ae-40f5eed0fcd8_Enabled">
    <vt:lpwstr>True</vt:lpwstr>
  </property>
  <property fmtid="{D5CDD505-2E9C-101B-9397-08002B2CF9AE}" pid="5" name="MSIP_Label_418c1083-8924-401d-97ae-40f5eed0fcd8_Name">
    <vt:lpwstr>418c1083-8924-401d-97ae-40f5eed0fcd8</vt:lpwstr>
  </property>
  <property fmtid="{D5CDD505-2E9C-101B-9397-08002B2CF9AE}" pid="6" name="MSIP_Label_418c1083-8924-401d-97ae-40f5eed0fcd8_ActionId">
    <vt:lpwstr>292095d9-4c65-41ff-8280-cf619e536484</vt:lpwstr>
  </property>
  <property fmtid="{D5CDD505-2E9C-101B-9397-08002B2CF9AE}" pid="7" name="MSIP_Label_418c1083-8924-401d-97ae-40f5eed0fcd8_Extended_MSFT_Method">
    <vt:lpwstr>Standard</vt:lpwstr>
  </property>
  <property fmtid="{D5CDD505-2E9C-101B-9397-08002B2CF9AE}" pid="8" name="MSIP_Label_ae54d21a-ad6d-4fae-a6f9-e8f321a5fd89_Enabled">
    <vt:lpwstr>true</vt:lpwstr>
  </property>
  <property fmtid="{D5CDD505-2E9C-101B-9397-08002B2CF9AE}" pid="9" name="MSIP_Label_ae54d21a-ad6d-4fae-a6f9-e8f321a5fd89_SetDate">
    <vt:lpwstr>2025-03-07T15:11:49Z</vt:lpwstr>
  </property>
  <property fmtid="{D5CDD505-2E9C-101B-9397-08002B2CF9AE}" pid="10" name="MSIP_Label_ae54d21a-ad6d-4fae-a6f9-e8f321a5fd89_Method">
    <vt:lpwstr>Standard</vt:lpwstr>
  </property>
  <property fmtid="{D5CDD505-2E9C-101B-9397-08002B2CF9AE}" pid="11" name="MSIP_Label_ae54d21a-ad6d-4fae-a6f9-e8f321a5fd89_Name">
    <vt:lpwstr>Scanner-PHI</vt:lpwstr>
  </property>
  <property fmtid="{D5CDD505-2E9C-101B-9397-08002B2CF9AE}" pid="12" name="MSIP_Label_ae54d21a-ad6d-4fae-a6f9-e8f321a5fd89_SiteId">
    <vt:lpwstr>83d59944-34a0-4eb5-8cb0-80a49540e944</vt:lpwstr>
  </property>
  <property fmtid="{D5CDD505-2E9C-101B-9397-08002B2CF9AE}" pid="13" name="MSIP_Label_ae54d21a-ad6d-4fae-a6f9-e8f321a5fd89_ActionId">
    <vt:lpwstr>7b787566-1380-4e45-920b-3fc6ef4ccc24</vt:lpwstr>
  </property>
  <property fmtid="{D5CDD505-2E9C-101B-9397-08002B2CF9AE}" pid="14" name="MSIP_Label_ae54d21a-ad6d-4fae-a6f9-e8f321a5fd89_ContentBits">
    <vt:lpwstr>0</vt:lpwstr>
  </property>
  <property fmtid="{D5CDD505-2E9C-101B-9397-08002B2CF9AE}" pid="15" name="ContentTypeId">
    <vt:lpwstr>0x010100C62F7607691F3F4E927E61A083FCF90A</vt:lpwstr>
  </property>
</Properties>
</file>